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media/image12.svg" ContentType="image/svg"/>
  <Override PartName="/ppt/media/image14.svg" ContentType="image/svg"/>
  <Override PartName="/ppt/media/image16.svg" ContentType="image/svg"/>
  <Override PartName="/ppt/media/image18.svg" ContentType="image/svg"/>
  <Override PartName="/ppt/media/image20.svg" ContentType="image/svg"/>
  <Override PartName="/ppt/media/image24.svg" ContentType="image/svg"/>
  <Override PartName="/ppt/media/image28.svg" ContentType="image/svg"/>
  <Override PartName="/ppt/media/image30.svg" ContentType="image/svg"/>
  <Override PartName="/ppt/media/image32.svg" ContentType="image/svg"/>
  <Override PartName="/ppt/media/image34.svg" ContentType="image/svg"/>
  <Override PartName="/ppt/media/image36.svg" ContentType="image/svg"/>
  <Override PartName="/ppt/notesSlides/notesSlide3.xml" ContentType="application/vnd.openxmlformats-officedocument.presentationml.notesSlide+xml"/>
  <Override PartName="/ppt/media/image41.svg" ContentType="image/svg"/>
  <Override PartName="/ppt/media/image42.svg" ContentType="image/svg"/>
  <Override PartName="/ppt/media/image43.svg" ContentType="image/svg"/>
  <Override PartName="/ppt/media/image44.svg" ContentType="image/svg"/>
  <Override PartName="/ppt/media/image46.svg" ContentType="image/svg"/>
  <Override PartName="/ppt/media/image47.svg" ContentType="image/svg"/>
  <Override PartName="/ppt/notesSlides/notesSlide4.xml" ContentType="application/vnd.openxmlformats-officedocument.presentationml.notesSlide+xml"/>
  <Override PartName="/ppt/media/image48.svg" ContentType="image/svg"/>
  <Override PartName="/ppt/media/image49.svg" ContentType="image/svg"/>
  <Override PartName="/ppt/media/image51.svg" ContentType="image/svg"/>
  <Override PartName="/ppt/media/image53.svg" ContentType="image/svg"/>
  <Override PartName="/ppt/media/image54.svg" ContentType="image/svg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547" r:id="rId4"/>
  </p:sldMasterIdLst>
  <p:notesMasterIdLst>
    <p:notesMasterId r:id="rId23"/>
  </p:notesMasterIdLst>
  <p:handoutMasterIdLst>
    <p:handoutMasterId r:id="rId24"/>
  </p:handoutMasterIdLst>
  <p:sldIdLst>
    <p:sldId id="2147483623" r:id="rId5"/>
    <p:sldId id="2147483629" r:id="rId6"/>
    <p:sldId id="2147483632" r:id="rId7"/>
    <p:sldId id="2147198694" r:id="rId8"/>
    <p:sldId id="2147483588" r:id="rId9"/>
    <p:sldId id="327" r:id="rId10"/>
    <p:sldId id="2141411522" r:id="rId11"/>
    <p:sldId id="2141411514" r:id="rId12"/>
    <p:sldId id="2141411520" r:id="rId13"/>
    <p:sldId id="2141411625" r:id="rId14"/>
    <p:sldId id="2141411626" r:id="rId15"/>
    <p:sldId id="2141411627" r:id="rId16"/>
    <p:sldId id="2141411628" r:id="rId17"/>
    <p:sldId id="2147483621" r:id="rId18"/>
    <p:sldId id="2147483622" r:id="rId19"/>
    <p:sldId id="440" r:id="rId20"/>
    <p:sldId id="2147483616" r:id="rId21"/>
    <p:sldId id="2147475108" r:id="rId22"/>
  </p:sldIdLst>
  <p:sldSz cx="9144000" cy="5143500" type="screen16x9"/>
  <p:notesSz cx="6797675" cy="9928225"/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as ist Typ-1-Diabetes?" id="{A08674EB-305C-4FEC-ACF8-C0D66E6B6782}">
          <p14:sldIdLst>
            <p14:sldId id="2147483623"/>
            <p14:sldId id="2147483629"/>
            <p14:sldId id="2147483632"/>
            <p14:sldId id="2147198694"/>
          </p14:sldIdLst>
        </p14:section>
        <p14:section name="Typ-1-Diabetes - eine Autoimmunerkrankung in Stadien" id="{A8A47B7B-903C-468E-B969-DA815BD3FB09}">
          <p14:sldIdLst>
            <p14:sldId id="2147483588"/>
            <p14:sldId id="327"/>
            <p14:sldId id="2141411522"/>
            <p14:sldId id="2141411514"/>
            <p14:sldId id="2141411520"/>
            <p14:sldId id="2141411625"/>
            <p14:sldId id="2141411626"/>
            <p14:sldId id="2141411627"/>
            <p14:sldId id="2141411628"/>
            <p14:sldId id="2147483621"/>
            <p14:sldId id="2147483622"/>
            <p14:sldId id="440"/>
            <p14:sldId id="2147483616"/>
          </p14:sldIdLst>
        </p14:section>
        <p14:section name="Abschlussfolie" id="{A57F84D1-D4BE-4965-AFB4-1A0B1789B70F}">
          <p14:sldIdLst>
            <p14:sldId id="2147475108"/>
          </p14:sldIdLst>
        </p14:section>
      </p14:sectionLst>
    </p:ext>
    <p:ext uri="{EFAFB233-063F-42B5-8137-9DF3F51BA10A}">
      <p15:sldGuideLst xmlns:p15="http://schemas.microsoft.com/office/powerpoint/2012/main">
        <p15:guide id="1" pos="216" userDrawn="1">
          <p15:clr>
            <a:srgbClr val="A4A3A4"/>
          </p15:clr>
        </p15:guide>
        <p15:guide id="2" pos="5496" userDrawn="1">
          <p15:clr>
            <a:srgbClr val="A4A3A4"/>
          </p15:clr>
        </p15:guide>
        <p15:guide id="3" orient="horz" pos="2709" userDrawn="1">
          <p15:clr>
            <a:srgbClr val="A4A3A4"/>
          </p15:clr>
        </p15:guide>
        <p15:guide id="5" pos="2699" userDrawn="1">
          <p15:clr>
            <a:srgbClr val="A4A3A4"/>
          </p15:clr>
        </p15:guide>
        <p15:guide id="6" orient="horz" pos="26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E0C8A0E-63AC-2127-5506-F53298E1B3F3}" name="Scheichl, Michael /DE" initials="S/" userId="S::michael.scheichl@sanofi.com::e4d55582-c13e-42f4-9816-ac9791a091e7" providerId="AD"/>
  <p188:author id="{FBB42014-EBC0-1612-5E3F-585C53DDEBA6}" name="Kruklinski, Marion /DE" initials="KM/" userId="S::Marion.Kruklinski@sanofi.com::3ca47b6b-8259-4b72-bf95-390579ab6f19" providerId="AD"/>
  <p188:author id="{55550D23-A745-9100-84EC-ADA0CFD320BC}" name="Look, Christiane /DE" initials="LC/" userId="S::Christiane.Look@sanofi.com::6927f59e-c32f-466e-87cd-bc2c9baeca3e" providerId="AD"/>
  <p188:author id="{04751C2B-AE8C-4A7F-7377-F5FF5E6E59C5}" name="Guidi, Fabrizio /DE" initials="G/" userId="S::fabrizio.guidi@sanofi.com::a09408b9-d565-49aa-ac2c-ba884b9532c3" providerId="AD"/>
  <p188:author id="{8671A132-2599-7025-BF31-AA0394EC4B56}" name="Garcia-Feurer, Carmen /CH" initials="G/" userId="S::carmen.garcia-feurer@sanofi.com::ed6e28ee-b79c-48ba-9c90-2fc6d458c861" providerId="AD"/>
  <p188:author id="{1F679540-5B85-FA07-5159-6C377AC328B9}" name="Kastelan, Dagmar /DE" initials="KD/" userId="S::Dagmar.Kastelan@sanofi.com::c7f78afa-43dc-4fde-862f-7b35c77d5ca3" providerId="AD"/>
  <p188:author id="{A661E844-CDFF-DBFE-B171-B7821D1F5DD5}" name="Silvia Maggi" initials="SM" userId="S::silvia.maggi@vml.com::2bf17527-1874-48b9-86e6-75613de5d9a5" providerId="AD"/>
  <p188:author id="{D883C44C-BDCA-9B34-B127-949C6C6F742E}" name="Woeckel, Christian /DE" initials="WC/" userId="S::Christian.Woeckel@sanofi.com::78c23048-cb92-4b15-9c42-b9406b0dabe1" providerId="AD"/>
  <p188:author id="{3CDBD84D-B13D-60B5-C70A-E9ED6EEF313E}" name="Misra, Pragya /IN" initials="PM" userId="S::Pragya.Misra@sanofi.com::91fb0dc2-d365-44aa-82b3-9e25ca2edad0" providerId="AD"/>
  <p188:author id="{5D773C52-95AE-FB70-C8A7-A4976423D82F}" name="Semtsiv, Roksolana /DE" initials="RS" userId="S::Roksolana.Semtsiv@sanofi.com::23bd42a5-bc2c-46b2-9e31-133e860e9676" providerId="AD"/>
  <p188:author id="{D29E5658-FD9E-0328-DD2D-F041885D48B2}" name="Schulz, Kerstin /DE" initials="SK/" userId="S::Kerstin.Schulz@sanofi.com::0ea3f8ef-3f60-4333-87d6-07807a663d13" providerId="AD"/>
  <p188:author id="{F1E45E62-FBD9-0985-6618-491691E935D3}" name="Raab, Jennifer /DE" initials="JR" userId="S::Jennifer.Raab@sanofi.com::bd70b795-7ee5-43be-ad46-b3ec342610cb" providerId="AD"/>
  <p188:author id="{EFBBAD69-0319-11D3-868A-7827DEE542D6}" name="Pegelow, Katrin /DE" initials="PK/" userId="S::Katrin.Pegelow@sanofi.com::74a135be-7428-408d-b4b7-e9253dfa99e9" providerId="AD"/>
  <p188:author id="{B5B62F75-498F-D9BD-1EBA-63F85E96FA40}" name="Cognee, Anais /DE" initials="CA/" userId="S::Anais.Cognee@sanofi.com::0a71bc5e-ce1c-4297-b9bf-c516f44d88e5" providerId="AD"/>
  <p188:author id="{A242418C-DA2E-A00F-C784-94B6BBCB506F}" name="Kruklinski, Marion /DE" initials="K/" userId="S::marion.kruklinski@sanofi.com::3ca47b6b-8259-4b72-bf95-390579ab6f19" providerId="AD"/>
  <p188:author id="{45623D94-190C-72B3-7BF8-AF3B58C4E37D}" name="Uhlmann, Maximilian /DE" initials="UM/" userId="S::maximilian.uhlmann@sanofi.com::1838c323-c97b-431a-91b8-19955f03e25e" providerId="AD"/>
  <p188:author id="{EF9B28B3-2C33-2368-394C-2E050FA67430}" name="Kulpa, Konstanze /DE" initials="KK/" userId="S::Konstanze.Kulpa@sanofi.com::8457ae88-36c6-4b7f-8934-daa1e30145c2" providerId="AD"/>
  <p188:author id="{B6B803B6-5442-05B8-8BCF-6F0F6B0D5B6B}" name="Cognee, Anais /DE" initials="C/" userId="S::anais.cognee@sanofi.com::0a71bc5e-ce1c-4297-b9bf-c516f44d88e5" providerId="AD"/>
  <p188:author id="{19DCE8C0-81AD-C6E5-2C40-7EA5A61BBF19}" name="Businger, Guido /CH" initials="BG/" userId="S::guido.businger@sanofi.com::bb85870c-3425-4fe5-8eb8-daad75d71bca" providerId="AD"/>
  <p188:author id="{BEEAE2DE-2E04-82B8-413A-3B5171A267BB}" name="Karuza, Tvrtko  /AT" initials="K/" userId="S::tvrtko.karuza@sanofi.com::8b378085-4f2b-49b6-8471-b1f4de0ec316" providerId="AD"/>
  <p188:author id="{85374DE3-EEA7-2CE9-B45C-2A452C672E14}" name="Rau, Sandra /DE" initials="RS/" userId="S::Sandra.Rau@sanofi.com::7be00143-5eb7-4047-ad61-591800ad8e67" providerId="AD"/>
  <p188:author id="{0A28A1F8-FBCA-7EF3-CECD-7EECB24FEFFF}" name="Karuza, Tvrtko  /AT" initials="KT/" userId="S::Tvrtko.Karuza@sanofi.com::8b378085-4f2b-49b6-8471-b1f4de0ec316" providerId="AD"/>
  <p188:author id="{1B5FD2FB-5AD0-92AD-7860-8EED07FABB81}" name="Ouwerkerk, Anita /DE" initials="O/" userId="S::anita.ouwerkerk@sanofi.com::3c90fd23-e14e-48b2-9436-eb3436b4a34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oeckel, Christian /DE" initials="WC/" lastIdx="3" clrIdx="0">
    <p:extLst>
      <p:ext uri="{19B8F6BF-5375-455C-9EA6-DF929625EA0E}">
        <p15:presenceInfo xmlns:p15="http://schemas.microsoft.com/office/powerpoint/2012/main" userId="S::Christian.Woeckel@sanofi.com::78c23048-cb92-4b15-9c42-b9406b0dabe1" providerId="AD"/>
      </p:ext>
    </p:extLst>
  </p:cmAuthor>
  <p:cmAuthor id="2" name="Neuroth, Anne /DE/EXT" initials="N/" lastIdx="1" clrIdx="1">
    <p:extLst>
      <p:ext uri="{19B8F6BF-5375-455C-9EA6-DF929625EA0E}">
        <p15:presenceInfo xmlns:p15="http://schemas.microsoft.com/office/powerpoint/2012/main" userId="S::anne.neuroth-ext@sanofi.com::49b324fb-7710-401d-a93a-5bc4c517c9f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004C"/>
    <a:srgbClr val="FF8A02"/>
    <a:srgbClr val="404040"/>
    <a:srgbClr val="E9EEF2"/>
    <a:srgbClr val="237923"/>
    <a:srgbClr val="FF9F23"/>
    <a:srgbClr val="429C4A"/>
    <a:srgbClr val="2B2B2B"/>
    <a:srgbClr val="DCEEF5"/>
    <a:srgbClr val="F3E4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F800B559-55DF-4324-A70D-7A5FB1BD5379}">
  <a:tblStyle styleId="{F800B559-55DF-4324-A70D-7A5FB1BD5379}" styleName="Sanofi">
    <a:wholeTbl>
      <a:tcTxStyle>
        <a:fontRef idx="minor">
          <a:schemeClr val="dk1"/>
        </a:fontRef>
        <a:schemeClr val="dk1"/>
      </a:tcTxStyle>
      <a:tcStyle>
        <a:tcBdr>
          <a:left>
            <a:ln w="2500" cmpd="sng">
              <a:solidFill>
                <a:schemeClr val="lt2"/>
              </a:solidFill>
            </a:ln>
          </a:left>
          <a:right>
            <a:ln w="2500" cmpd="sng">
              <a:solidFill>
                <a:schemeClr val="lt2"/>
              </a:solidFill>
            </a:ln>
          </a:right>
          <a:top>
            <a:ln w="2500" cmpd="sng">
              <a:solidFill>
                <a:schemeClr val="lt2"/>
              </a:solidFill>
            </a:ln>
          </a:top>
          <a:bottom>
            <a:ln w="2500" cmpd="sng">
              <a:solidFill>
                <a:schemeClr val="lt2"/>
              </a:solidFill>
            </a:ln>
          </a:bottom>
          <a:insideH>
            <a:ln w="2500" cmpd="sng">
              <a:solidFill>
                <a:schemeClr val="lt2"/>
              </a:solidFill>
            </a:ln>
          </a:insideH>
          <a:insideV>
            <a:ln w="2500" cmpd="sng">
              <a:solidFill>
                <a:schemeClr val="lt2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left>
            <a:ln w="2500" cmpd="sng">
              <a:solidFill>
                <a:schemeClr val="lt1"/>
              </a:solidFill>
            </a:ln>
          </a:left>
          <a:right>
            <a:ln w="2500" cmpd="sng">
              <a:solidFill>
                <a:schemeClr val="lt1"/>
              </a:solidFill>
            </a:ln>
          </a:right>
          <a:top>
            <a:ln w="2500" cmpd="sng">
              <a:solidFill>
                <a:schemeClr val="lt1"/>
              </a:solidFill>
            </a:ln>
          </a:top>
          <a:bottom>
            <a:ln w="2500" cmpd="sng">
              <a:solidFill>
                <a:schemeClr val="lt1"/>
              </a:solidFill>
            </a:ln>
          </a:bottom>
          <a:insideH>
            <a:ln w="2500" cmpd="sng">
              <a:solidFill>
                <a:schemeClr val="lt1"/>
              </a:solidFill>
            </a:ln>
          </a:insideH>
          <a:insideV>
            <a:ln w="2500" cmpd="sng">
              <a:solidFill>
                <a:schemeClr val="lt1"/>
              </a:solidFill>
            </a:ln>
          </a:insideV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>
          <a:left>
            <a:ln w="2500" cmpd="sng">
              <a:solidFill>
                <a:schemeClr val="lt1"/>
              </a:solidFill>
            </a:ln>
          </a:left>
          <a:right>
            <a:ln w="2500" cmpd="sng">
              <a:solidFill>
                <a:schemeClr val="lt1"/>
              </a:solidFill>
            </a:ln>
          </a:right>
          <a:top>
            <a:ln w="2500" cmpd="sng">
              <a:solidFill>
                <a:schemeClr val="lt1"/>
              </a:solidFill>
            </a:ln>
          </a:top>
          <a:bottom>
            <a:ln w="2500" cmpd="sng">
              <a:solidFill>
                <a:schemeClr val="lt1"/>
              </a:solidFill>
            </a:ln>
          </a:bottom>
          <a:insideH>
            <a:ln w="2500" cmpd="sng">
              <a:solidFill>
                <a:schemeClr val="lt1"/>
              </a:solidFill>
            </a:ln>
          </a:insideH>
          <a:insideV>
            <a:ln w="2500" cmpd="sng">
              <a:solidFill>
                <a:schemeClr val="lt1"/>
              </a:solidFill>
            </a:ln>
          </a:insideV>
        </a:tcBdr>
        <a:fill>
          <a:solidFill>
            <a:schemeClr val="dk2"/>
          </a:solidFill>
        </a:fill>
      </a:tcStyle>
    </a:band1V>
    <a:band2V>
      <a:tcStyle>
        <a:tcBdr/>
      </a:tcStyle>
    </a:band2V>
    <a:lastCol>
      <a:tcTxStyle b="off">
        <a:fontRef idx="minor">
          <a:schemeClr val="dk1"/>
        </a:fontRef>
        <a:schemeClr val="dk1"/>
      </a:tcTxStyle>
      <a:tcStyle>
        <a:tcBdr/>
        <a:fill>
          <a:solidFill>
            <a:schemeClr val="dk2"/>
          </a:solidFill>
        </a:fill>
      </a:tcStyle>
    </a:lastCol>
    <a:firstCol>
      <a:tcTxStyle b="off">
        <a:fontRef idx="minor">
          <a:schemeClr val="dk1"/>
        </a:fontRef>
        <a:schemeClr val="dk1"/>
      </a:tcTxStyle>
      <a:tcStyle>
        <a:tcBdr/>
        <a:fill>
          <a:solidFill>
            <a:schemeClr val="dk2"/>
          </a:solidFill>
        </a:fill>
      </a:tcStyle>
    </a:firstCol>
    <a:lastRow>
      <a:tcTxStyle b="on">
        <a:fontRef idx="major">
          <a:schemeClr val="dk1"/>
        </a:fontRef>
        <a:schemeClr val="dk1"/>
      </a:tcTxStyle>
      <a:tcStyle>
        <a:tcBdr/>
        <a:fill>
          <a:solidFill>
            <a:schemeClr val="dk2"/>
          </a:solidFill>
        </a:fill>
      </a:tcStyle>
    </a:lastRow>
    <a:firstRow>
      <a:tcTxStyle b="off">
        <a:fontRef idx="major">
          <a:schemeClr val="lt2"/>
        </a:fontRef>
        <a:schemeClr val="lt2"/>
      </a:tcTxStyle>
      <a:tcStyle>
        <a:tcBdr>
          <a:bottom>
            <a:ln w="36000" cmpd="sng">
              <a:solidFill>
                <a:schemeClr val="accent2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Ref idx="1">
          <a:schemeClr val="accent2"/>
        </a:fillRef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9565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126" y="756"/>
      </p:cViewPr>
      <p:guideLst>
        <p:guide pos="216"/>
        <p:guide pos="5496"/>
        <p:guide orient="horz" pos="2709"/>
        <p:guide pos="2699"/>
        <p:guide orient="horz" pos="266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93C5A8E8-CFFD-8244-99C5-C59695B7B58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42097A3-5546-824A-82FF-3390AD25DFD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95986D-8BE5-CF41-BDD9-ABAFDA2F44C7}" type="datetimeFigureOut">
              <a:rPr lang="fr-FR" smtClean="0"/>
              <a:t>14/01/2026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0FF6B0C-B1BA-F042-9223-AFA5A1E54C8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D5FA54A-F961-0E49-BD8F-3E49E88675E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DFDA78-543E-4D49-948C-0112778612F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243811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C6454-8C49-4AFA-8B67-E69B53E09A31}" type="datetimeFigureOut">
              <a:rPr lang="fr-FR" smtClean="0"/>
              <a:t>14/01/202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576107-2EC1-4836-BBE2-B29C7F5CEAC4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774726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C) Danne 21. Jahrestagung APED, Salzburg</a:t>
            </a:r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722778-3529-437E-84D8-D3E4BDC5F43A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6955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97E86C-5C29-6947-3505-F2BB3C1159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>
            <a:extLst>
              <a:ext uri="{FF2B5EF4-FFF2-40B4-BE49-F238E27FC236}">
                <a16:creationId xmlns:a16="http://schemas.microsoft.com/office/drawing/2014/main" id="{A90B5CFA-B8BE-CB7D-07EE-1DAC222882B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>
            <a:extLst>
              <a:ext uri="{FF2B5EF4-FFF2-40B4-BE49-F238E27FC236}">
                <a16:creationId xmlns:a16="http://schemas.microsoft.com/office/drawing/2014/main" id="{3F9F6DD6-582E-7910-1513-E91A91BE5E7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4400">
              <a:spcBef>
                <a:spcPct val="0"/>
              </a:spcBef>
            </a:pPr>
            <a:endParaRPr lang="de-DE" altLang="de-DE">
              <a:solidFill>
                <a:srgbClr val="191919"/>
              </a:solidFill>
              <a:latin typeface="Arial" panose="020B0604020202020204" pitchFamily="34" charset="0"/>
            </a:endParaRPr>
          </a:p>
        </p:txBody>
      </p:sp>
      <p:sp>
        <p:nvSpPr>
          <p:cNvPr id="38916" name="Slide Number Placeholder 3">
            <a:extLst>
              <a:ext uri="{FF2B5EF4-FFF2-40B4-BE49-F238E27FC236}">
                <a16:creationId xmlns:a16="http://schemas.microsoft.com/office/drawing/2014/main" id="{25E0E742-E428-62B3-2C45-73B088D2E01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fld id="{4E142BFA-D136-4F06-A384-F2B343C15896}" type="slidenum">
              <a:rPr lang="en-US" altLang="en-US">
                <a:latin typeface="Raleway" pitchFamily="2" charset="0"/>
              </a:rPr>
              <a:pPr eaLnBrk="1" hangingPunct="1"/>
              <a:t>14</a:t>
            </a:fld>
            <a:endParaRPr lang="en-US" altLang="en-US">
              <a:latin typeface="Raleway" pitchFamily="2" charset="0"/>
            </a:endParaRPr>
          </a:p>
        </p:txBody>
      </p:sp>
      <p:sp>
        <p:nvSpPr>
          <p:cNvPr id="38917" name="Right Bracket 11">
            <a:extLst>
              <a:ext uri="{FF2B5EF4-FFF2-40B4-BE49-F238E27FC236}">
                <a16:creationId xmlns:a16="http://schemas.microsoft.com/office/drawing/2014/main" id="{76AD1F82-8B2C-3848-2ACA-9F343895F9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0900" y="2282825"/>
            <a:ext cx="92075" cy="547688"/>
          </a:xfrm>
          <a:prstGeom prst="rightBracket">
            <a:avLst>
              <a:gd name="adj" fmla="val 0"/>
            </a:avLst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de-DE" altLang="de-DE" sz="500">
              <a:latin typeface="Arial" panose="020B0604020202020204" pitchFamily="34" charset="0"/>
            </a:endParaRPr>
          </a:p>
        </p:txBody>
      </p:sp>
      <p:cxnSp>
        <p:nvCxnSpPr>
          <p:cNvPr id="38918" name="Straight Connector 13">
            <a:extLst>
              <a:ext uri="{FF2B5EF4-FFF2-40B4-BE49-F238E27FC236}">
                <a16:creationId xmlns:a16="http://schemas.microsoft.com/office/drawing/2014/main" id="{8014A9AA-8579-BBE5-EA3D-A4D6DF35019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022975" y="2566988"/>
            <a:ext cx="365125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8919" name="Straight Connector 14">
            <a:extLst>
              <a:ext uri="{FF2B5EF4-FFF2-40B4-BE49-F238E27FC236}">
                <a16:creationId xmlns:a16="http://schemas.microsoft.com/office/drawing/2014/main" id="{EF8AB02A-6A17-ACA3-6055-414A95665232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63563" y="1409700"/>
            <a:ext cx="365125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8920" name="Right Bracket 15">
            <a:extLst>
              <a:ext uri="{FF2B5EF4-FFF2-40B4-BE49-F238E27FC236}">
                <a16:creationId xmlns:a16="http://schemas.microsoft.com/office/drawing/2014/main" id="{6FCDB1BA-DDA8-C052-B733-DB44F60648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0900" y="2879725"/>
            <a:ext cx="92075" cy="533400"/>
          </a:xfrm>
          <a:prstGeom prst="rightBracket">
            <a:avLst>
              <a:gd name="adj" fmla="val 0"/>
            </a:avLst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de-DE" altLang="de-DE" sz="500">
              <a:latin typeface="Arial" panose="020B0604020202020204" pitchFamily="34" charset="0"/>
            </a:endParaRPr>
          </a:p>
        </p:txBody>
      </p:sp>
      <p:cxnSp>
        <p:nvCxnSpPr>
          <p:cNvPr id="38921" name="Straight Connector 16">
            <a:extLst>
              <a:ext uri="{FF2B5EF4-FFF2-40B4-BE49-F238E27FC236}">
                <a16:creationId xmlns:a16="http://schemas.microsoft.com/office/drawing/2014/main" id="{8B021FBC-2153-0295-7788-B564EC7BB93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022975" y="3101975"/>
            <a:ext cx="365125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730" name="TextBox 17">
            <a:extLst>
              <a:ext uri="{FF2B5EF4-FFF2-40B4-BE49-F238E27FC236}">
                <a16:creationId xmlns:a16="http://schemas.microsoft.com/office/drawing/2014/main" id="{30EB337F-E49E-9FCE-9539-F3592156C5B6}"/>
              </a:ext>
            </a:extLst>
          </p:cNvPr>
          <p:cNvSpPr txBox="1"/>
          <p:nvPr/>
        </p:nvSpPr>
        <p:spPr>
          <a:xfrm>
            <a:off x="6200775" y="2347913"/>
            <a:ext cx="641350" cy="5127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2. Van Belle 2011/S. 89/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Abb. 2 Legende/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ln6-12; S. 83/c1/¶1/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ln2-10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30731" name="TextBox 18">
            <a:extLst>
              <a:ext uri="{FF2B5EF4-FFF2-40B4-BE49-F238E27FC236}">
                <a16:creationId xmlns:a16="http://schemas.microsoft.com/office/drawing/2014/main" id="{7E32B5DD-29B3-797D-9C1D-8BF2F9630DFB}"/>
              </a:ext>
            </a:extLst>
          </p:cNvPr>
          <p:cNvSpPr txBox="1"/>
          <p:nvPr/>
        </p:nvSpPr>
        <p:spPr>
          <a:xfrm>
            <a:off x="6200775" y="2830513"/>
            <a:ext cx="641350" cy="6651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2. Van Belle 2011/S. 89/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Abb. 2 Legende/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ln6-12]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3. Pugliese 2017/S. 2881/c1/¶1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ln6-7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30732" name="TextBox 19">
            <a:extLst>
              <a:ext uri="{FF2B5EF4-FFF2-40B4-BE49-F238E27FC236}">
                <a16:creationId xmlns:a16="http://schemas.microsoft.com/office/drawing/2014/main" id="{611C95AF-E541-0AD6-8E32-DB3B02F85774}"/>
              </a:ext>
            </a:extLst>
          </p:cNvPr>
          <p:cNvSpPr txBox="1"/>
          <p:nvPr/>
        </p:nvSpPr>
        <p:spPr>
          <a:xfrm>
            <a:off x="19050" y="1189038"/>
            <a:ext cx="641350" cy="2841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en-US" altLang="de-DE" sz="500">
                <a:latin typeface="Arial" panose="020B0604020202020204" pitchFamily="34" charset="0"/>
              </a:rPr>
              <a:t>[1. Insel 2015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2/c1/¶2/ln1-6; S. 1/¶1/ln4-8]</a:t>
            </a:r>
            <a:endParaRPr lang="en-US" altLang="en-US" sz="5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61297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399E72-296F-03ED-1001-1829D92710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B577C84-2256-1EEC-F550-2840473E5A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D4F6D04-691A-C770-484E-6FE55820F9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CADDD5-A4F9-25A0-BF5D-40D34451E4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576107-2EC1-4836-BBE2-B29C7F5CEAC4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89493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FAEA81-D1FB-A99E-CC4E-F93E39DD99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B58AB11-7863-B7DB-09CE-0945C90562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1F1789C-BC63-9E41-4C5D-2DC626E7D2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97F47D-D469-511F-91F1-8605027312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576107-2EC1-4836-BBE2-B29C7F5CEAC4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4232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A0495F03-7139-41CB-A583-843CD94490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8743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1200" u="none" strike="noStrike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76C36DCE-CF03-5249-B5B1-F30D6C9AB5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anose="020B0503030101060003" pitchFamily="34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 panose="020B05030301010600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88568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1200" u="none" strike="noStrike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76C36DCE-CF03-5249-B5B1-F30D6C9AB5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anose="020B0503030101060003" pitchFamily="34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 panose="020B05030301010600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27990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>
            <a:extLst>
              <a:ext uri="{FF2B5EF4-FFF2-40B4-BE49-F238E27FC236}">
                <a16:creationId xmlns:a16="http://schemas.microsoft.com/office/drawing/2014/main" id="{5095DC9D-221A-7477-B8B5-8CD20A02A85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>
            <a:extLst>
              <a:ext uri="{FF2B5EF4-FFF2-40B4-BE49-F238E27FC236}">
                <a16:creationId xmlns:a16="http://schemas.microsoft.com/office/drawing/2014/main" id="{65DF66BF-8869-1762-290E-60F20C617CF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4400">
              <a:spcBef>
                <a:spcPct val="0"/>
              </a:spcBef>
            </a:pPr>
            <a:endParaRPr lang="de-DE" altLang="de-DE">
              <a:solidFill>
                <a:srgbClr val="191919"/>
              </a:solidFill>
              <a:latin typeface="Arial" panose="020B0604020202020204" pitchFamily="34" charset="0"/>
            </a:endParaRPr>
          </a:p>
        </p:txBody>
      </p:sp>
      <p:sp>
        <p:nvSpPr>
          <p:cNvPr id="37892" name="Slide Number Placeholder 3">
            <a:extLst>
              <a:ext uri="{FF2B5EF4-FFF2-40B4-BE49-F238E27FC236}">
                <a16:creationId xmlns:a16="http://schemas.microsoft.com/office/drawing/2014/main" id="{F172ACF0-0158-9F00-F08E-17197B21789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fld id="{E9F65C42-22FD-41B4-9FE3-ED3F28342CCB}" type="slidenum">
              <a:rPr lang="en-US" altLang="en-US">
                <a:latin typeface="Raleway" pitchFamily="2" charset="0"/>
              </a:rPr>
              <a:pPr eaLnBrk="1" hangingPunct="1"/>
              <a:t>9</a:t>
            </a:fld>
            <a:endParaRPr lang="en-US" altLang="en-US">
              <a:latin typeface="Raleway" pitchFamily="2" charset="0"/>
            </a:endParaRPr>
          </a:p>
        </p:txBody>
      </p:sp>
      <p:sp>
        <p:nvSpPr>
          <p:cNvPr id="37893" name="Right Bracket 6">
            <a:extLst>
              <a:ext uri="{FF2B5EF4-FFF2-40B4-BE49-F238E27FC236}">
                <a16:creationId xmlns:a16="http://schemas.microsoft.com/office/drawing/2014/main" id="{FFA4816D-CF16-6A78-D055-1CF599B3E5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3100" y="1982788"/>
            <a:ext cx="90488" cy="1554162"/>
          </a:xfrm>
          <a:prstGeom prst="rightBracket">
            <a:avLst>
              <a:gd name="adj" fmla="val 0"/>
            </a:avLst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de-DE" altLang="de-DE" sz="500">
              <a:latin typeface="Arial" panose="020B0604020202020204" pitchFamily="34" charset="0"/>
            </a:endParaRPr>
          </a:p>
        </p:txBody>
      </p:sp>
      <p:cxnSp>
        <p:nvCxnSpPr>
          <p:cNvPr id="37894" name="Straight Connector 7">
            <a:extLst>
              <a:ext uri="{FF2B5EF4-FFF2-40B4-BE49-F238E27FC236}">
                <a16:creationId xmlns:a16="http://schemas.microsoft.com/office/drawing/2014/main" id="{E6DF51D7-F762-E5F9-0521-84C770E5FF5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843588" y="2647950"/>
            <a:ext cx="366712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895" name="Straight Connector 10">
            <a:extLst>
              <a:ext uri="{FF2B5EF4-FFF2-40B4-BE49-F238E27FC236}">
                <a16:creationId xmlns:a16="http://schemas.microsoft.com/office/drawing/2014/main" id="{CCA5974F-4E1F-1810-3CDE-1F180F6B87DF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69913" y="1422400"/>
            <a:ext cx="365125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680" name="TextBox 9">
            <a:extLst>
              <a:ext uri="{FF2B5EF4-FFF2-40B4-BE49-F238E27FC236}">
                <a16:creationId xmlns:a16="http://schemas.microsoft.com/office/drawing/2014/main" id="{E047D004-7CFA-67BF-1484-CDB4EB5282CA}"/>
              </a:ext>
            </a:extLst>
          </p:cNvPr>
          <p:cNvSpPr txBox="1"/>
          <p:nvPr/>
        </p:nvSpPr>
        <p:spPr>
          <a:xfrm>
            <a:off x="6194425" y="2290763"/>
            <a:ext cx="641350" cy="12747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1. Van Belle 2011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84/c1/¶2/ln12-14; §Virale Infektionen; S. 89/Abb. 2 Legende/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ln7-8; 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90/c1/¶3/ln3-14]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2. Tosur 2020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2/c1/¶2; S. 3/c2/¶2/Zeilen 5-7; S. 4/Tabelle 1/Zeile „L-Asparaginase“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28681" name="TextBox 12">
            <a:extLst>
              <a:ext uri="{FF2B5EF4-FFF2-40B4-BE49-F238E27FC236}">
                <a16:creationId xmlns:a16="http://schemas.microsoft.com/office/drawing/2014/main" id="{786F4053-0D4D-696D-8D1A-8E6F1AB21AC3}"/>
              </a:ext>
            </a:extLst>
          </p:cNvPr>
          <p:cNvSpPr txBox="1"/>
          <p:nvPr/>
        </p:nvSpPr>
        <p:spPr>
          <a:xfrm>
            <a:off x="19050" y="1333500"/>
            <a:ext cx="641350" cy="4365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defPPr>
              <a:defRPr lang="en-US"/>
            </a:defPPr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Calibri" pitchFamily="34" charset="0"/>
              </a:defRPr>
            </a:lvl1pPr>
            <a:lvl2pPr marL="45720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Calibri" pitchFamily="34" charset="0"/>
              </a:defRPr>
            </a:lvl2pPr>
            <a:lvl3pPr marL="91440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Calibri" pitchFamily="34" charset="0"/>
              </a:defRPr>
            </a:lvl3pPr>
            <a:lvl4pPr marL="137160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Calibri" pitchFamily="34" charset="0"/>
              </a:defRPr>
            </a:lvl4pPr>
            <a:lvl5pPr marL="182880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Calibri" pitchFamily="34" charset="0"/>
              </a:defRPr>
            </a:lvl5pPr>
          </a:lstStyle>
          <a:p>
            <a:pPr algn="r" eaLnBrk="1" hangingPunct="1"/>
            <a:r>
              <a:rPr lang="de" sz="50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latin typeface="Arial"/>
                <a:ea typeface="Arial"/>
              </a:rPr>
              <a:t>[1. Van Belle 2011/</a:t>
            </a:r>
            <a:br>
              <a:rPr sz="50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ea typeface="Arial"/>
                <a:sym typeface="Wingdings"/>
              </a:rPr>
            </a:br>
            <a:r>
              <a:rPr lang="de" sz="50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latin typeface="Arial"/>
                <a:ea typeface="Arial"/>
              </a:rPr>
              <a:t>S. 89/Abb. 2 Legende/</a:t>
            </a:r>
          </a:p>
          <a:p>
            <a:pPr algn="r" eaLnBrk="1" hangingPunct="1"/>
            <a:r>
              <a:rPr lang="de" sz="50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latin typeface="Arial"/>
                <a:ea typeface="Arial"/>
              </a:rPr>
              <a:t>ln5-8]</a:t>
            </a:r>
            <a:endParaRPr sz="500"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>
            <a:extLst>
              <a:ext uri="{FF2B5EF4-FFF2-40B4-BE49-F238E27FC236}">
                <a16:creationId xmlns:a16="http://schemas.microsoft.com/office/drawing/2014/main" id="{7498D847-4A35-414C-152E-412A4B37BE7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>
            <a:extLst>
              <a:ext uri="{FF2B5EF4-FFF2-40B4-BE49-F238E27FC236}">
                <a16:creationId xmlns:a16="http://schemas.microsoft.com/office/drawing/2014/main" id="{27715755-3EDE-1930-8E60-67040B434D9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4400">
              <a:spcBef>
                <a:spcPct val="0"/>
              </a:spcBef>
            </a:pPr>
            <a:endParaRPr lang="de-DE" altLang="de-DE">
              <a:solidFill>
                <a:srgbClr val="191919"/>
              </a:solidFill>
              <a:latin typeface="Arial" panose="020B0604020202020204" pitchFamily="34" charset="0"/>
            </a:endParaRPr>
          </a:p>
        </p:txBody>
      </p:sp>
      <p:sp>
        <p:nvSpPr>
          <p:cNvPr id="38916" name="Slide Number Placeholder 3">
            <a:extLst>
              <a:ext uri="{FF2B5EF4-FFF2-40B4-BE49-F238E27FC236}">
                <a16:creationId xmlns:a16="http://schemas.microsoft.com/office/drawing/2014/main" id="{9940E04D-9806-AAA6-6655-F8886BE01DE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fld id="{4E142BFA-D136-4F06-A384-F2B343C15896}" type="slidenum">
              <a:rPr lang="en-US" altLang="en-US">
                <a:latin typeface="Raleway" pitchFamily="2" charset="0"/>
              </a:rPr>
              <a:pPr eaLnBrk="1" hangingPunct="1"/>
              <a:t>10</a:t>
            </a:fld>
            <a:endParaRPr lang="en-US" altLang="en-US">
              <a:latin typeface="Raleway" pitchFamily="2" charset="0"/>
            </a:endParaRPr>
          </a:p>
        </p:txBody>
      </p:sp>
      <p:sp>
        <p:nvSpPr>
          <p:cNvPr id="38917" name="Right Bracket 11">
            <a:extLst>
              <a:ext uri="{FF2B5EF4-FFF2-40B4-BE49-F238E27FC236}">
                <a16:creationId xmlns:a16="http://schemas.microsoft.com/office/drawing/2014/main" id="{5E1B9355-69E2-2134-1DBC-B264034F47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0900" y="2282825"/>
            <a:ext cx="92075" cy="547688"/>
          </a:xfrm>
          <a:prstGeom prst="rightBracket">
            <a:avLst>
              <a:gd name="adj" fmla="val 0"/>
            </a:avLst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de-DE" altLang="de-DE" sz="500">
              <a:latin typeface="Arial" panose="020B0604020202020204" pitchFamily="34" charset="0"/>
            </a:endParaRPr>
          </a:p>
        </p:txBody>
      </p:sp>
      <p:cxnSp>
        <p:nvCxnSpPr>
          <p:cNvPr id="38918" name="Straight Connector 13">
            <a:extLst>
              <a:ext uri="{FF2B5EF4-FFF2-40B4-BE49-F238E27FC236}">
                <a16:creationId xmlns:a16="http://schemas.microsoft.com/office/drawing/2014/main" id="{5D54C034-1FD0-C791-286F-95A12F2A4C0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022975" y="2566988"/>
            <a:ext cx="365125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8919" name="Straight Connector 14">
            <a:extLst>
              <a:ext uri="{FF2B5EF4-FFF2-40B4-BE49-F238E27FC236}">
                <a16:creationId xmlns:a16="http://schemas.microsoft.com/office/drawing/2014/main" id="{B6FF60D9-4BDD-4CA9-0576-422C01045A0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63563" y="1409700"/>
            <a:ext cx="365125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8920" name="Right Bracket 15">
            <a:extLst>
              <a:ext uri="{FF2B5EF4-FFF2-40B4-BE49-F238E27FC236}">
                <a16:creationId xmlns:a16="http://schemas.microsoft.com/office/drawing/2014/main" id="{7BF20B3D-0757-5D44-4BBD-6D37E67E23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0900" y="2879725"/>
            <a:ext cx="92075" cy="533400"/>
          </a:xfrm>
          <a:prstGeom prst="rightBracket">
            <a:avLst>
              <a:gd name="adj" fmla="val 0"/>
            </a:avLst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de-DE" altLang="de-DE" sz="500">
              <a:latin typeface="Arial" panose="020B0604020202020204" pitchFamily="34" charset="0"/>
            </a:endParaRPr>
          </a:p>
        </p:txBody>
      </p:sp>
      <p:cxnSp>
        <p:nvCxnSpPr>
          <p:cNvPr id="38921" name="Straight Connector 16">
            <a:extLst>
              <a:ext uri="{FF2B5EF4-FFF2-40B4-BE49-F238E27FC236}">
                <a16:creationId xmlns:a16="http://schemas.microsoft.com/office/drawing/2014/main" id="{7743C678-D725-B69C-7995-EC229A9B62F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022975" y="3101975"/>
            <a:ext cx="365125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730" name="TextBox 17">
            <a:extLst>
              <a:ext uri="{FF2B5EF4-FFF2-40B4-BE49-F238E27FC236}">
                <a16:creationId xmlns:a16="http://schemas.microsoft.com/office/drawing/2014/main" id="{6898BCF6-5FCD-9D84-328E-CEF2BA9CBA76}"/>
              </a:ext>
            </a:extLst>
          </p:cNvPr>
          <p:cNvSpPr txBox="1"/>
          <p:nvPr/>
        </p:nvSpPr>
        <p:spPr>
          <a:xfrm>
            <a:off x="6200775" y="2347913"/>
            <a:ext cx="641350" cy="5127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2. Van Belle 2011/S. 89/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Abb. 2 Legende/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ln6-12; S. 83/c1/¶1/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ln2-10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30731" name="TextBox 18">
            <a:extLst>
              <a:ext uri="{FF2B5EF4-FFF2-40B4-BE49-F238E27FC236}">
                <a16:creationId xmlns:a16="http://schemas.microsoft.com/office/drawing/2014/main" id="{F2ED54EC-DC02-1FCE-E915-5402409F9BCE}"/>
              </a:ext>
            </a:extLst>
          </p:cNvPr>
          <p:cNvSpPr txBox="1"/>
          <p:nvPr/>
        </p:nvSpPr>
        <p:spPr>
          <a:xfrm>
            <a:off x="6200775" y="2830513"/>
            <a:ext cx="641350" cy="6651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2. Van Belle 2011/S. 89/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Abb. 2 Legende/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ln6-12]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3. Pugliese 2017/S. 2881/c1/¶1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ln6-7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30732" name="TextBox 19">
            <a:extLst>
              <a:ext uri="{FF2B5EF4-FFF2-40B4-BE49-F238E27FC236}">
                <a16:creationId xmlns:a16="http://schemas.microsoft.com/office/drawing/2014/main" id="{91128313-6080-66DD-F537-4F436D43DCCE}"/>
              </a:ext>
            </a:extLst>
          </p:cNvPr>
          <p:cNvSpPr txBox="1"/>
          <p:nvPr/>
        </p:nvSpPr>
        <p:spPr>
          <a:xfrm>
            <a:off x="19050" y="1189038"/>
            <a:ext cx="641350" cy="2841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en-US" altLang="de-DE" sz="500">
                <a:latin typeface="Arial" panose="020B0604020202020204" pitchFamily="34" charset="0"/>
              </a:rPr>
              <a:t>[1. Insel 2015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2/c1/¶2/ln1-6; S. 1/¶1/ln4-8]</a:t>
            </a:r>
            <a:endParaRPr lang="en-US" altLang="en-US" sz="50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>
            <a:extLst>
              <a:ext uri="{FF2B5EF4-FFF2-40B4-BE49-F238E27FC236}">
                <a16:creationId xmlns:a16="http://schemas.microsoft.com/office/drawing/2014/main" id="{1D73A779-F958-C814-5D95-56682707FF6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>
            <a:extLst>
              <a:ext uri="{FF2B5EF4-FFF2-40B4-BE49-F238E27FC236}">
                <a16:creationId xmlns:a16="http://schemas.microsoft.com/office/drawing/2014/main" id="{E7A63ADE-1BEA-AF7B-4D58-4BC46ACC37B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4400">
              <a:spcBef>
                <a:spcPct val="0"/>
              </a:spcBef>
            </a:pPr>
            <a:endParaRPr lang="de-DE" altLang="de-DE">
              <a:solidFill>
                <a:srgbClr val="191919"/>
              </a:solidFill>
              <a:latin typeface="Arial" panose="020B0604020202020204" pitchFamily="34" charset="0"/>
            </a:endParaRPr>
          </a:p>
        </p:txBody>
      </p:sp>
      <p:sp>
        <p:nvSpPr>
          <p:cNvPr id="39940" name="Slide Number Placeholder 3">
            <a:extLst>
              <a:ext uri="{FF2B5EF4-FFF2-40B4-BE49-F238E27FC236}">
                <a16:creationId xmlns:a16="http://schemas.microsoft.com/office/drawing/2014/main" id="{B989B1F7-569E-DBC8-85AE-0BD9B5ADB02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fld id="{3F17E5AC-2F06-4671-980E-3C8F8533D934}" type="slidenum">
              <a:rPr lang="en-US" altLang="en-US">
                <a:latin typeface="Raleway" pitchFamily="2" charset="0"/>
              </a:rPr>
              <a:pPr eaLnBrk="1" hangingPunct="1"/>
              <a:t>11</a:t>
            </a:fld>
            <a:endParaRPr lang="en-US" altLang="en-US">
              <a:latin typeface="Raleway" pitchFamily="2" charset="0"/>
            </a:endParaRPr>
          </a:p>
        </p:txBody>
      </p:sp>
      <p:sp>
        <p:nvSpPr>
          <p:cNvPr id="39941" name="Right Bracket 4">
            <a:extLst>
              <a:ext uri="{FF2B5EF4-FFF2-40B4-BE49-F238E27FC236}">
                <a16:creationId xmlns:a16="http://schemas.microsoft.com/office/drawing/2014/main" id="{0C337B12-1BB3-B040-0E9C-23E630A08F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4875" y="2247900"/>
            <a:ext cx="92075" cy="914400"/>
          </a:xfrm>
          <a:prstGeom prst="rightBracket">
            <a:avLst>
              <a:gd name="adj" fmla="val 0"/>
            </a:avLst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de-DE" altLang="de-DE" sz="500">
              <a:latin typeface="Arial" panose="020B0604020202020204" pitchFamily="34" charset="0"/>
            </a:endParaRPr>
          </a:p>
        </p:txBody>
      </p:sp>
      <p:cxnSp>
        <p:nvCxnSpPr>
          <p:cNvPr id="39942" name="Straight Connector 5">
            <a:extLst>
              <a:ext uri="{FF2B5EF4-FFF2-40B4-BE49-F238E27FC236}">
                <a16:creationId xmlns:a16="http://schemas.microsoft.com/office/drawing/2014/main" id="{96A60E1B-F9B0-1266-61FD-600231D3511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076950" y="2706688"/>
            <a:ext cx="263525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9943" name="Straight Connector 8">
            <a:extLst>
              <a:ext uri="{FF2B5EF4-FFF2-40B4-BE49-F238E27FC236}">
                <a16:creationId xmlns:a16="http://schemas.microsoft.com/office/drawing/2014/main" id="{3C1056DB-2E2E-43D1-987F-2C6A0CFD4D2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63563" y="1409700"/>
            <a:ext cx="365125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9944" name="Straight Connector 11">
            <a:extLst>
              <a:ext uri="{FF2B5EF4-FFF2-40B4-BE49-F238E27FC236}">
                <a16:creationId xmlns:a16="http://schemas.microsoft.com/office/drawing/2014/main" id="{7175A39A-9D3C-46DE-6F56-3D2AAF3893E9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28688" y="1709738"/>
            <a:ext cx="0" cy="29210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9945" name="Straight Connector 13">
            <a:extLst>
              <a:ext uri="{FF2B5EF4-FFF2-40B4-BE49-F238E27FC236}">
                <a16:creationId xmlns:a16="http://schemas.microsoft.com/office/drawing/2014/main" id="{A3CDAB5D-8CDC-B9AC-205F-7E40A9E6BFF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63563" y="1822450"/>
            <a:ext cx="365125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9946" name="Straight Connector 14">
            <a:extLst>
              <a:ext uri="{FF2B5EF4-FFF2-40B4-BE49-F238E27FC236}">
                <a16:creationId xmlns:a16="http://schemas.microsoft.com/office/drawing/2014/main" id="{95238CED-B65D-FAD8-B65C-A905D69DFABF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3068638" y="3284538"/>
            <a:ext cx="0" cy="182562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9947" name="Straight Connector 15">
            <a:extLst>
              <a:ext uri="{FF2B5EF4-FFF2-40B4-BE49-F238E27FC236}">
                <a16:creationId xmlns:a16="http://schemas.microsoft.com/office/drawing/2014/main" id="{C4EEFD32-25AA-0BB2-E810-9ED3F33DB4A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54050" y="3371850"/>
            <a:ext cx="2414588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780" name="TextBox 16">
            <a:extLst>
              <a:ext uri="{FF2B5EF4-FFF2-40B4-BE49-F238E27FC236}">
                <a16:creationId xmlns:a16="http://schemas.microsoft.com/office/drawing/2014/main" id="{C614A9D8-71E2-A3F1-51EE-5246375F2C9D}"/>
              </a:ext>
            </a:extLst>
          </p:cNvPr>
          <p:cNvSpPr txBox="1"/>
          <p:nvPr/>
        </p:nvSpPr>
        <p:spPr>
          <a:xfrm>
            <a:off x="12700" y="1168400"/>
            <a:ext cx="641350" cy="2841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en-US" altLang="de-DE" sz="500">
                <a:latin typeface="Arial" panose="020B0604020202020204" pitchFamily="34" charset="0"/>
              </a:rPr>
              <a:t>[1. Insel 2015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1965/c1/¶2/ln1-6; ¶5;c2/¶2&amp;3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32781" name="TextBox 17">
            <a:extLst>
              <a:ext uri="{FF2B5EF4-FFF2-40B4-BE49-F238E27FC236}">
                <a16:creationId xmlns:a16="http://schemas.microsoft.com/office/drawing/2014/main" id="{18E97F0B-75F5-0595-B172-5F16056C1286}"/>
              </a:ext>
            </a:extLst>
          </p:cNvPr>
          <p:cNvSpPr txBox="1"/>
          <p:nvPr/>
        </p:nvSpPr>
        <p:spPr>
          <a:xfrm>
            <a:off x="12700" y="1700213"/>
            <a:ext cx="641350" cy="2841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en-US" altLang="de-DE" sz="500">
                <a:latin typeface="Arial" panose="020B0604020202020204" pitchFamily="34" charset="0"/>
              </a:rPr>
              <a:t>[1. Insel 2015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1965/c1/¶5/ln1-4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32782" name="TextBox 18">
            <a:extLst>
              <a:ext uri="{FF2B5EF4-FFF2-40B4-BE49-F238E27FC236}">
                <a16:creationId xmlns:a16="http://schemas.microsoft.com/office/drawing/2014/main" id="{28223701-578E-EE9A-B158-5EFC0F764939}"/>
              </a:ext>
            </a:extLst>
          </p:cNvPr>
          <p:cNvSpPr txBox="1"/>
          <p:nvPr/>
        </p:nvSpPr>
        <p:spPr>
          <a:xfrm>
            <a:off x="12700" y="3228975"/>
            <a:ext cx="641350" cy="2841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en-US" altLang="de-DE" sz="500">
                <a:latin typeface="Arial" panose="020B0604020202020204" pitchFamily="34" charset="0"/>
              </a:rPr>
              <a:t>[1. Insel 2015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1965/c1/¶5/ln1-4; S. 1966/Abb. 1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32783" name="TextBox 19">
            <a:extLst>
              <a:ext uri="{FF2B5EF4-FFF2-40B4-BE49-F238E27FC236}">
                <a16:creationId xmlns:a16="http://schemas.microsoft.com/office/drawing/2014/main" id="{10304AE5-3C06-04BC-FB1B-AB3021851397}"/>
              </a:ext>
            </a:extLst>
          </p:cNvPr>
          <p:cNvSpPr txBox="1"/>
          <p:nvPr/>
        </p:nvSpPr>
        <p:spPr>
          <a:xfrm>
            <a:off x="6194425" y="2290763"/>
            <a:ext cx="641350" cy="11985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1. Insel 2015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1965;c1/¶5/ln1-4]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2. Van Belle 2011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84/c1/¶2/ln3-4; S. 93/c2/¶3/ln8-10]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3. Pugliese 2017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/S.2881/c1/¶1/ln3-6]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4. Rodriguez-Calvo 2021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2/c2/¶2/Zeile 1-3]</a:t>
            </a:r>
            <a:endParaRPr lang="en-US" altLang="en-US" sz="50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DF37B010-6372-3621-9F64-C6DC9807623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173C46A1-EFF6-AE94-A042-465C1E3BAC6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4400">
              <a:spcBef>
                <a:spcPct val="0"/>
              </a:spcBef>
            </a:pPr>
            <a:endParaRPr lang="de-DE" altLang="de-DE">
              <a:solidFill>
                <a:srgbClr val="191919"/>
              </a:solidFill>
              <a:latin typeface="Arial" panose="020B0604020202020204" pitchFamily="34" charset="0"/>
            </a:endParaRP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10205A30-106F-8183-ED4C-1A40F32BF94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fld id="{5A7806FD-8D74-4A42-A1A0-EF48A3EB32D8}" type="slidenum">
              <a:rPr lang="en-US" altLang="en-US">
                <a:latin typeface="Raleway" pitchFamily="2" charset="0"/>
              </a:rPr>
              <a:pPr eaLnBrk="1" hangingPunct="1"/>
              <a:t>12</a:t>
            </a:fld>
            <a:endParaRPr lang="en-US" altLang="en-US">
              <a:latin typeface="Raleway" pitchFamily="2" charset="0"/>
            </a:endParaRPr>
          </a:p>
        </p:txBody>
      </p:sp>
      <p:cxnSp>
        <p:nvCxnSpPr>
          <p:cNvPr id="40965" name="Straight Connector 4">
            <a:extLst>
              <a:ext uri="{FF2B5EF4-FFF2-40B4-BE49-F238E27FC236}">
                <a16:creationId xmlns:a16="http://schemas.microsoft.com/office/drawing/2014/main" id="{E25CCA8B-18B0-0A30-E9E1-18EB98A77A0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63563" y="1409700"/>
            <a:ext cx="365125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0966" name="Straight Connector 5">
            <a:extLst>
              <a:ext uri="{FF2B5EF4-FFF2-40B4-BE49-F238E27FC236}">
                <a16:creationId xmlns:a16="http://schemas.microsoft.com/office/drawing/2014/main" id="{48C6C382-F032-6B70-7204-7A75DF6800D5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28688" y="1709738"/>
            <a:ext cx="0" cy="29210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0967" name="Straight Connector 8">
            <a:extLst>
              <a:ext uri="{FF2B5EF4-FFF2-40B4-BE49-F238E27FC236}">
                <a16:creationId xmlns:a16="http://schemas.microsoft.com/office/drawing/2014/main" id="{04B3A853-7504-6692-E4BC-6E3C75E2A54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63563" y="1822450"/>
            <a:ext cx="365125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0968" name="Straight Connector 11">
            <a:extLst>
              <a:ext uri="{FF2B5EF4-FFF2-40B4-BE49-F238E27FC236}">
                <a16:creationId xmlns:a16="http://schemas.microsoft.com/office/drawing/2014/main" id="{E17D179E-6495-DEA3-F441-C44C5C5C5B3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003300" y="4008438"/>
            <a:ext cx="46038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0969" name="Straight Connector 14">
            <a:extLst>
              <a:ext uri="{FF2B5EF4-FFF2-40B4-BE49-F238E27FC236}">
                <a16:creationId xmlns:a16="http://schemas.microsoft.com/office/drawing/2014/main" id="{57593C19-0E40-B16F-56F0-0DA2ADEC0E4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47688" y="3878263"/>
            <a:ext cx="381000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0970" name="Straight Connector 15">
            <a:extLst>
              <a:ext uri="{FF2B5EF4-FFF2-40B4-BE49-F238E27FC236}">
                <a16:creationId xmlns:a16="http://schemas.microsoft.com/office/drawing/2014/main" id="{4CAB6FE8-8AEB-C5C6-4D1D-D4714869DE1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5991225" y="2439988"/>
            <a:ext cx="0" cy="274637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0971" name="Straight Connector 16">
            <a:extLst>
              <a:ext uri="{FF2B5EF4-FFF2-40B4-BE49-F238E27FC236}">
                <a16:creationId xmlns:a16="http://schemas.microsoft.com/office/drawing/2014/main" id="{895C08F0-7F67-A90A-07FD-7C498A350404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5991225" y="2846388"/>
            <a:ext cx="0" cy="274637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0972" name="Straight Connector 17">
            <a:extLst>
              <a:ext uri="{FF2B5EF4-FFF2-40B4-BE49-F238E27FC236}">
                <a16:creationId xmlns:a16="http://schemas.microsoft.com/office/drawing/2014/main" id="{AA5E849B-9FC4-B254-8257-2CDACCB819F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991225" y="2581275"/>
            <a:ext cx="503238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0973" name="Straight Connector 18">
            <a:extLst>
              <a:ext uri="{FF2B5EF4-FFF2-40B4-BE49-F238E27FC236}">
                <a16:creationId xmlns:a16="http://schemas.microsoft.com/office/drawing/2014/main" id="{775D40C5-5E39-9ECC-661D-B3A5D34D45A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991225" y="2976563"/>
            <a:ext cx="341313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4830" name="TextBox 19">
            <a:extLst>
              <a:ext uri="{FF2B5EF4-FFF2-40B4-BE49-F238E27FC236}">
                <a16:creationId xmlns:a16="http://schemas.microsoft.com/office/drawing/2014/main" id="{3B5B36F4-3CD3-809C-6438-A1038775BB82}"/>
              </a:ext>
            </a:extLst>
          </p:cNvPr>
          <p:cNvSpPr txBox="1"/>
          <p:nvPr/>
        </p:nvSpPr>
        <p:spPr>
          <a:xfrm>
            <a:off x="6199188" y="2328863"/>
            <a:ext cx="641350" cy="5127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2. Pugliese 2017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2881/c1/¶1/ln6-7]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3. Burrak 2017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2/c1/¶5/ln8-10; c2/ln1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34831" name="TextBox 20">
            <a:extLst>
              <a:ext uri="{FF2B5EF4-FFF2-40B4-BE49-F238E27FC236}">
                <a16:creationId xmlns:a16="http://schemas.microsoft.com/office/drawing/2014/main" id="{88D00518-2468-2A76-E349-075452CDDAFC}"/>
              </a:ext>
            </a:extLst>
          </p:cNvPr>
          <p:cNvSpPr txBox="1"/>
          <p:nvPr/>
        </p:nvSpPr>
        <p:spPr>
          <a:xfrm>
            <a:off x="6199188" y="2927350"/>
            <a:ext cx="641350" cy="7413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1. Insel 2015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1965/c2/¶2/ln1-6;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1969/c1/¶2/ln1-4]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2. Pugliese 2017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2882/Abb. 1 Legende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ln2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34832" name="TextBox 21">
            <a:extLst>
              <a:ext uri="{FF2B5EF4-FFF2-40B4-BE49-F238E27FC236}">
                <a16:creationId xmlns:a16="http://schemas.microsoft.com/office/drawing/2014/main" id="{36DA4CC0-E250-FCD2-7A73-71DFCD2B998A}"/>
              </a:ext>
            </a:extLst>
          </p:cNvPr>
          <p:cNvSpPr txBox="1"/>
          <p:nvPr/>
        </p:nvSpPr>
        <p:spPr>
          <a:xfrm>
            <a:off x="17463" y="1677988"/>
            <a:ext cx="641350" cy="2841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en-US" altLang="de-DE" sz="500">
                <a:latin typeface="Arial" panose="020B0604020202020204" pitchFamily="34" charset="0"/>
              </a:rPr>
              <a:t>[1. Insel 2015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1965/c2/¶2/ln1-6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34833" name="TextBox 23">
            <a:extLst>
              <a:ext uri="{FF2B5EF4-FFF2-40B4-BE49-F238E27FC236}">
                <a16:creationId xmlns:a16="http://schemas.microsoft.com/office/drawing/2014/main" id="{CA7ABAD9-ABAE-88B5-6DFC-608DB5BCB54B}"/>
              </a:ext>
            </a:extLst>
          </p:cNvPr>
          <p:cNvSpPr txBox="1"/>
          <p:nvPr/>
        </p:nvSpPr>
        <p:spPr>
          <a:xfrm>
            <a:off x="17463" y="3706813"/>
            <a:ext cx="641350" cy="5127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en-US" altLang="de-DE" sz="500">
                <a:latin typeface="Arial" panose="020B0604020202020204" pitchFamily="34" charset="0"/>
              </a:rPr>
              <a:t>[4. ADA Diabetes Care 2022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pS18/Tabelle 2.1/§Diagnosekriterien Stadium 2; pS18/c3/¶3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34834" name="TextBox 24">
            <a:extLst>
              <a:ext uri="{FF2B5EF4-FFF2-40B4-BE49-F238E27FC236}">
                <a16:creationId xmlns:a16="http://schemas.microsoft.com/office/drawing/2014/main" id="{DDF1DF56-DD6B-621B-3BF2-AD4A8D759F72}"/>
              </a:ext>
            </a:extLst>
          </p:cNvPr>
          <p:cNvSpPr txBox="1"/>
          <p:nvPr/>
        </p:nvSpPr>
        <p:spPr>
          <a:xfrm>
            <a:off x="17463" y="1168400"/>
            <a:ext cx="641350" cy="4365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en-US" altLang="de-DE" sz="500">
                <a:latin typeface="Arial" panose="020B0604020202020204" pitchFamily="34" charset="0"/>
              </a:rPr>
              <a:t>[1. Insel 2015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1965/c1/¶2/ln1-6; S. 1965/c1/¶5;c2/¶2,3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cxnSp>
        <p:nvCxnSpPr>
          <p:cNvPr id="40979" name="Straight Connector 25">
            <a:extLst>
              <a:ext uri="{FF2B5EF4-FFF2-40B4-BE49-F238E27FC236}">
                <a16:creationId xmlns:a16="http://schemas.microsoft.com/office/drawing/2014/main" id="{4DC12F26-0BB6-0615-13EC-F5D30F3F5AEA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3044825" y="3294063"/>
            <a:ext cx="0" cy="182562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0980" name="Straight Connector 26">
            <a:extLst>
              <a:ext uri="{FF2B5EF4-FFF2-40B4-BE49-F238E27FC236}">
                <a16:creationId xmlns:a16="http://schemas.microsoft.com/office/drawing/2014/main" id="{2FA613D3-4C9A-489E-DD26-83E4FF7BF1C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30238" y="3397250"/>
            <a:ext cx="2414587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4837" name="TextBox 22">
            <a:extLst>
              <a:ext uri="{FF2B5EF4-FFF2-40B4-BE49-F238E27FC236}">
                <a16:creationId xmlns:a16="http://schemas.microsoft.com/office/drawing/2014/main" id="{094833E0-30F4-7200-791E-001CA4C14DD9}"/>
              </a:ext>
            </a:extLst>
          </p:cNvPr>
          <p:cNvSpPr txBox="1"/>
          <p:nvPr/>
        </p:nvSpPr>
        <p:spPr>
          <a:xfrm>
            <a:off x="17463" y="3278188"/>
            <a:ext cx="641350" cy="2841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en-US" altLang="de-DE" sz="500">
                <a:latin typeface="Arial" panose="020B0604020202020204" pitchFamily="34" charset="0"/>
              </a:rPr>
              <a:t>1. Insel 2015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1969/c1/¶2;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c2/¶1]</a:t>
            </a:r>
            <a:endParaRPr lang="en-US" altLang="en-US" sz="50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>
            <a:extLst>
              <a:ext uri="{FF2B5EF4-FFF2-40B4-BE49-F238E27FC236}">
                <a16:creationId xmlns:a16="http://schemas.microsoft.com/office/drawing/2014/main" id="{5E27B1C6-CC96-2097-37D4-A80910913B5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>
            <a:extLst>
              <a:ext uri="{FF2B5EF4-FFF2-40B4-BE49-F238E27FC236}">
                <a16:creationId xmlns:a16="http://schemas.microsoft.com/office/drawing/2014/main" id="{B02C6C0C-51A4-6792-0A95-42E10C11EAB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4400">
              <a:spcBef>
                <a:spcPct val="0"/>
              </a:spcBef>
            </a:pPr>
            <a:endParaRPr lang="de-DE" altLang="de-DE">
              <a:solidFill>
                <a:srgbClr val="191919"/>
              </a:solidFill>
              <a:latin typeface="Arial" panose="020B0604020202020204" pitchFamily="34" charset="0"/>
            </a:endParaRPr>
          </a:p>
        </p:txBody>
      </p:sp>
      <p:sp>
        <p:nvSpPr>
          <p:cNvPr id="41988" name="Slide Number Placeholder 3">
            <a:extLst>
              <a:ext uri="{FF2B5EF4-FFF2-40B4-BE49-F238E27FC236}">
                <a16:creationId xmlns:a16="http://schemas.microsoft.com/office/drawing/2014/main" id="{B25C6EB1-9387-CE9D-3FA6-E8766DED9CA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fld id="{63F80D4E-1371-49E7-AAC9-B7E853810EF4}" type="slidenum">
              <a:rPr lang="en-US" altLang="en-US">
                <a:latin typeface="Raleway" pitchFamily="2" charset="0"/>
              </a:rPr>
              <a:pPr eaLnBrk="1" hangingPunct="1"/>
              <a:t>13</a:t>
            </a:fld>
            <a:endParaRPr lang="en-US" altLang="en-US">
              <a:latin typeface="Raleway" pitchFamily="2" charset="0"/>
            </a:endParaRPr>
          </a:p>
        </p:txBody>
      </p:sp>
      <p:cxnSp>
        <p:nvCxnSpPr>
          <p:cNvPr id="41989" name="Straight Connector 4">
            <a:extLst>
              <a:ext uri="{FF2B5EF4-FFF2-40B4-BE49-F238E27FC236}">
                <a16:creationId xmlns:a16="http://schemas.microsoft.com/office/drawing/2014/main" id="{9A7ED69B-379A-6C99-1258-C8705147FF7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63563" y="1409700"/>
            <a:ext cx="365125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41990" name="Group 5">
            <a:extLst>
              <a:ext uri="{FF2B5EF4-FFF2-40B4-BE49-F238E27FC236}">
                <a16:creationId xmlns:a16="http://schemas.microsoft.com/office/drawing/2014/main" id="{59433C4A-5FD3-F126-75F4-5CF3987B1C08}"/>
              </a:ext>
            </a:extLst>
          </p:cNvPr>
          <p:cNvGrpSpPr>
            <a:grpSpLocks/>
          </p:cNvGrpSpPr>
          <p:nvPr/>
        </p:nvGrpSpPr>
        <p:grpSpPr bwMode="auto">
          <a:xfrm rot="-10800000">
            <a:off x="5929313" y="1684338"/>
            <a:ext cx="273050" cy="292100"/>
            <a:chOff x="563563" y="1709547"/>
            <a:chExt cx="365760" cy="292608"/>
          </a:xfrm>
        </p:grpSpPr>
        <p:sp>
          <p:nvSpPr>
            <p:cNvPr id="41991" name="Straight Connector 8">
              <a:extLst>
                <a:ext uri="{FF2B5EF4-FFF2-40B4-BE49-F238E27FC236}">
                  <a16:creationId xmlns:a16="http://schemas.microsoft.com/office/drawing/2014/main" id="{BD82ACD3-04D3-332F-84DE-0E5454B4C41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29323" y="1709547"/>
              <a:ext cx="0" cy="292608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992" name="Straight Connector 11">
              <a:extLst>
                <a:ext uri="{FF2B5EF4-FFF2-40B4-BE49-F238E27FC236}">
                  <a16:creationId xmlns:a16="http://schemas.microsoft.com/office/drawing/2014/main" id="{84623795-5084-A315-FFDD-16DA7A69D5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563" y="1852670"/>
              <a:ext cx="365760" cy="0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cxnSp>
        <p:nvCxnSpPr>
          <p:cNvPr id="41993" name="Straight Connector 13">
            <a:extLst>
              <a:ext uri="{FF2B5EF4-FFF2-40B4-BE49-F238E27FC236}">
                <a16:creationId xmlns:a16="http://schemas.microsoft.com/office/drawing/2014/main" id="{5CE2FF7F-D50B-1668-6A33-27E23C517366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4052888" y="3238500"/>
            <a:ext cx="0" cy="287338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1994" name="Straight Connector 14">
            <a:extLst>
              <a:ext uri="{FF2B5EF4-FFF2-40B4-BE49-F238E27FC236}">
                <a16:creationId xmlns:a16="http://schemas.microsoft.com/office/drawing/2014/main" id="{569AE7A3-8556-E893-1A4F-BE037056460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057650" y="3502025"/>
            <a:ext cx="2328863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41995" name="Group 15">
            <a:extLst>
              <a:ext uri="{FF2B5EF4-FFF2-40B4-BE49-F238E27FC236}">
                <a16:creationId xmlns:a16="http://schemas.microsoft.com/office/drawing/2014/main" id="{0F40312F-D66C-7429-ABAC-4E76E2F69EA0}"/>
              </a:ext>
            </a:extLst>
          </p:cNvPr>
          <p:cNvGrpSpPr>
            <a:grpSpLocks/>
          </p:cNvGrpSpPr>
          <p:nvPr/>
        </p:nvGrpSpPr>
        <p:grpSpPr bwMode="auto">
          <a:xfrm rot="-10800000">
            <a:off x="5948363" y="2193925"/>
            <a:ext cx="254000" cy="531813"/>
            <a:chOff x="485035" y="1476693"/>
            <a:chExt cx="339582" cy="530352"/>
          </a:xfrm>
        </p:grpSpPr>
        <p:sp>
          <p:nvSpPr>
            <p:cNvPr id="41996" name="Straight Connector 16">
              <a:extLst>
                <a:ext uri="{FF2B5EF4-FFF2-40B4-BE49-F238E27FC236}">
                  <a16:creationId xmlns:a16="http://schemas.microsoft.com/office/drawing/2014/main" id="{3D548EFC-7ACD-65BB-C5B0-F6B0D5D6947B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0800000">
              <a:off x="824617" y="1476693"/>
              <a:ext cx="0" cy="530352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997" name="Straight Connector 17">
              <a:extLst>
                <a:ext uri="{FF2B5EF4-FFF2-40B4-BE49-F238E27FC236}">
                  <a16:creationId xmlns:a16="http://schemas.microsoft.com/office/drawing/2014/main" id="{68ED2416-2BF9-9853-185C-53460EEFFAAC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0800000" flipH="1">
              <a:off x="485035" y="1731579"/>
              <a:ext cx="339582" cy="0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41998" name="Group 18">
            <a:extLst>
              <a:ext uri="{FF2B5EF4-FFF2-40B4-BE49-F238E27FC236}">
                <a16:creationId xmlns:a16="http://schemas.microsoft.com/office/drawing/2014/main" id="{428B783A-F8DC-7F27-B446-22C9E97C7F7B}"/>
              </a:ext>
            </a:extLst>
          </p:cNvPr>
          <p:cNvGrpSpPr>
            <a:grpSpLocks/>
          </p:cNvGrpSpPr>
          <p:nvPr/>
        </p:nvGrpSpPr>
        <p:grpSpPr bwMode="auto">
          <a:xfrm rot="-10800000">
            <a:off x="5943600" y="3114675"/>
            <a:ext cx="357188" cy="292100"/>
            <a:chOff x="452312" y="1709547"/>
            <a:chExt cx="477011" cy="292608"/>
          </a:xfrm>
        </p:grpSpPr>
        <p:sp>
          <p:nvSpPr>
            <p:cNvPr id="41999" name="Straight Connector 19">
              <a:extLst>
                <a:ext uri="{FF2B5EF4-FFF2-40B4-BE49-F238E27FC236}">
                  <a16:creationId xmlns:a16="http://schemas.microsoft.com/office/drawing/2014/main" id="{9A3658EF-9F65-4182-C515-594A596EE30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29323" y="1709547"/>
              <a:ext cx="0" cy="292608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2000" name="Straight Connector 20">
              <a:extLst>
                <a:ext uri="{FF2B5EF4-FFF2-40B4-BE49-F238E27FC236}">
                  <a16:creationId xmlns:a16="http://schemas.microsoft.com/office/drawing/2014/main" id="{D3B498BD-CFA8-0FCC-D886-5326AF68E018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0800000" flipH="1">
              <a:off x="456552" y="1822455"/>
              <a:ext cx="477011" cy="0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cxnSp>
        <p:nvCxnSpPr>
          <p:cNvPr id="42001" name="Straight Connector 23">
            <a:extLst>
              <a:ext uri="{FF2B5EF4-FFF2-40B4-BE49-F238E27FC236}">
                <a16:creationId xmlns:a16="http://schemas.microsoft.com/office/drawing/2014/main" id="{B786B558-C1E3-16AC-D5F6-9C0650279CB2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47688" y="3863975"/>
            <a:ext cx="381000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6876" name="TextBox 24">
            <a:extLst>
              <a:ext uri="{FF2B5EF4-FFF2-40B4-BE49-F238E27FC236}">
                <a16:creationId xmlns:a16="http://schemas.microsoft.com/office/drawing/2014/main" id="{00ED46EC-5F5C-3A2F-ACBC-E84DE4A84DEA}"/>
              </a:ext>
            </a:extLst>
          </p:cNvPr>
          <p:cNvSpPr txBox="1"/>
          <p:nvPr/>
        </p:nvSpPr>
        <p:spPr>
          <a:xfrm>
            <a:off x="6192838" y="2038350"/>
            <a:ext cx="641350" cy="6651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1. Insel 2015/S. 1966/Abb. 1]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2. Pugliese 2017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2881/c1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¶1/ln6-7]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3. ADA 2022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pS18/Tabelle 2.1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tufe 3/Serie 2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36877" name="TextBox 25">
            <a:extLst>
              <a:ext uri="{FF2B5EF4-FFF2-40B4-BE49-F238E27FC236}">
                <a16:creationId xmlns:a16="http://schemas.microsoft.com/office/drawing/2014/main" id="{D3C97B19-8B9B-89ED-9E59-41AEAEBD37E8}"/>
              </a:ext>
            </a:extLst>
          </p:cNvPr>
          <p:cNvSpPr txBox="1"/>
          <p:nvPr/>
        </p:nvSpPr>
        <p:spPr>
          <a:xfrm>
            <a:off x="6192838" y="3208338"/>
            <a:ext cx="641350" cy="2079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4. McCall 2013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15/¶3/ln1-3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36878" name="TextBox 26">
            <a:extLst>
              <a:ext uri="{FF2B5EF4-FFF2-40B4-BE49-F238E27FC236}">
                <a16:creationId xmlns:a16="http://schemas.microsoft.com/office/drawing/2014/main" id="{035E21D8-484F-E37C-65B2-ED4BF2AAC436}"/>
              </a:ext>
            </a:extLst>
          </p:cNvPr>
          <p:cNvSpPr txBox="1"/>
          <p:nvPr/>
        </p:nvSpPr>
        <p:spPr>
          <a:xfrm>
            <a:off x="6192838" y="1555750"/>
            <a:ext cx="641350" cy="5127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1. Insel 2015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1965/c2/¶3/ln1-5]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3. ADA 2022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pS18/Tabelle 2.1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tufe 3/Serie 2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36879" name="TextBox 27">
            <a:extLst>
              <a:ext uri="{FF2B5EF4-FFF2-40B4-BE49-F238E27FC236}">
                <a16:creationId xmlns:a16="http://schemas.microsoft.com/office/drawing/2014/main" id="{887E58FF-4281-6F24-407D-8FD53DD5DDA7}"/>
              </a:ext>
            </a:extLst>
          </p:cNvPr>
          <p:cNvSpPr txBox="1"/>
          <p:nvPr/>
        </p:nvSpPr>
        <p:spPr>
          <a:xfrm>
            <a:off x="6192838" y="3448050"/>
            <a:ext cx="641350" cy="4365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1. Insel 2015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1969/c1/¶2/ln1-4; S. 1966/Abb. 1]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4. McCall 2013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15/¶3/ln1-3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36880" name="TextBox 28">
            <a:extLst>
              <a:ext uri="{FF2B5EF4-FFF2-40B4-BE49-F238E27FC236}">
                <a16:creationId xmlns:a16="http://schemas.microsoft.com/office/drawing/2014/main" id="{AC051F8D-6D64-CCA5-ED3F-97A485EBE496}"/>
              </a:ext>
            </a:extLst>
          </p:cNvPr>
          <p:cNvSpPr txBox="1"/>
          <p:nvPr/>
        </p:nvSpPr>
        <p:spPr>
          <a:xfrm>
            <a:off x="20638" y="3668713"/>
            <a:ext cx="639762" cy="5127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en-US" altLang="de-DE" sz="500">
                <a:latin typeface="Arial" panose="020B0604020202020204" pitchFamily="34" charset="0"/>
              </a:rPr>
              <a:t>[1. Insel 2015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1965/c2/¶3/ln1-5]</a:t>
            </a:r>
          </a:p>
          <a:p>
            <a:pPr algn="r" eaLnBrk="1" hangingPunct="1"/>
            <a:r>
              <a:rPr lang="en-US" altLang="de-DE" sz="500">
                <a:latin typeface="Arial" panose="020B0604020202020204" pitchFamily="34" charset="0"/>
              </a:rPr>
              <a:t>[5. Mayo Klinik 2021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1/Bullet 3, 5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sp>
        <p:nvSpPr>
          <p:cNvPr id="36881" name="TextBox 29">
            <a:extLst>
              <a:ext uri="{FF2B5EF4-FFF2-40B4-BE49-F238E27FC236}">
                <a16:creationId xmlns:a16="http://schemas.microsoft.com/office/drawing/2014/main" id="{D9B32A5A-F8A5-7E8B-3E86-53984906F847}"/>
              </a:ext>
            </a:extLst>
          </p:cNvPr>
          <p:cNvSpPr txBox="1"/>
          <p:nvPr/>
        </p:nvSpPr>
        <p:spPr>
          <a:xfrm>
            <a:off x="20638" y="1168400"/>
            <a:ext cx="639762" cy="3603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en-US" altLang="de-DE" sz="500">
                <a:latin typeface="Arial" panose="020B0604020202020204" pitchFamily="34" charset="0"/>
              </a:rPr>
              <a:t>[1. Insel 2015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1965/c1/¶2/ln1-6; S. 1965/c1/¶5;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c2/¶2, 3]</a:t>
            </a:r>
            <a:endParaRPr lang="en-US" altLang="en-US" sz="500">
              <a:latin typeface="Arial" panose="020B0604020202020204" pitchFamily="34" charset="0"/>
            </a:endParaRPr>
          </a:p>
        </p:txBody>
      </p:sp>
      <p:grpSp>
        <p:nvGrpSpPr>
          <p:cNvPr id="42008" name="Group 34">
            <a:extLst>
              <a:ext uri="{FF2B5EF4-FFF2-40B4-BE49-F238E27FC236}">
                <a16:creationId xmlns:a16="http://schemas.microsoft.com/office/drawing/2014/main" id="{E3EDE157-042A-135B-2A25-AB6E79F3ED41}"/>
              </a:ext>
            </a:extLst>
          </p:cNvPr>
          <p:cNvGrpSpPr>
            <a:grpSpLocks/>
          </p:cNvGrpSpPr>
          <p:nvPr/>
        </p:nvGrpSpPr>
        <p:grpSpPr bwMode="auto">
          <a:xfrm rot="-10800000">
            <a:off x="5949950" y="2809875"/>
            <a:ext cx="355600" cy="182563"/>
            <a:chOff x="452312" y="1709547"/>
            <a:chExt cx="477011" cy="292608"/>
          </a:xfrm>
        </p:grpSpPr>
        <p:sp>
          <p:nvSpPr>
            <p:cNvPr id="42009" name="Straight Connector 35">
              <a:extLst>
                <a:ext uri="{FF2B5EF4-FFF2-40B4-BE49-F238E27FC236}">
                  <a16:creationId xmlns:a16="http://schemas.microsoft.com/office/drawing/2014/main" id="{2ECC7424-6FC7-C50C-132C-4DF7267D49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29323" y="1709547"/>
              <a:ext cx="0" cy="292608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2010" name="Straight Connector 36">
              <a:extLst>
                <a:ext uri="{FF2B5EF4-FFF2-40B4-BE49-F238E27FC236}">
                  <a16:creationId xmlns:a16="http://schemas.microsoft.com/office/drawing/2014/main" id="{BCE84679-4E46-A061-0434-02936214B43E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0800000" flipH="1">
              <a:off x="452312" y="1818957"/>
              <a:ext cx="477011" cy="0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36883" name="TextBox 33">
            <a:extLst>
              <a:ext uri="{FF2B5EF4-FFF2-40B4-BE49-F238E27FC236}">
                <a16:creationId xmlns:a16="http://schemas.microsoft.com/office/drawing/2014/main" id="{D94E250D-3DE3-281F-6715-B1F7CAB9573B}"/>
              </a:ext>
            </a:extLst>
          </p:cNvPr>
          <p:cNvSpPr txBox="1"/>
          <p:nvPr/>
        </p:nvSpPr>
        <p:spPr>
          <a:xfrm>
            <a:off x="6192838" y="2740025"/>
            <a:ext cx="641350" cy="4365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</a:ln>
        </p:spPr>
        <p:txBody>
          <a:bodyPr lIns="27432" tIns="27432" rIns="27432" bIns="27432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1. Insel 2015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S. 1969/c1/¶2/ln1-4; S. 1966/Abb. 1]</a:t>
            </a:r>
          </a:p>
          <a:p>
            <a:pPr eaLnBrk="1" hangingPunct="1"/>
            <a:r>
              <a:rPr lang="en-US" altLang="de-DE" sz="500">
                <a:latin typeface="Arial" panose="020B0604020202020204" pitchFamily="34" charset="0"/>
              </a:rPr>
              <a:t>[3. ADA 2022/</a:t>
            </a:r>
            <a:br>
              <a:rPr lang="en-US" altLang="de-DE" sz="500"/>
            </a:br>
            <a:r>
              <a:rPr lang="en-US" altLang="de-DE" sz="500">
                <a:latin typeface="Arial" panose="020B0604020202020204" pitchFamily="34" charset="0"/>
              </a:rPr>
              <a:t>pS21/c2/¶1/ln 4-7]</a:t>
            </a:r>
            <a:endParaRPr lang="en-US" altLang="en-US" sz="50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aphique 7">
            <a:extLst>
              <a:ext uri="{FF2B5EF4-FFF2-40B4-BE49-F238E27FC236}">
                <a16:creationId xmlns:a16="http://schemas.microsoft.com/office/drawing/2014/main" id="{5569CE8B-04AF-468F-B800-7ECF09FD6C9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36582" y="2227950"/>
            <a:ext cx="2670837" cy="687600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A862ADC4-857D-4471-A871-BD1A38FB23C1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3473CDDD-9034-4972-B890-4C267C13F06F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FA4CC508-0E53-4122-BCBD-4E37F1B71C30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/>
            </a:p>
          </p:txBody>
        </p: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F582E619-80C5-289C-DA7A-7C2265127497}"/>
              </a:ext>
            </a:extLst>
          </p:cNvPr>
          <p:cNvSpPr txBox="1"/>
          <p:nvPr userDrawn="1"/>
        </p:nvSpPr>
        <p:spPr>
          <a:xfrm rot="16200000">
            <a:off x="8348592" y="4348090"/>
            <a:ext cx="1406154" cy="184666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de-DE" sz="600" b="0" i="0" dirty="0">
                <a:solidFill>
                  <a:srgbClr val="404040"/>
                </a:solidFill>
                <a:effectLst/>
              </a:rPr>
              <a:t>MAT-DE-2600042-1.0-01/2026</a:t>
            </a:r>
            <a:endParaRPr lang="de-DE" sz="600" dirty="0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898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2" y="4859492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Espace réservé du texte 5">
            <a:extLst>
              <a:ext uri="{FF2B5EF4-FFF2-40B4-BE49-F238E27FC236}">
                <a16:creationId xmlns:a16="http://schemas.microsoft.com/office/drawing/2014/main" id="{3FC96125-BC0F-469E-BA75-F4F2916D5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730" y="318888"/>
            <a:ext cx="8478000" cy="215444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8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400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300"/>
              </a:spcBef>
              <a:tabLst>
                <a:tab pos="627047" algn="l"/>
              </a:tabLst>
              <a:defRPr sz="400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E56171-4788-4B4A-B8DB-98CB348C66F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1525" y="1457850"/>
            <a:ext cx="8478000" cy="32214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E214CB94-27AF-41B7-A363-829DCFEBE7A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0" y="1183183"/>
            <a:ext cx="8478000" cy="276999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7577A6-F24A-4B6D-B7E1-FB31180BD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951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828800" y="1428750"/>
            <a:ext cx="5943600" cy="2914650"/>
          </a:xfrm>
        </p:spPr>
        <p:txBody>
          <a:bodyPr>
            <a:noAutofit/>
          </a:bodyPr>
          <a:lstStyle>
            <a:lvl1pPr>
              <a:defRPr sz="1500"/>
            </a:lvl1pPr>
            <a:lvl2pPr>
              <a:defRPr sz="1500"/>
            </a:lvl2pPr>
            <a:lvl3pPr>
              <a:spcBef>
                <a:spcPts val="1800"/>
              </a:spcBef>
              <a:buClrTx/>
              <a:defRPr sz="1500">
                <a:solidFill>
                  <a:schemeClr val="bg2"/>
                </a:solidFill>
              </a:defRPr>
            </a:lvl3pPr>
            <a:lvl4pPr>
              <a:spcBef>
                <a:spcPts val="1800"/>
              </a:spcBef>
              <a:defRPr sz="1350">
                <a:solidFill>
                  <a:schemeClr val="bg2"/>
                </a:solidFill>
              </a:defRPr>
            </a:lvl4pPr>
            <a:lvl5pPr>
              <a:spcBef>
                <a:spcPts val="1800"/>
              </a:spcBef>
              <a:defRPr sz="1350">
                <a:solidFill>
                  <a:schemeClr val="bg2"/>
                </a:solidFill>
              </a:defRPr>
            </a:lvl5pPr>
          </a:lstStyle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666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r"/>
      </p:transition>
    </mc:Choice>
    <mc:Fallback xmlns="">
      <p:transition>
        <p:wipe dir="r"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5000" y="273846"/>
            <a:ext cx="8486775" cy="571663"/>
          </a:xfrm>
        </p:spPr>
        <p:txBody>
          <a:bodyPr anchor="t"/>
          <a:lstStyle/>
          <a:p>
            <a:r>
              <a:rPr lang="en-US" altLang="en-US" noProof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75048" y="975122"/>
            <a:ext cx="8486775" cy="3343275"/>
          </a:xfrm>
        </p:spPr>
        <p:txBody>
          <a:bodyPr/>
          <a:lstStyle>
            <a:lvl1pPr>
              <a:buClr>
                <a:schemeClr val="accent3"/>
              </a:buClr>
              <a:defRPr sz="1050" baseline="0"/>
            </a:lvl1pPr>
            <a:lvl2pPr>
              <a:buClr>
                <a:schemeClr val="accent3"/>
              </a:buClr>
              <a:defRPr sz="1050" baseline="0"/>
            </a:lvl2pPr>
            <a:lvl3pPr>
              <a:buClr>
                <a:schemeClr val="accent3"/>
              </a:buClr>
              <a:defRPr sz="1050" baseline="0"/>
            </a:lvl3pPr>
            <a:lvl4pPr>
              <a:buClr>
                <a:schemeClr val="accent3"/>
              </a:buClr>
              <a:defRPr sz="1050" baseline="0"/>
            </a:lvl4pPr>
            <a:lvl5pPr>
              <a:buClr>
                <a:schemeClr val="accent3"/>
              </a:buClr>
              <a:defRPr sz="1050" baseline="0"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C9AC64-5A8A-45DB-D99B-0D0A55659F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20151" y="4863704"/>
            <a:ext cx="320675" cy="273844"/>
          </a:xfrm>
          <a:prstGeom prst="rect">
            <a:avLst/>
          </a:prstGeom>
          <a:ln cap="flat" algn="ctr"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>
              <a:defRPr sz="525">
                <a:solidFill>
                  <a:srgbClr val="2198DD"/>
                </a:solidFill>
                <a:latin typeface="Arial" panose="020B0604020202020204" pitchFamily="34" charset="0"/>
              </a:defRPr>
            </a:lvl1pPr>
          </a:lstStyle>
          <a:p>
            <a:fld id="{282C2E76-8C31-4E47-8EDB-0419A33E052F}" type="slidenum">
              <a:rPr lang="en-US" altLang="de-DE"/>
              <a:pPr/>
              <a:t>‹Nr.›</a:t>
            </a:fld>
            <a:endParaRPr lang="en-US" alt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5778395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920CC99-2862-47B8-AA12-B455F7B72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0" name="Espace réservé du texte 4">
            <a:extLst>
              <a:ext uri="{FF2B5EF4-FFF2-40B4-BE49-F238E27FC236}">
                <a16:creationId xmlns:a16="http://schemas.microsoft.com/office/drawing/2014/main" id="{B2003F5C-CB72-4CF3-92F6-48DF799244F6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333730" y="1071319"/>
            <a:ext cx="8478000" cy="21544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400" b="0" i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E56171-4788-4B4A-B8DB-98CB348C66F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31525" y="1340692"/>
            <a:ext cx="8478000" cy="320901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431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215">
          <p15:clr>
            <a:srgbClr val="FBAE40"/>
          </p15:clr>
        </p15:guide>
        <p15:guide id="2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Images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947720-2215-4D73-88E1-075BF17F8597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B88BFE2C-28A1-438A-960B-E93F4C5FF58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38494" y="1558352"/>
            <a:ext cx="2191718" cy="161583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8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Espace réservé du texte 4">
            <a:extLst>
              <a:ext uri="{FF2B5EF4-FFF2-40B4-BE49-F238E27FC236}">
                <a16:creationId xmlns:a16="http://schemas.microsoft.com/office/drawing/2014/main" id="{67A3D333-F7E4-4D2F-8B90-78E621A65AB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572001" y="1558352"/>
            <a:ext cx="2191718" cy="161583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8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Espace réservé pour une image  3">
            <a:extLst>
              <a:ext uri="{FF2B5EF4-FFF2-40B4-BE49-F238E27FC236}">
                <a16:creationId xmlns:a16="http://schemas.microsoft.com/office/drawing/2014/main" id="{D04D9ECA-57E3-42D4-AB59-AFDFC4994F90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333731" y="1829516"/>
            <a:ext cx="1755419" cy="2717116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5" name="Espace réservé pour une image  3">
            <a:extLst>
              <a:ext uri="{FF2B5EF4-FFF2-40B4-BE49-F238E27FC236}">
                <a16:creationId xmlns:a16="http://schemas.microsoft.com/office/drawing/2014/main" id="{A4ACE33E-54EC-45BB-A1EF-BC5E84D636C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4572001" y="1829516"/>
            <a:ext cx="1755419" cy="2717116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3DEB9B5-F15A-466E-8080-C371BE1672C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39642" y="1829516"/>
            <a:ext cx="2059200" cy="17002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3DFB714-75E9-40A1-A9E1-32341A0AB2F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2301374" y="1829516"/>
            <a:ext cx="2058403" cy="17002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8B0C0C30-D9D7-4BD7-AF39-B6CB516C98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730" y="318887"/>
            <a:ext cx="8478000" cy="215444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8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400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300"/>
              </a:spcBef>
              <a:tabLst>
                <a:tab pos="627047" algn="l"/>
              </a:tabLst>
              <a:defRPr sz="400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1CD7C0F2-9ED1-4D8C-94FB-BE336E7168B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0" y="1183184"/>
            <a:ext cx="8478000" cy="276999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841BA8-9107-45A1-B4A7-F5FE729D4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4787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Title with Image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aphique 7">
            <a:extLst>
              <a:ext uri="{FF2B5EF4-FFF2-40B4-BE49-F238E27FC236}">
                <a16:creationId xmlns:a16="http://schemas.microsoft.com/office/drawing/2014/main" id="{9EDD880A-DFFE-4F0B-ACE0-49E81EAC5C5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518220" y="387185"/>
            <a:ext cx="851011" cy="21909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23232CF7-6A63-4E62-9BB3-AEC2E2985622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57EF7850-35A6-4B4B-BC7E-9FC7583FB3C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>
                <a:solidFill>
                  <a:schemeClr val="accent2"/>
                </a:solidFill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2E436654-D7D3-4BBB-9470-2F10DA8514EE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/>
            </a:p>
          </p:txBody>
        </p:sp>
      </p:grp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4781135" cy="5143500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Espace réservé du graphique SmartArt 11">
            <a:extLst>
              <a:ext uri="{FF2B5EF4-FFF2-40B4-BE49-F238E27FC236}">
                <a16:creationId xmlns:a16="http://schemas.microsoft.com/office/drawing/2014/main" id="{540F3744-EAB0-48D1-B7AE-720C8628C071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892559" y="1322814"/>
            <a:ext cx="102332" cy="10160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2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6" name="Espace réservé du graphique SmartArt 11">
            <a:extLst>
              <a:ext uri="{FF2B5EF4-FFF2-40B4-BE49-F238E27FC236}">
                <a16:creationId xmlns:a16="http://schemas.microsoft.com/office/drawing/2014/main" id="{E04644FF-725F-4770-81BC-F016774228AE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6892559" y="3877313"/>
            <a:ext cx="102332" cy="10160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2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1" name="Espace réservé du texte 5">
            <a:extLst>
              <a:ext uri="{FF2B5EF4-FFF2-40B4-BE49-F238E27FC236}">
                <a16:creationId xmlns:a16="http://schemas.microsoft.com/office/drawing/2014/main" id="{008D4AEF-2960-4B86-98AA-A0ABA6675BC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7572" y="1444725"/>
            <a:ext cx="3712306" cy="1243611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3000" b="0" i="0" kern="120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C4763866-3F61-4A13-9CE8-9A542B41F4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7572" y="2818617"/>
            <a:ext cx="3712306" cy="40346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000" b="0" i="1" kern="1200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ctr">
              <a:lnSpc>
                <a:spcPct val="100000"/>
              </a:lnSpc>
              <a:buFont typeface="Arial" panose="020B0604020202020204" pitchFamily="34" charset="0"/>
              <a:buNone/>
              <a:defRPr sz="2000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A2D6EFB-94B5-487C-A9CF-03E9B187D6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87572" y="3240373"/>
            <a:ext cx="3712306" cy="577995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400" b="0" i="0" kern="1200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200" b="0" i="0" kern="1200" noProof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9C58B1B-1E16-5F63-4F59-1DBF594DA168}"/>
              </a:ext>
            </a:extLst>
          </p:cNvPr>
          <p:cNvSpPr txBox="1"/>
          <p:nvPr userDrawn="1"/>
        </p:nvSpPr>
        <p:spPr>
          <a:xfrm rot="16200000">
            <a:off x="8348590" y="4348090"/>
            <a:ext cx="1406154" cy="184666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de-DE" sz="600" b="0" i="0" dirty="0">
                <a:solidFill>
                  <a:schemeClr val="bg1"/>
                </a:solidFill>
                <a:effectLst/>
              </a:rPr>
              <a:t>MAT-DE-2600042-1.0-01/2026</a:t>
            </a:r>
          </a:p>
        </p:txBody>
      </p:sp>
    </p:spTree>
    <p:extLst>
      <p:ext uri="{BB962C8B-B14F-4D97-AF65-F5344CB8AC3E}">
        <p14:creationId xmlns:p14="http://schemas.microsoft.com/office/powerpoint/2010/main" val="1837068902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4" y="224086"/>
            <a:ext cx="1224927" cy="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0528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40A4075-8388-4D55-A178-9B9B0A11486C}"/>
              </a:ext>
            </a:extLst>
          </p:cNvPr>
          <p:cNvSpPr/>
          <p:nvPr userDrawn="1"/>
        </p:nvSpPr>
        <p:spPr>
          <a:xfrm>
            <a:off x="0" y="0"/>
            <a:ext cx="27972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1492C5C-F468-4CB0-80F1-9B4B46F16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1" y="288000"/>
            <a:ext cx="211805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6C9A8073-A40D-4AF6-AA04-2FF422EE4C1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333730" y="1071319"/>
            <a:ext cx="2116800" cy="43088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ct val="0"/>
              </a:spcAft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CCFCBD4-C7D2-4B77-80E4-175D189F6AE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331526" y="1340692"/>
            <a:ext cx="2120260" cy="3338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 marL="226794" indent="-226794">
              <a:buFontTx/>
              <a:buBlip>
                <a:blip r:embed="rId2"/>
              </a:buBlip>
              <a:defRPr>
                <a:solidFill>
                  <a:schemeClr val="tx2"/>
                </a:solidFill>
              </a:defRPr>
            </a:lvl2pPr>
            <a:lvl3pPr marL="457189" indent="-226794">
              <a:buFontTx/>
              <a:buBlip>
                <a:blip r:embed="rId2"/>
              </a:buBlip>
              <a:defRPr>
                <a:solidFill>
                  <a:schemeClr val="tx2"/>
                </a:solidFill>
              </a:defRPr>
            </a:lvl3pPr>
            <a:lvl4pPr marL="683983" indent="-226794">
              <a:buFontTx/>
              <a:buBlip>
                <a:blip r:embed="rId2"/>
              </a:buBlip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1043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aphique 7">
            <a:extLst>
              <a:ext uri="{FF2B5EF4-FFF2-40B4-BE49-F238E27FC236}">
                <a16:creationId xmlns:a16="http://schemas.microsoft.com/office/drawing/2014/main" id="{27488BCF-9F91-440E-B9B4-3B8628FE5A1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146496" y="333343"/>
            <a:ext cx="851011" cy="21909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EB91D5A6-4846-4A0D-AEA5-4C76E28CB395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1800" noProof="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03CE94E-53F9-481B-BF77-A348529571D3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1800" noProof="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ADD6FFB-F84E-4F7B-930C-208E58062DD7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1800" noProof="0"/>
            </a:p>
          </p:txBody>
        </p:sp>
      </p:grp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055EFF8E-40A6-42AA-8E6F-31C4F50AAD2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XX . XX . XXXX</a:t>
            </a:r>
          </a:p>
        </p:txBody>
      </p:sp>
      <p:sp>
        <p:nvSpPr>
          <p:cNvPr id="17" name="Espace réservé du graphique SmartArt 18">
            <a:extLst>
              <a:ext uri="{FF2B5EF4-FFF2-40B4-BE49-F238E27FC236}">
                <a16:creationId xmlns:a16="http://schemas.microsoft.com/office/drawing/2014/main" id="{50E609C3-EA6F-468A-8B7C-CD27949FB33C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4514348" y="3749929"/>
            <a:ext cx="115305" cy="11448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8" name="Espace réservé du graphique SmartArt 19">
            <a:extLst>
              <a:ext uri="{FF2B5EF4-FFF2-40B4-BE49-F238E27FC236}">
                <a16:creationId xmlns:a16="http://schemas.microsoft.com/office/drawing/2014/main" id="{F155B637-1E1E-462B-9FBB-56FD4231172C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4514348" y="1161012"/>
            <a:ext cx="115305" cy="11448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287A90CB-3485-4D3D-9E87-2D7382BBBC1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10584" y="1444726"/>
            <a:ext cx="6922834" cy="1243611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4200" b="0" i="0" kern="120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54CCF570-9115-4289-839C-7FACBC619C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10584" y="2818618"/>
            <a:ext cx="6922834" cy="403469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000" b="0" i="1" kern="1200" dirty="0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43" indent="0" algn="ctr">
              <a:lnSpc>
                <a:spcPct val="100000"/>
              </a:lnSpc>
              <a:buFont typeface="Arial" panose="020B0604020202020204" pitchFamily="34" charset="0"/>
              <a:buNone/>
              <a:defRPr sz="4200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5">
            <a:extLst>
              <a:ext uri="{FF2B5EF4-FFF2-40B4-BE49-F238E27FC236}">
                <a16:creationId xmlns:a16="http://schemas.microsoft.com/office/drawing/2014/main" id="{889FD9C7-FB39-4714-81F8-6EA37E5B621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10584" y="3384937"/>
            <a:ext cx="6922834" cy="231290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200" b="0" i="0" kern="1200" dirty="0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2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469C118-F0EA-BF1F-9EDE-5C0248F4C1E9}"/>
              </a:ext>
            </a:extLst>
          </p:cNvPr>
          <p:cNvSpPr txBox="1"/>
          <p:nvPr userDrawn="1"/>
        </p:nvSpPr>
        <p:spPr>
          <a:xfrm rot="16200000">
            <a:off x="8348590" y="4348090"/>
            <a:ext cx="1406154" cy="184666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de-DE" sz="600" b="0" i="0" dirty="0">
                <a:solidFill>
                  <a:schemeClr val="bg1"/>
                </a:solidFill>
                <a:effectLst/>
              </a:rPr>
              <a:t>MAT-DE-2600042-1.0-01/2026</a:t>
            </a:r>
          </a:p>
        </p:txBody>
      </p:sp>
    </p:spTree>
    <p:extLst>
      <p:ext uri="{BB962C8B-B14F-4D97-AF65-F5344CB8AC3E}">
        <p14:creationId xmlns:p14="http://schemas.microsoft.com/office/powerpoint/2010/main" val="3164638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 Takeaway Only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7577A6-F24A-4B6D-B7E1-FB31180BD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-590501"/>
            <a:ext cx="8485200" cy="491328"/>
          </a:xfrm>
        </p:spPr>
        <p:txBody>
          <a:bodyPr vert="horz" lIns="45720" tIns="45720" rIns="45720" bIns="45720" rtlCol="0" anchor="ctr">
            <a:noAutofit/>
          </a:bodyPr>
          <a:lstStyle>
            <a:lvl1pPr>
              <a:defRPr lang="en-US" dirty="0"/>
            </a:lvl1pPr>
          </a:lstStyle>
          <a:p>
            <a:pPr lvl="0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E759B6-58CB-0294-D23A-649635C825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4800" y="182880"/>
            <a:ext cx="8476488" cy="463296"/>
          </a:xfrm>
        </p:spPr>
        <p:txBody>
          <a:bodyPr vert="horz" wrap="square" lIns="45720" tIns="45720" rIns="4572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defTabSz="914378">
              <a:spcBef>
                <a:spcPct val="20000"/>
              </a:spcBef>
              <a:buFontTx/>
            </a:pPr>
            <a:r>
              <a:rPr lang="en-US"/>
              <a:t>Click to edit Master text styles</a:t>
            </a:r>
          </a:p>
          <a:p>
            <a:pPr marL="119060" lvl="1" indent="-6350" defTabSz="914378">
              <a:buNone/>
            </a:pPr>
            <a:r>
              <a:rPr lang="en-US"/>
              <a:t>Second level</a:t>
            </a:r>
          </a:p>
          <a:p>
            <a:pPr marL="403215" lvl="2" indent="-165096" defTabSz="914378">
              <a:buClrTx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8958" lvl="3" indent="-173034" defTabSz="914378"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marL="1085823" lvl="4" indent="-227007" defTabSz="914378">
              <a:buChar char="•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1560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828800" y="1428750"/>
            <a:ext cx="5943600" cy="2914650"/>
          </a:xfrm>
        </p:spPr>
        <p:txBody>
          <a:bodyPr>
            <a:noAutofit/>
          </a:bodyPr>
          <a:lstStyle>
            <a:lvl1pPr>
              <a:defRPr sz="1500"/>
            </a:lvl1pPr>
            <a:lvl2pPr>
              <a:defRPr sz="1500"/>
            </a:lvl2pPr>
            <a:lvl3pPr marL="457189" indent="-226794">
              <a:lnSpc>
                <a:spcPct val="100000"/>
              </a:lnSpc>
              <a:spcBef>
                <a:spcPts val="3000"/>
              </a:spcBef>
              <a:buClrTx/>
              <a:buFont typeface="Arial" panose="020B0604020202020204" pitchFamily="34" charset="0"/>
              <a:buChar char="•"/>
              <a:defRPr sz="1800">
                <a:solidFill>
                  <a:srgbClr val="4E565B"/>
                </a:solidFill>
                <a:latin typeface="+mn-lt"/>
              </a:defRPr>
            </a:lvl3pPr>
            <a:lvl4pPr marL="796905" indent="-227007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‒"/>
              <a:defRPr sz="1600">
                <a:solidFill>
                  <a:srgbClr val="4E565B"/>
                </a:solidFill>
                <a:latin typeface="+mn-lt"/>
              </a:defRPr>
            </a:lvl4pPr>
            <a:lvl5pPr marL="1082648" indent="-16827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b="0">
                <a:solidFill>
                  <a:srgbClr val="4E565B"/>
                </a:solidFill>
                <a:latin typeface="+mn-lt"/>
              </a:defRPr>
            </a:lvl5pPr>
          </a:lstStyle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4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AC33AE8-9AD8-8C03-DAB6-69D85610B7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-636221"/>
            <a:ext cx="8485200" cy="491328"/>
          </a:xfrm>
        </p:spPr>
        <p:txBody>
          <a:bodyPr vert="horz" lIns="45720" tIns="45720" rIns="45720" bIns="45720" rtlCol="0" anchor="ctr">
            <a:noAutofit/>
          </a:bodyPr>
          <a:lstStyle>
            <a:lvl1pPr>
              <a:defRPr lang="en-US" dirty="0"/>
            </a:lvl1pPr>
          </a:lstStyle>
          <a:p>
            <a:pPr lvl="0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644DB74-4E01-87E7-D102-E748B416C0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82881"/>
            <a:ext cx="8476488" cy="396240"/>
          </a:xfrm>
        </p:spPr>
        <p:txBody>
          <a:bodyPr vert="horz" wrap="square" lIns="45720" tIns="45720" rIns="4572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defTabSz="914378">
              <a:spcBef>
                <a:spcPct val="20000"/>
              </a:spcBef>
              <a:buFontTx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652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r"/>
      </p:transition>
    </mc:Choice>
    <mc:Fallback xmlns="">
      <p:transition>
        <p:wipe dir="r"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2300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2238027"/>
            <a:ext cx="6858000" cy="667446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hank you</a:t>
            </a:r>
          </a:p>
        </p:txBody>
      </p:sp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4508584" y="3260202"/>
            <a:ext cx="126835" cy="125936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4508584" y="1771699"/>
            <a:ext cx="126835" cy="125936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8" name="Forme libre : forme 9">
            <a:extLst>
              <a:ext uri="{FF2B5EF4-FFF2-40B4-BE49-F238E27FC236}">
                <a16:creationId xmlns:a16="http://schemas.microsoft.com/office/drawing/2014/main" id="{9BDDF620-0779-479D-AEB4-C14EF8564C01}"/>
              </a:ext>
            </a:extLst>
          </p:cNvPr>
          <p:cNvSpPr>
            <a:spLocks noChangeAspect="1"/>
          </p:cNvSpPr>
          <p:nvPr userDrawn="1"/>
        </p:nvSpPr>
        <p:spPr>
          <a:xfrm>
            <a:off x="4169622" y="4511009"/>
            <a:ext cx="804756" cy="2052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bg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1800" noProof="0"/>
          </a:p>
        </p:txBody>
      </p:sp>
      <p:grpSp>
        <p:nvGrpSpPr>
          <p:cNvPr id="21" name="Graphique 7">
            <a:extLst>
              <a:ext uri="{FF2B5EF4-FFF2-40B4-BE49-F238E27FC236}">
                <a16:creationId xmlns:a16="http://schemas.microsoft.com/office/drawing/2014/main" id="{CCF15C7E-6A99-4286-A9D8-5CFB7F6C2F2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170048" y="4510418"/>
            <a:ext cx="803890" cy="206313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2" name="Forme libre : forme 9">
              <a:extLst>
                <a:ext uri="{FF2B5EF4-FFF2-40B4-BE49-F238E27FC236}">
                  <a16:creationId xmlns:a16="http://schemas.microsoft.com/office/drawing/2014/main" id="{6694094C-70CE-4AC8-A396-70F4CAC44E42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3" name="Forme libre : forme 10">
              <a:extLst>
                <a:ext uri="{FF2B5EF4-FFF2-40B4-BE49-F238E27FC236}">
                  <a16:creationId xmlns:a16="http://schemas.microsoft.com/office/drawing/2014/main" id="{F0CC9C0D-B090-476A-A414-384A1818254E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>
                <a:solidFill>
                  <a:schemeClr val="accent2"/>
                </a:solidFill>
              </a:endParaRPr>
            </a:p>
          </p:txBody>
        </p:sp>
        <p:sp>
          <p:nvSpPr>
            <p:cNvPr id="24" name="Forme libre : forme 11">
              <a:extLst>
                <a:ext uri="{FF2B5EF4-FFF2-40B4-BE49-F238E27FC236}">
                  <a16:creationId xmlns:a16="http://schemas.microsoft.com/office/drawing/2014/main" id="{6DE4ADDB-0CA9-4651-BF0C-18EF0C881B3A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/>
            </a:p>
          </p:txBody>
        </p:sp>
      </p:grpSp>
      <p:sp>
        <p:nvSpPr>
          <p:cNvPr id="4" name="Textfeld 3">
            <a:extLst>
              <a:ext uri="{FF2B5EF4-FFF2-40B4-BE49-F238E27FC236}">
                <a16:creationId xmlns:a16="http://schemas.microsoft.com/office/drawing/2014/main" id="{CD9790BE-4149-2F36-2500-9CCADF085481}"/>
              </a:ext>
            </a:extLst>
          </p:cNvPr>
          <p:cNvSpPr txBox="1"/>
          <p:nvPr userDrawn="1"/>
        </p:nvSpPr>
        <p:spPr>
          <a:xfrm rot="16200000">
            <a:off x="8348590" y="4348090"/>
            <a:ext cx="1406154" cy="184666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de-DE" sz="600" b="0" i="0" dirty="0">
                <a:solidFill>
                  <a:schemeClr val="bg1"/>
                </a:solidFill>
                <a:effectLst/>
              </a:rPr>
              <a:t>MAT-DE-2600042-1.0-01/2026</a:t>
            </a:r>
          </a:p>
        </p:txBody>
      </p:sp>
    </p:spTree>
    <p:extLst>
      <p:ext uri="{BB962C8B-B14F-4D97-AF65-F5344CB8AC3E}">
        <p14:creationId xmlns:p14="http://schemas.microsoft.com/office/powerpoint/2010/main" val="172504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3-Face Across New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45720" tIns="45720" rIns="45720" bIns="45720" rtlCol="0" anchor="ctr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378335" y="914400"/>
            <a:ext cx="850392" cy="1271588"/>
          </a:xfrm>
          <a:solidFill>
            <a:schemeClr val="bg1"/>
          </a:solidFill>
          <a:ln>
            <a:solidFill>
              <a:srgbClr val="4E565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33400" y="2228850"/>
            <a:ext cx="2514600" cy="1028700"/>
          </a:xfrm>
        </p:spPr>
        <p:txBody>
          <a:bodyPr vert="horz" wrap="square" lIns="45720" tIns="45720" rIns="45720" bIns="45720" rtlCol="0">
            <a:noAutofit/>
          </a:bodyPr>
          <a:lstStyle>
            <a:lvl1pPr>
              <a:spcBef>
                <a:spcPts val="300"/>
              </a:spcBef>
              <a:defRPr lang="en-US" sz="1050" dirty="0" smtClean="0"/>
            </a:lvl1pPr>
            <a:lvl2pPr>
              <a:spcBef>
                <a:spcPts val="300"/>
              </a:spcBef>
              <a:defRPr lang="en-US" sz="1000" dirty="0" smtClean="0"/>
            </a:lvl2pPr>
            <a:lvl3pPr>
              <a:spcBef>
                <a:spcPts val="300"/>
              </a:spcBef>
              <a:defRPr lang="en-US" sz="1000" dirty="0" smtClean="0"/>
            </a:lvl3pPr>
            <a:lvl4pPr>
              <a:spcBef>
                <a:spcPts val="300"/>
              </a:spcBef>
              <a:defRPr lang="en-US" sz="900" dirty="0" smtClean="0"/>
            </a:lvl4pPr>
            <a:lvl5pPr>
              <a:spcBef>
                <a:spcPts val="300"/>
              </a:spcBef>
              <a:defRPr lang="en-US" sz="900" dirty="0"/>
            </a:lvl5pPr>
          </a:lstStyle>
          <a:p>
            <a:pPr lvl="0" defTabSz="914378">
              <a:spcBef>
                <a:spcPct val="20000"/>
              </a:spcBef>
              <a:buFontTx/>
            </a:pPr>
            <a:r>
              <a:rPr lang="en-US"/>
              <a:t>Click to edit Master text styles</a:t>
            </a:r>
          </a:p>
          <a:p>
            <a:pPr marL="119060" lvl="1" indent="-6350" defTabSz="914378">
              <a:buNone/>
            </a:pPr>
            <a:r>
              <a:rPr lang="en-US"/>
              <a:t>Second level</a:t>
            </a:r>
          </a:p>
          <a:p>
            <a:pPr marL="403215" lvl="2" indent="-165096" defTabSz="914378">
              <a:buClrTx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8958" lvl="3" indent="-173034" defTabSz="914378"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marL="1085823" lvl="4" indent="-227007" defTabSz="914378"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4156994" y="914400"/>
            <a:ext cx="850392" cy="1271588"/>
          </a:xfrm>
          <a:solidFill>
            <a:schemeClr val="bg1"/>
          </a:solidFill>
          <a:ln>
            <a:solidFill>
              <a:srgbClr val="4E565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Autofit/>
          </a:bodyPr>
          <a:lstStyle>
            <a:lvl1pPr>
              <a:defRPr lang="en-US" sz="12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969605" y="914400"/>
            <a:ext cx="850392" cy="1271588"/>
          </a:xfrm>
          <a:solidFill>
            <a:schemeClr val="bg1"/>
          </a:solidFill>
          <a:ln>
            <a:solidFill>
              <a:srgbClr val="4E565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Autofit/>
          </a:bodyPr>
          <a:lstStyle>
            <a:lvl1pPr>
              <a:defRPr lang="en-US" sz="12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3352800" y="2228850"/>
            <a:ext cx="2514600" cy="1028700"/>
          </a:xfrm>
        </p:spPr>
        <p:txBody>
          <a:bodyPr vert="horz" wrap="square" lIns="45720" tIns="45720" rIns="45720" bIns="45720" rtlCol="0">
            <a:noAutofit/>
          </a:bodyPr>
          <a:lstStyle>
            <a:lvl1pPr>
              <a:spcBef>
                <a:spcPts val="300"/>
              </a:spcBef>
              <a:defRPr lang="en-US" sz="1050" smtClean="0"/>
            </a:lvl1pPr>
            <a:lvl2pPr>
              <a:spcBef>
                <a:spcPts val="300"/>
              </a:spcBef>
              <a:defRPr lang="en-US" sz="1000" smtClean="0"/>
            </a:lvl2pPr>
            <a:lvl3pPr>
              <a:spcBef>
                <a:spcPts val="300"/>
              </a:spcBef>
              <a:defRPr lang="en-US" sz="1000" smtClean="0"/>
            </a:lvl3pPr>
            <a:lvl4pPr>
              <a:spcBef>
                <a:spcPts val="300"/>
              </a:spcBef>
              <a:defRPr lang="en-US" sz="900" smtClean="0"/>
            </a:lvl4pPr>
            <a:lvl5pPr>
              <a:spcBef>
                <a:spcPts val="300"/>
              </a:spcBef>
              <a:defRPr lang="en-US" sz="900"/>
            </a:lvl5pPr>
          </a:lstStyle>
          <a:p>
            <a:pPr lvl="0" defTabSz="914378">
              <a:spcBef>
                <a:spcPct val="20000"/>
              </a:spcBef>
              <a:buFontTx/>
            </a:pPr>
            <a:r>
              <a:rPr lang="en-US"/>
              <a:t>Click to edit Master text styles</a:t>
            </a:r>
          </a:p>
          <a:p>
            <a:pPr marL="119060" lvl="1" indent="-6350" defTabSz="914378">
              <a:buNone/>
            </a:pPr>
            <a:r>
              <a:rPr lang="en-US"/>
              <a:t>Second level</a:t>
            </a:r>
          </a:p>
          <a:p>
            <a:pPr marL="403215" lvl="2" indent="-165096" defTabSz="914378">
              <a:buClrTx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8958" lvl="3" indent="-173034" defTabSz="914378"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marL="1085823" lvl="4" indent="-227007" defTabSz="914378"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6172200" y="2228850"/>
            <a:ext cx="2514600" cy="1028700"/>
          </a:xfrm>
        </p:spPr>
        <p:txBody>
          <a:bodyPr vert="horz" wrap="square" lIns="45720" tIns="45720" rIns="45720" bIns="45720" rtlCol="0">
            <a:noAutofit/>
          </a:bodyPr>
          <a:lstStyle>
            <a:lvl1pPr>
              <a:spcBef>
                <a:spcPts val="300"/>
              </a:spcBef>
              <a:defRPr lang="en-US" sz="1050" dirty="0" smtClean="0"/>
            </a:lvl1pPr>
            <a:lvl2pPr>
              <a:spcBef>
                <a:spcPts val="300"/>
              </a:spcBef>
              <a:defRPr lang="en-US" sz="1000" dirty="0" smtClean="0"/>
            </a:lvl2pPr>
            <a:lvl3pPr>
              <a:spcBef>
                <a:spcPts val="300"/>
              </a:spcBef>
              <a:defRPr lang="en-US" sz="1000" dirty="0" smtClean="0"/>
            </a:lvl3pPr>
            <a:lvl4pPr>
              <a:spcBef>
                <a:spcPts val="300"/>
              </a:spcBef>
              <a:defRPr lang="en-US" sz="900" dirty="0" smtClean="0"/>
            </a:lvl4pPr>
            <a:lvl5pPr>
              <a:spcBef>
                <a:spcPts val="300"/>
              </a:spcBef>
              <a:defRPr lang="en-US" sz="900" dirty="0"/>
            </a:lvl5pPr>
          </a:lstStyle>
          <a:p>
            <a:pPr lvl="0" defTabSz="914378">
              <a:spcBef>
                <a:spcPct val="20000"/>
              </a:spcBef>
              <a:buFontTx/>
            </a:pPr>
            <a:r>
              <a:rPr lang="en-US"/>
              <a:t>Click to edit Master text styles</a:t>
            </a:r>
          </a:p>
          <a:p>
            <a:pPr marL="119060" lvl="1" indent="-6350" defTabSz="914378">
              <a:buNone/>
            </a:pPr>
            <a:r>
              <a:rPr lang="en-US"/>
              <a:t>Second level</a:t>
            </a:r>
          </a:p>
          <a:p>
            <a:pPr marL="403215" lvl="2" indent="-165096" defTabSz="914378">
              <a:buClrTx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8958" lvl="3" indent="-173034" defTabSz="914378"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marL="1085823" lvl="4" indent="-227007" defTabSz="914378"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01752" y="178309"/>
            <a:ext cx="8247888" cy="3603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6219E5A-8FF1-965C-D37F-C8C57C2239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36226" y="4820495"/>
            <a:ext cx="476250" cy="2057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6B54B0F7-55DD-40D6-B7F4-70B586885C0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48587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r"/>
      </p:transition>
    </mc:Choice>
    <mc:Fallback xmlns="">
      <p:transition>
        <p:wipe dir="r"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os 4-Face New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" y="895350"/>
            <a:ext cx="768096" cy="1145286"/>
          </a:xfrm>
          <a:solidFill>
            <a:schemeClr val="bg1"/>
          </a:solidFill>
          <a:ln>
            <a:solidFill>
              <a:srgbClr val="4E565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45720" bIns="45720" rtlCol="0">
            <a:noAutofit/>
          </a:bodyPr>
          <a:lstStyle>
            <a:lvl1pPr>
              <a:defRPr lang="en-US" sz="1200" dirty="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38912" y="178309"/>
            <a:ext cx="8247888" cy="360331"/>
          </a:xfrm>
        </p:spPr>
        <p:txBody>
          <a:bodyPr vert="horz" wrap="square" lIns="45720" tIns="45720" rIns="45720" bIns="4572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457200" y="3067050"/>
            <a:ext cx="768096" cy="1145286"/>
          </a:xfrm>
          <a:solidFill>
            <a:schemeClr val="bg1"/>
          </a:solidFill>
          <a:ln>
            <a:solidFill>
              <a:srgbClr val="4E565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45720" bIns="45720" rtlCol="0">
            <a:noAutofit/>
          </a:bodyPr>
          <a:lstStyle>
            <a:lvl1pPr>
              <a:defRPr lang="en-US" sz="1200" dirty="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974566" y="895350"/>
            <a:ext cx="768096" cy="1145286"/>
          </a:xfrm>
          <a:solidFill>
            <a:schemeClr val="bg1"/>
          </a:solidFill>
          <a:ln>
            <a:solidFill>
              <a:srgbClr val="4E565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45720" bIns="45720" rtlCol="0">
            <a:noAutofit/>
          </a:bodyPr>
          <a:lstStyle>
            <a:lvl1pPr>
              <a:defRPr lang="en-US" sz="12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1169493" y="3067050"/>
            <a:ext cx="3276600" cy="1145286"/>
          </a:xfrm>
        </p:spPr>
        <p:txBody>
          <a:bodyPr vert="horz" wrap="square" lIns="45720" tIns="45720" rIns="45720" bIns="45720" rtlCol="0">
            <a:noAutofit/>
          </a:bodyPr>
          <a:lstStyle>
            <a:lvl1pPr>
              <a:defRPr lang="en-US" sz="1050" smtClean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900" smtClean="0"/>
            </a:lvl4pPr>
            <a:lvl5pPr>
              <a:defRPr lang="en-US" sz="900"/>
            </a:lvl5pPr>
          </a:lstStyle>
          <a:p>
            <a:pPr lvl="0" defTabSz="914378">
              <a:spcBef>
                <a:spcPct val="20000"/>
              </a:spcBef>
              <a:buFontTx/>
            </a:pPr>
            <a:r>
              <a:rPr lang="en-US"/>
              <a:t>Click to edit Master text styles</a:t>
            </a:r>
          </a:p>
          <a:p>
            <a:pPr marL="119060" lvl="1" indent="-6350" defTabSz="914378">
              <a:spcBef>
                <a:spcPts val="300"/>
              </a:spcBef>
              <a:buNone/>
            </a:pPr>
            <a:r>
              <a:rPr lang="en-US"/>
              <a:t>Second level</a:t>
            </a:r>
          </a:p>
          <a:p>
            <a:pPr marL="403215" lvl="2" indent="-165096" defTabSz="914378">
              <a:spcBef>
                <a:spcPts val="300"/>
              </a:spcBef>
              <a:buClrTx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8958" lvl="3" indent="-173034" defTabSz="914378">
              <a:spcBef>
                <a:spcPts val="300"/>
              </a:spcBef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marL="1085823" lvl="4" indent="-227007" defTabSz="914378">
              <a:spcBef>
                <a:spcPts val="300"/>
              </a:spcBef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686859" y="895350"/>
            <a:ext cx="3182107" cy="1145286"/>
          </a:xfrm>
        </p:spPr>
        <p:txBody>
          <a:bodyPr vert="horz" wrap="square" lIns="45720" tIns="45720" rIns="45720" bIns="45720" rtlCol="0">
            <a:noAutofit/>
          </a:bodyPr>
          <a:lstStyle>
            <a:lvl1pPr>
              <a:defRPr lang="en-US" sz="1050" smtClean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900" smtClean="0"/>
            </a:lvl4pPr>
            <a:lvl5pPr>
              <a:defRPr lang="en-US" sz="900"/>
            </a:lvl5pPr>
          </a:lstStyle>
          <a:p>
            <a:pPr lvl="0" defTabSz="914378">
              <a:spcBef>
                <a:spcPct val="20000"/>
              </a:spcBef>
              <a:buFontTx/>
            </a:pPr>
            <a:r>
              <a:rPr lang="en-US"/>
              <a:t>Click to edit Master text styles</a:t>
            </a:r>
          </a:p>
          <a:p>
            <a:pPr marL="119060" lvl="1" indent="-6350" defTabSz="914378">
              <a:spcBef>
                <a:spcPts val="300"/>
              </a:spcBef>
              <a:buNone/>
            </a:pPr>
            <a:r>
              <a:rPr lang="en-US"/>
              <a:t>Second level</a:t>
            </a:r>
          </a:p>
          <a:p>
            <a:pPr marL="403215" lvl="2" indent="-165096" defTabSz="914378">
              <a:spcBef>
                <a:spcPts val="300"/>
              </a:spcBef>
              <a:buClrTx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8958" lvl="3" indent="-173034" defTabSz="914378">
              <a:spcBef>
                <a:spcPts val="300"/>
              </a:spcBef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marL="1085823" lvl="4" indent="-227007" defTabSz="914378">
              <a:spcBef>
                <a:spcPts val="300"/>
              </a:spcBef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4974566" y="3067050"/>
            <a:ext cx="768096" cy="1145286"/>
          </a:xfrm>
          <a:solidFill>
            <a:schemeClr val="bg1"/>
          </a:solidFill>
          <a:ln>
            <a:solidFill>
              <a:srgbClr val="4E565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45720" bIns="45720" rtlCol="0">
            <a:noAutofit/>
          </a:bodyPr>
          <a:lstStyle>
            <a:lvl1pPr>
              <a:defRPr lang="en-US" sz="1200" dirty="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5686859" y="3067050"/>
            <a:ext cx="3178835" cy="1145286"/>
          </a:xfrm>
        </p:spPr>
        <p:txBody>
          <a:bodyPr vert="horz" wrap="square" lIns="45720" tIns="45720" rIns="45720" bIns="45720" rtlCol="0">
            <a:noAutofit/>
          </a:bodyPr>
          <a:lstStyle>
            <a:lvl1pPr>
              <a:defRPr lang="en-US" sz="1050" smtClean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900" smtClean="0"/>
            </a:lvl4pPr>
            <a:lvl5pPr>
              <a:defRPr lang="en-US" sz="900"/>
            </a:lvl5pPr>
          </a:lstStyle>
          <a:p>
            <a:pPr lvl="0" defTabSz="914378">
              <a:spcBef>
                <a:spcPct val="20000"/>
              </a:spcBef>
              <a:buFontTx/>
            </a:pPr>
            <a:r>
              <a:rPr lang="en-US"/>
              <a:t>Click to edit Master text styles</a:t>
            </a:r>
          </a:p>
          <a:p>
            <a:pPr marL="119060" lvl="1" indent="-6350" defTabSz="914378">
              <a:spcBef>
                <a:spcPts val="300"/>
              </a:spcBef>
              <a:buNone/>
            </a:pPr>
            <a:r>
              <a:rPr lang="en-US"/>
              <a:t>Second level</a:t>
            </a:r>
          </a:p>
          <a:p>
            <a:pPr marL="403215" lvl="2" indent="-165096" defTabSz="914378">
              <a:spcBef>
                <a:spcPts val="300"/>
              </a:spcBef>
              <a:buClrTx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8958" lvl="3" indent="-173034" defTabSz="914378">
              <a:spcBef>
                <a:spcPts val="300"/>
              </a:spcBef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marL="1085823" lvl="4" indent="-227007" defTabSz="914378">
              <a:spcBef>
                <a:spcPts val="300"/>
              </a:spcBef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1166445" y="895350"/>
            <a:ext cx="3264408" cy="1145286"/>
          </a:xfrm>
        </p:spPr>
        <p:txBody>
          <a:bodyPr vert="horz" wrap="square" lIns="45720" tIns="45720" rIns="45720" bIns="45720" rtlCol="0">
            <a:noAutofit/>
          </a:bodyPr>
          <a:lstStyle>
            <a:lvl1pPr>
              <a:defRPr lang="en-US" sz="1050" dirty="0" smtClean="0"/>
            </a:lvl1pPr>
            <a:lvl2pPr>
              <a:defRPr lang="en-US" sz="1000" dirty="0" smtClean="0"/>
            </a:lvl2pPr>
            <a:lvl3pPr>
              <a:defRPr lang="en-US" sz="1000" dirty="0" smtClean="0"/>
            </a:lvl3pPr>
            <a:lvl4pPr>
              <a:defRPr lang="en-US" sz="900" dirty="0" smtClean="0"/>
            </a:lvl4pPr>
            <a:lvl5pPr>
              <a:defRPr lang="en-US" sz="900" dirty="0"/>
            </a:lvl5pPr>
          </a:lstStyle>
          <a:p>
            <a:pPr lvl="0" defTabSz="914378">
              <a:spcBef>
                <a:spcPct val="20000"/>
              </a:spcBef>
              <a:buFontTx/>
            </a:pPr>
            <a:r>
              <a:rPr lang="en-US"/>
              <a:t>Click to edit Master text styles</a:t>
            </a:r>
          </a:p>
          <a:p>
            <a:pPr marL="119060" lvl="1" indent="-6350" defTabSz="914378">
              <a:spcBef>
                <a:spcPts val="300"/>
              </a:spcBef>
              <a:buNone/>
            </a:pPr>
            <a:r>
              <a:rPr lang="en-US"/>
              <a:t>Second level</a:t>
            </a:r>
          </a:p>
          <a:p>
            <a:pPr marL="403215" lvl="2" indent="-165096" defTabSz="914378">
              <a:spcBef>
                <a:spcPts val="300"/>
              </a:spcBef>
              <a:buClrTx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8958" lvl="3" indent="-173034" defTabSz="914378">
              <a:spcBef>
                <a:spcPts val="300"/>
              </a:spcBef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marL="1085823" lvl="4" indent="-227007" defTabSz="914378">
              <a:spcBef>
                <a:spcPts val="300"/>
              </a:spcBef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1A79AF4-24E0-7309-3655-68CF0A3F8F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36226" y="4820495"/>
            <a:ext cx="476250" cy="2057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6B54B0F7-55DD-40D6-B7F4-70B586885C0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25017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r"/>
      </p:transition>
    </mc:Choice>
    <mc:Fallback xmlns="">
      <p:transition>
        <p:wipe dir="r"/>
      </p:transition>
    </mc:Fallback>
  </mc:AlternateContent>
  <p:extLst>
    <p:ext uri="{DCECCB84-F9BA-43D5-87BE-67443E8EF086}">
      <p15:sldGuideLst xmlns:p15="http://schemas.microsoft.com/office/powerpoint/2012/main">
        <p15:guide id="1" orient="horz" pos="56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A Takeaway Only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E214CB94-27AF-41B7-A363-829DCFEBE7A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0" y="536234"/>
            <a:ext cx="8478000" cy="3077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4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7577A6-F24A-4B6D-B7E1-FB31180BD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-19050"/>
            <a:ext cx="8485200" cy="491328"/>
          </a:xfrm>
        </p:spPr>
        <p:txBody>
          <a:bodyPr anchor="b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7373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 Takeaway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E56171-4788-4B4A-B8DB-98CB348C66F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1525" y="1455726"/>
            <a:ext cx="8478000" cy="3223541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/>
            </a:lvl1pPr>
            <a:lvl2pPr marL="226794" indent="-226794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/>
            </a:lvl2pPr>
            <a:lvl3pPr marL="457189" indent="-226794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‒"/>
              <a:defRPr sz="1400"/>
            </a:lvl3pPr>
            <a:lvl4pPr marL="683983" indent="-226794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/>
            </a:lvl4pPr>
            <a:lvl5pPr>
              <a:lnSpc>
                <a:spcPct val="100000"/>
              </a:lnSpc>
              <a:spcBef>
                <a:spcPts val="6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E214CB94-27AF-41B7-A363-829DCFEBE7A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0" y="536234"/>
            <a:ext cx="8478000" cy="3077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4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7577A6-F24A-4B6D-B7E1-FB31180BD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-19050"/>
            <a:ext cx="8485200" cy="491328"/>
          </a:xfrm>
        </p:spPr>
        <p:txBody>
          <a:bodyPr anchor="b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299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AE97568-9BC7-C3C3-F388-A7CF15088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4578515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0" imgW="360" imgH="360" progId="TCLayout.ActiveDocument.1">
                  <p:embed/>
                </p:oleObj>
              </mc:Choice>
              <mc:Fallback>
                <p:oleObj name="Diapositive think-cell" r:id="rId20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AE97568-9BC7-C3C3-F388-A7CF15088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1200" y="-648300"/>
            <a:ext cx="8485200" cy="561185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/>
          <a:p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200" y="185460"/>
            <a:ext cx="8478000" cy="413508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/>
          <a:p>
            <a:pPr lvl="0" defTabSz="914378">
              <a:spcBef>
                <a:spcPct val="20000"/>
              </a:spcBef>
              <a:buFontTx/>
            </a:pPr>
            <a:r>
              <a:rPr lang="en-US" noProof="0"/>
              <a:t>First Level</a:t>
            </a:r>
          </a:p>
          <a:p>
            <a:pPr marL="119060" lvl="1" indent="-6350" defTabSz="914378">
              <a:spcBef>
                <a:spcPts val="600"/>
              </a:spcBef>
              <a:buNone/>
            </a:pPr>
            <a:r>
              <a:rPr lang="en-US" noProof="0"/>
              <a:t>Second Level</a:t>
            </a:r>
          </a:p>
          <a:p>
            <a:pPr marL="403215" lvl="2" indent="-165096" defTabSz="914378">
              <a:spcBef>
                <a:spcPts val="600"/>
              </a:spcBef>
              <a:buClrTx/>
              <a:buFont typeface="Arial" panose="020B0604020202020204" pitchFamily="34" charset="0"/>
              <a:buChar char="•"/>
            </a:pPr>
            <a:r>
              <a:rPr lang="en-US" noProof="0"/>
              <a:t>Third Level</a:t>
            </a:r>
          </a:p>
          <a:p>
            <a:pPr marL="688958" lvl="3" indent="-173034" defTabSz="914378">
              <a:spcBef>
                <a:spcPts val="600"/>
              </a:spcBef>
              <a:buFont typeface="Arial" pitchFamily="34" charset="0"/>
              <a:buChar char="–"/>
            </a:pPr>
            <a:r>
              <a:rPr lang="en-US" noProof="0"/>
              <a:t>Fourth Level</a:t>
            </a:r>
          </a:p>
          <a:p>
            <a:pPr marL="1085823" lvl="4" indent="-227007" defTabSz="914378">
              <a:spcBef>
                <a:spcPts val="600"/>
              </a:spcBef>
              <a:buChar char="•"/>
              <a:tabLst/>
            </a:pPr>
            <a:r>
              <a:rPr lang="en-US" noProof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49832" y="4859492"/>
            <a:ext cx="4844338" cy="1277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internal use</a:t>
            </a:r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B6D8E440-8C31-4584-85CD-3DE2B7815CC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3543300" y="4580080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0" i="0" spc="2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XX . XX . XXXX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8336226" y="4820495"/>
            <a:ext cx="476250" cy="2057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6B54B0F7-55DD-40D6-B7F4-70B586885C0B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CFCBCFE-010D-06E7-1909-7A2253D839A8}"/>
              </a:ext>
            </a:extLst>
          </p:cNvPr>
          <p:cNvSpPr txBox="1"/>
          <p:nvPr userDrawn="1"/>
        </p:nvSpPr>
        <p:spPr>
          <a:xfrm rot="16200000">
            <a:off x="8348592" y="4348090"/>
            <a:ext cx="1406154" cy="184666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de-DE" sz="600" b="0" i="0" dirty="0">
                <a:solidFill>
                  <a:srgbClr val="404040"/>
                </a:solidFill>
                <a:effectLst/>
              </a:rPr>
              <a:t>MAT-DE-2600042-1.0-01/2026</a:t>
            </a:r>
            <a:endParaRPr lang="de-DE" sz="600" dirty="0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636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8" r:id="rId1"/>
    <p:sldLayoutId id="2147484549" r:id="rId2"/>
    <p:sldLayoutId id="2147484550" r:id="rId3"/>
    <p:sldLayoutId id="2147484551" r:id="rId4"/>
    <p:sldLayoutId id="2147484552" r:id="rId5"/>
    <p:sldLayoutId id="2147484553" r:id="rId6"/>
    <p:sldLayoutId id="2147484554" r:id="rId7"/>
    <p:sldLayoutId id="2147484555" r:id="rId8"/>
    <p:sldLayoutId id="2147484556" r:id="rId9"/>
    <p:sldLayoutId id="2147484557" r:id="rId10"/>
    <p:sldLayoutId id="2147484559" r:id="rId11"/>
    <p:sldLayoutId id="2147484757" r:id="rId12"/>
    <p:sldLayoutId id="2147484834" r:id="rId13"/>
    <p:sldLayoutId id="2147484934" r:id="rId14"/>
    <p:sldLayoutId id="2147484935" r:id="rId15"/>
    <p:sldLayoutId id="2147484936" r:id="rId16"/>
    <p:sldLayoutId id="2147485459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lang="fr-FR" sz="1800" b="0" i="0" kern="1200" dirty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lang="en-US" sz="1800" b="0" i="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226794" indent="-226794" algn="l" defTabSz="685783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Tx/>
        <a:buBlip>
          <a:blip r:embed="rId22"/>
        </a:buBlip>
        <a:defRPr lang="en-US" sz="1600" b="1" i="0" kern="1200" noProof="0" dirty="0">
          <a:solidFill>
            <a:srgbClr val="1D3160"/>
          </a:solidFill>
          <a:latin typeface="+mn-lt"/>
          <a:ea typeface="+mn-ea"/>
          <a:cs typeface="+mn-cs"/>
        </a:defRPr>
      </a:lvl2pPr>
      <a:lvl3pPr marL="457189" indent="-226794" algn="l" defTabSz="685783" rtl="0" eaLnBrk="1" latinLnBrk="0" hangingPunct="1">
        <a:lnSpc>
          <a:spcPct val="100000"/>
        </a:lnSpc>
        <a:spcBef>
          <a:spcPts val="600"/>
        </a:spcBef>
        <a:buFontTx/>
        <a:buBlip>
          <a:blip r:embed="rId22"/>
        </a:buBlip>
        <a:defRPr lang="en-US" sz="1600" b="0" i="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683983" indent="-226794" algn="l" defTabSz="685783" rtl="0" eaLnBrk="1" latinLnBrk="0" hangingPunct="1">
        <a:lnSpc>
          <a:spcPct val="100000"/>
        </a:lnSpc>
        <a:spcBef>
          <a:spcPts val="600"/>
        </a:spcBef>
        <a:buFontTx/>
        <a:buBlip>
          <a:blip r:embed="rId22"/>
        </a:buBlip>
        <a:defRPr lang="en-US" sz="1400" b="0" i="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lang="en-US" sz="1400" b="0" i="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5544">
          <p15:clr>
            <a:srgbClr val="F26B43"/>
          </p15:clr>
        </p15:guide>
        <p15:guide id="3" pos="216">
          <p15:clr>
            <a:srgbClr val="F26B43"/>
          </p15:clr>
        </p15:guide>
        <p15:guide id="4" pos="120">
          <p15:clr>
            <a:srgbClr val="F26B43"/>
          </p15:clr>
        </p15:guide>
        <p15:guide id="5" pos="5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" Target="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12" Type="http://schemas.openxmlformats.org/officeDocument/2006/relationships/image" Target="../media/image6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7.png"/><Relationship Id="rId11" Type="http://schemas.openxmlformats.org/officeDocument/2006/relationships/image" Target="../media/image63.png"/><Relationship Id="rId5" Type="http://schemas.openxmlformats.org/officeDocument/2006/relationships/image" Target="../media/image58.png"/><Relationship Id="rId10" Type="http://schemas.openxmlformats.org/officeDocument/2006/relationships/image" Target="../media/image62.png"/><Relationship Id="rId4" Type="http://schemas.openxmlformats.org/officeDocument/2006/relationships/image" Target="../media/image25.png"/><Relationship Id="rId9" Type="http://schemas.openxmlformats.org/officeDocument/2006/relationships/image" Target="../media/image6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5.png"/><Relationship Id="rId3" Type="http://schemas.openxmlformats.org/officeDocument/2006/relationships/image" Target="../media/image55.png"/><Relationship Id="rId7" Type="http://schemas.openxmlformats.org/officeDocument/2006/relationships/image" Target="../media/image60.png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7.png"/><Relationship Id="rId10" Type="http://schemas.openxmlformats.org/officeDocument/2006/relationships/image" Target="../media/image63.png"/><Relationship Id="rId4" Type="http://schemas.openxmlformats.org/officeDocument/2006/relationships/image" Target="../media/image58.png"/><Relationship Id="rId9" Type="http://schemas.openxmlformats.org/officeDocument/2006/relationships/image" Target="../media/image6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hyperlink" Target="https://www.diabinfo.de/leben/typ-1-diabetes/grundlagen/krankheitsbild-und-symptome.html" TargetMode="External"/><Relationship Id="rId3" Type="http://schemas.openxmlformats.org/officeDocument/2006/relationships/image" Target="../media/image55.png"/><Relationship Id="rId7" Type="http://schemas.openxmlformats.org/officeDocument/2006/relationships/image" Target="../media/image60.png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7.png"/><Relationship Id="rId10" Type="http://schemas.openxmlformats.org/officeDocument/2006/relationships/image" Target="../media/image63.png"/><Relationship Id="rId4" Type="http://schemas.openxmlformats.org/officeDocument/2006/relationships/image" Target="../media/image58.png"/><Relationship Id="rId9" Type="http://schemas.openxmlformats.org/officeDocument/2006/relationships/image" Target="../media/image6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hyperlink" Target="https://www.diabinfo.de/leben/typ-1-diabetes/grundlagen/krankheitsbild-und-symptome.html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58.png"/><Relationship Id="rId4" Type="http://schemas.openxmlformats.org/officeDocument/2006/relationships/image" Target="../media/image5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diabinfo.de/leben/typ-1-diabetes/grundlagen/krankheitsbild-und-symptome.html" TargetMode="External"/><Relationship Id="rId5" Type="http://schemas.openxmlformats.org/officeDocument/2006/relationships/hyperlink" Target="https://breakthrought1d.org.au/what-is-t1d/stages/" TargetMode="External"/><Relationship Id="rId4" Type="http://schemas.openxmlformats.org/officeDocument/2006/relationships/image" Target="../media/image6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dg.info/behandlung-leitlinien/leitlinien-praxisempfehlungen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" Target="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edpertise.de/diabetes-mellitus/diabetes-typen/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ddg.info/behandlung-leitlinien/leitlinien-praxisempfehlungen" TargetMode="Externa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www.ncbi.nlm.nih.gov/books/NBK279119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" Target="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sv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0.svg"/><Relationship Id="rId18" Type="http://schemas.openxmlformats.org/officeDocument/2006/relationships/image" Target="../media/image25.png"/><Relationship Id="rId26" Type="http://schemas.openxmlformats.org/officeDocument/2006/relationships/image" Target="../media/image33.png"/><Relationship Id="rId3" Type="http://schemas.openxmlformats.org/officeDocument/2006/relationships/image" Target="../media/image10.png"/><Relationship Id="rId21" Type="http://schemas.openxmlformats.org/officeDocument/2006/relationships/image" Target="../media/image28.svg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5" Type="http://schemas.openxmlformats.org/officeDocument/2006/relationships/image" Target="../media/image32.svg"/><Relationship Id="rId33" Type="http://schemas.openxmlformats.org/officeDocument/2006/relationships/image" Target="../media/image40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29" Type="http://schemas.openxmlformats.org/officeDocument/2006/relationships/image" Target="../media/image36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24" Type="http://schemas.openxmlformats.org/officeDocument/2006/relationships/image" Target="../media/image31.png"/><Relationship Id="rId32" Type="http://schemas.openxmlformats.org/officeDocument/2006/relationships/image" Target="../media/image39.png"/><Relationship Id="rId5" Type="http://schemas.openxmlformats.org/officeDocument/2006/relationships/image" Target="../media/image12.svg"/><Relationship Id="rId15" Type="http://schemas.openxmlformats.org/officeDocument/2006/relationships/image" Target="../media/image22.svg"/><Relationship Id="rId23" Type="http://schemas.openxmlformats.org/officeDocument/2006/relationships/image" Target="../media/image30.svg"/><Relationship Id="rId28" Type="http://schemas.openxmlformats.org/officeDocument/2006/relationships/image" Target="../media/image35.pn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31" Type="http://schemas.openxmlformats.org/officeDocument/2006/relationships/image" Target="../media/image38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Relationship Id="rId14" Type="http://schemas.openxmlformats.org/officeDocument/2006/relationships/image" Target="../media/image21.png"/><Relationship Id="rId22" Type="http://schemas.openxmlformats.org/officeDocument/2006/relationships/image" Target="../media/image29.png"/><Relationship Id="rId27" Type="http://schemas.openxmlformats.org/officeDocument/2006/relationships/image" Target="../media/image34.svg"/><Relationship Id="rId30" Type="http://schemas.openxmlformats.org/officeDocument/2006/relationships/image" Target="../media/image37.png"/><Relationship Id="rId8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46.svg"/><Relationship Id="rId3" Type="http://schemas.openxmlformats.org/officeDocument/2006/relationships/image" Target="../media/image11.png"/><Relationship Id="rId7" Type="http://schemas.openxmlformats.org/officeDocument/2006/relationships/image" Target="../media/image10.png"/><Relationship Id="rId12" Type="http://schemas.openxmlformats.org/officeDocument/2006/relationships/image" Target="../media/image45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7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2.svg"/><Relationship Id="rId11" Type="http://schemas.openxmlformats.org/officeDocument/2006/relationships/image" Target="../media/image44.svg"/><Relationship Id="rId5" Type="http://schemas.openxmlformats.org/officeDocument/2006/relationships/image" Target="../media/image29.png"/><Relationship Id="rId15" Type="http://schemas.openxmlformats.org/officeDocument/2006/relationships/image" Target="../media/image27.png"/><Relationship Id="rId10" Type="http://schemas.openxmlformats.org/officeDocument/2006/relationships/image" Target="../media/image19.png"/><Relationship Id="rId4" Type="http://schemas.openxmlformats.org/officeDocument/2006/relationships/image" Target="../media/image41.svg"/><Relationship Id="rId9" Type="http://schemas.openxmlformats.org/officeDocument/2006/relationships/image" Target="../media/image43.svg"/><Relationship Id="rId1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32.svg"/><Relationship Id="rId18" Type="http://schemas.openxmlformats.org/officeDocument/2006/relationships/image" Target="../media/image19.png"/><Relationship Id="rId26" Type="http://schemas.openxmlformats.org/officeDocument/2006/relationships/image" Target="../media/image23.png"/><Relationship Id="rId3" Type="http://schemas.openxmlformats.org/officeDocument/2006/relationships/image" Target="../media/image10.png"/><Relationship Id="rId21" Type="http://schemas.openxmlformats.org/officeDocument/2006/relationships/image" Target="../media/image46.svg"/><Relationship Id="rId7" Type="http://schemas.openxmlformats.org/officeDocument/2006/relationships/image" Target="../media/image48.svg"/><Relationship Id="rId12" Type="http://schemas.openxmlformats.org/officeDocument/2006/relationships/image" Target="../media/image31.png"/><Relationship Id="rId17" Type="http://schemas.openxmlformats.org/officeDocument/2006/relationships/image" Target="../media/image43.svg"/><Relationship Id="rId25" Type="http://schemas.openxmlformats.org/officeDocument/2006/relationships/image" Target="../media/image53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7.png"/><Relationship Id="rId20" Type="http://schemas.openxmlformats.org/officeDocument/2006/relationships/image" Target="../media/image45.png"/><Relationship Id="rId29" Type="http://schemas.openxmlformats.org/officeDocument/2006/relationships/image" Target="../media/image2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3.png"/><Relationship Id="rId11" Type="http://schemas.openxmlformats.org/officeDocument/2006/relationships/image" Target="../media/image34.svg"/><Relationship Id="rId24" Type="http://schemas.openxmlformats.org/officeDocument/2006/relationships/image" Target="../media/image52.png"/><Relationship Id="rId32" Type="http://schemas.openxmlformats.org/officeDocument/2006/relationships/image" Target="../media/image42.svg"/><Relationship Id="rId5" Type="http://schemas.openxmlformats.org/officeDocument/2006/relationships/image" Target="../media/image41.svg"/><Relationship Id="rId15" Type="http://schemas.openxmlformats.org/officeDocument/2006/relationships/image" Target="../media/image36.svg"/><Relationship Id="rId23" Type="http://schemas.openxmlformats.org/officeDocument/2006/relationships/image" Target="../media/image51.svg"/><Relationship Id="rId28" Type="http://schemas.openxmlformats.org/officeDocument/2006/relationships/image" Target="../media/image25.png"/><Relationship Id="rId10" Type="http://schemas.openxmlformats.org/officeDocument/2006/relationships/image" Target="../media/image33.png"/><Relationship Id="rId19" Type="http://schemas.openxmlformats.org/officeDocument/2006/relationships/image" Target="../media/image44.svg"/><Relationship Id="rId31" Type="http://schemas.openxmlformats.org/officeDocument/2006/relationships/image" Target="../media/image29.png"/><Relationship Id="rId4" Type="http://schemas.openxmlformats.org/officeDocument/2006/relationships/image" Target="../media/image11.png"/><Relationship Id="rId9" Type="http://schemas.openxmlformats.org/officeDocument/2006/relationships/image" Target="../media/image49.svg"/><Relationship Id="rId14" Type="http://schemas.openxmlformats.org/officeDocument/2006/relationships/image" Target="../media/image35.png"/><Relationship Id="rId22" Type="http://schemas.openxmlformats.org/officeDocument/2006/relationships/image" Target="../media/image50.png"/><Relationship Id="rId27" Type="http://schemas.openxmlformats.org/officeDocument/2006/relationships/image" Target="../media/image54.svg"/><Relationship Id="rId30" Type="http://schemas.openxmlformats.org/officeDocument/2006/relationships/image" Target="../media/image47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1D7662-428F-F93A-2A5C-EDBDADE02D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martArt Placeholder 3">
            <a:extLst>
              <a:ext uri="{FF2B5EF4-FFF2-40B4-BE49-F238E27FC236}">
                <a16:creationId xmlns:a16="http://schemas.microsoft.com/office/drawing/2014/main" id="{5AE5B9C5-FE1A-AF13-42C6-174883D69E74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F31F3D-A9CD-C64E-6D36-64BB6507AEC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4554" y="1812889"/>
            <a:ext cx="7270198" cy="1008204"/>
          </a:xfrm>
        </p:spPr>
        <p:txBody>
          <a:bodyPr/>
          <a:lstStyle/>
          <a:p>
            <a:r>
              <a:rPr lang="de-DE" sz="2400">
                <a:latin typeface="Verdana"/>
                <a:ea typeface="Verdana"/>
              </a:rPr>
              <a:t>Was ist Typ-1-Diabetes?</a:t>
            </a:r>
          </a:p>
        </p:txBody>
      </p:sp>
      <p:pic>
        <p:nvPicPr>
          <p:cNvPr id="6" name="Grafik 5" descr="Start Silhouette">
            <a:hlinkClick r:id="rId2" action="ppaction://hlinksldjump"/>
            <a:extLst>
              <a:ext uri="{FF2B5EF4-FFF2-40B4-BE49-F238E27FC236}">
                <a16:creationId xmlns:a16="http://schemas.microsoft.com/office/drawing/2014/main" id="{C9408E81-F19D-1264-D5B9-A9A832952C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3733" y="4486442"/>
            <a:ext cx="558465" cy="55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28925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">
            <a:extLst>
              <a:ext uri="{FF2B5EF4-FFF2-40B4-BE49-F238E27FC236}">
                <a16:creationId xmlns:a16="http://schemas.microsoft.com/office/drawing/2014/main" id="{A97BBCFE-F40A-1BED-8B49-0FCD67C23920}"/>
              </a:ext>
            </a:extLst>
          </p:cNvPr>
          <p:cNvSpPr txBox="1">
            <a:spLocks/>
          </p:cNvSpPr>
          <p:nvPr/>
        </p:nvSpPr>
        <p:spPr>
          <a:xfrm>
            <a:off x="363944" y="133354"/>
            <a:ext cx="8485200" cy="672166"/>
          </a:xfrm>
          <a:prstGeom prst="rect">
            <a:avLst/>
          </a:prstGeom>
          <a:ln cap="flat" algn="ctr">
            <a:miter lim="800000"/>
            <a:headEnd type="none" w="med" len="med"/>
            <a:tailEnd type="none" w="med" len="med"/>
          </a:ln>
        </p:spPr>
        <p:txBody>
          <a:bodyPr vert="horz" lIns="45720" tIns="45720" rIns="45720" bIns="45720" rtlCol="0" anchor="ctr">
            <a:noAutofit/>
          </a:bodyPr>
          <a:lstStyle>
            <a:lvl1pPr marL="0" indent="0" algn="l" defTabSz="68421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2800" b="1" i="0" u="none" kern="1200" baseline="0">
                <a:solidFill>
                  <a:schemeClr val="tx2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1pPr>
          </a:lstStyle>
          <a:p>
            <a:pPr eaLnBrk="1" hangingPunct="1"/>
            <a:r>
              <a:rPr lang="de-DE" sz="20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7030A0"/>
                </a:solidFill>
                <a:latin typeface="+mj-lt"/>
                <a:ea typeface="Arial"/>
                <a:cs typeface="Arial"/>
              </a:rPr>
              <a:t>Der Verlust der Betazellfunktion tritt über 3 Stadien der T1D-Progression auf,…</a:t>
            </a:r>
            <a:r>
              <a:rPr lang="de-DE" sz="2000" baseline="300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7030A0"/>
                </a:solidFill>
                <a:latin typeface="+mj-lt"/>
                <a:ea typeface="Arial"/>
                <a:cs typeface="Arial"/>
              </a:rPr>
              <a:t>1</a:t>
            </a:r>
            <a:endParaRPr lang="de-DE" sz="2000" baseline="30000" dirty="0">
              <a:solidFill>
                <a:srgbClr val="7030A0"/>
              </a:solidFill>
              <a:latin typeface="+mj-lt"/>
            </a:endParaRPr>
          </a:p>
        </p:txBody>
      </p:sp>
      <p:pic>
        <p:nvPicPr>
          <p:cNvPr id="21506" name="Graphic 107">
            <a:extLst>
              <a:ext uri="{FF2B5EF4-FFF2-40B4-BE49-F238E27FC236}">
                <a16:creationId xmlns:a16="http://schemas.microsoft.com/office/drawing/2014/main" id="{B273FD28-D7D0-0063-E16E-13197B1D73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2206" y="2545557"/>
            <a:ext cx="26312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7" name="Graphic 108">
            <a:extLst>
              <a:ext uri="{FF2B5EF4-FFF2-40B4-BE49-F238E27FC236}">
                <a16:creationId xmlns:a16="http://schemas.microsoft.com/office/drawing/2014/main" id="{B33A260B-7177-7EDC-20CC-09D4EE809B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0807" y="2376488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8" name="Graphic 112">
            <a:extLst>
              <a:ext uri="{FF2B5EF4-FFF2-40B4-BE49-F238E27FC236}">
                <a16:creationId xmlns:a16="http://schemas.microsoft.com/office/drawing/2014/main" id="{692F6B08-7084-5FE4-6250-E770D2BD6A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573" y="2664619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9" name="Graphic 114">
            <a:extLst>
              <a:ext uri="{FF2B5EF4-FFF2-40B4-BE49-F238E27FC236}">
                <a16:creationId xmlns:a16="http://schemas.microsoft.com/office/drawing/2014/main" id="{E4472DA6-823E-4980-627A-691EC09AE7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0085" y="2112169"/>
            <a:ext cx="26431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0" name="Graphic 115">
            <a:extLst>
              <a:ext uri="{FF2B5EF4-FFF2-40B4-BE49-F238E27FC236}">
                <a16:creationId xmlns:a16="http://schemas.microsoft.com/office/drawing/2014/main" id="{07836644-E7F6-9C4F-EC2A-F9C03FBFC8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5632" y="2203847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1" name="Graphic 121">
            <a:extLst>
              <a:ext uri="{FF2B5EF4-FFF2-40B4-BE49-F238E27FC236}">
                <a16:creationId xmlns:a16="http://schemas.microsoft.com/office/drawing/2014/main" id="{1102A235-0F8A-DA2C-A277-6C3B561CA6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9888" y="2409826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2" name="Graphic 122">
            <a:extLst>
              <a:ext uri="{FF2B5EF4-FFF2-40B4-BE49-F238E27FC236}">
                <a16:creationId xmlns:a16="http://schemas.microsoft.com/office/drawing/2014/main" id="{2E57C554-67EB-E83A-72B2-CF536FD5E3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2885" y="2607469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3" name="Graphic 123">
            <a:extLst>
              <a:ext uri="{FF2B5EF4-FFF2-40B4-BE49-F238E27FC236}">
                <a16:creationId xmlns:a16="http://schemas.microsoft.com/office/drawing/2014/main" id="{6CBCB216-262C-E37A-B0AD-40D595322A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3860" y="2813447"/>
            <a:ext cx="26431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4" name="Graphic 124">
            <a:extLst>
              <a:ext uri="{FF2B5EF4-FFF2-40B4-BE49-F238E27FC236}">
                <a16:creationId xmlns:a16="http://schemas.microsoft.com/office/drawing/2014/main" id="{563CD279-5AA3-F24F-7D0D-5E78F3D3E7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9604" y="2953941"/>
            <a:ext cx="26431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5" name="Graphic 125">
            <a:extLst>
              <a:ext uri="{FF2B5EF4-FFF2-40B4-BE49-F238E27FC236}">
                <a16:creationId xmlns:a16="http://schemas.microsoft.com/office/drawing/2014/main" id="{BA3355D8-18B3-52EA-D432-E30A010341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4163" y="2915841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6" name="Graphic 126">
            <a:extLst>
              <a:ext uri="{FF2B5EF4-FFF2-40B4-BE49-F238E27FC236}">
                <a16:creationId xmlns:a16="http://schemas.microsoft.com/office/drawing/2014/main" id="{926F602A-2644-BECD-0FEA-80E8AC7A69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025" y="2146697"/>
            <a:ext cx="26312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7" name="Graphic 1855">
            <a:extLst>
              <a:ext uri="{FF2B5EF4-FFF2-40B4-BE49-F238E27FC236}">
                <a16:creationId xmlns:a16="http://schemas.microsoft.com/office/drawing/2014/main" id="{3B12316E-3BE3-D51F-4108-7B4C6AD26C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7754" y="2671763"/>
            <a:ext cx="263128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8" name="Graphic 1856">
            <a:extLst>
              <a:ext uri="{FF2B5EF4-FFF2-40B4-BE49-F238E27FC236}">
                <a16:creationId xmlns:a16="http://schemas.microsoft.com/office/drawing/2014/main" id="{9FB45752-7480-73D9-B6B5-45EF68839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8969" y="2463403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9" name="Graphic 1857">
            <a:extLst>
              <a:ext uri="{FF2B5EF4-FFF2-40B4-BE49-F238E27FC236}">
                <a16:creationId xmlns:a16="http://schemas.microsoft.com/office/drawing/2014/main" id="{9B772CA8-FC4F-F63A-8A46-20316B84F3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9912" y="2906316"/>
            <a:ext cx="26312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20" name="Graphic 1858">
            <a:extLst>
              <a:ext uri="{FF2B5EF4-FFF2-40B4-BE49-F238E27FC236}">
                <a16:creationId xmlns:a16="http://schemas.microsoft.com/office/drawing/2014/main" id="{9B8858B7-64D1-2D6B-C19A-E0037B98F1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5044" y="3087291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21" name="Graphic 1860">
            <a:extLst>
              <a:ext uri="{FF2B5EF4-FFF2-40B4-BE49-F238E27FC236}">
                <a16:creationId xmlns:a16="http://schemas.microsoft.com/office/drawing/2014/main" id="{8837ADFD-6D64-5249-5547-C19E0244A5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3563" y="2547938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22" name="Graphic 1861">
            <a:extLst>
              <a:ext uri="{FF2B5EF4-FFF2-40B4-BE49-F238E27FC236}">
                <a16:creationId xmlns:a16="http://schemas.microsoft.com/office/drawing/2014/main" id="{8978FBD4-FAE5-9BFB-A0C3-664F32BF76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6957" y="2016919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1523" name="Group 1863">
            <a:extLst>
              <a:ext uri="{FF2B5EF4-FFF2-40B4-BE49-F238E27FC236}">
                <a16:creationId xmlns:a16="http://schemas.microsoft.com/office/drawing/2014/main" id="{176D5111-CABB-36FD-70A2-C30B884EE57A}"/>
              </a:ext>
            </a:extLst>
          </p:cNvPr>
          <p:cNvGrpSpPr>
            <a:grpSpLocks/>
          </p:cNvGrpSpPr>
          <p:nvPr/>
        </p:nvGrpSpPr>
        <p:grpSpPr bwMode="auto">
          <a:xfrm>
            <a:off x="2027635" y="2287191"/>
            <a:ext cx="571500" cy="845344"/>
            <a:chOff x="1572846" y="2923462"/>
            <a:chExt cx="1015371" cy="1501691"/>
          </a:xfrm>
        </p:grpSpPr>
        <p:pic>
          <p:nvPicPr>
            <p:cNvPr id="21524" name="Graphic 103">
              <a:extLst>
                <a:ext uri="{FF2B5EF4-FFF2-40B4-BE49-F238E27FC236}">
                  <a16:creationId xmlns:a16="http://schemas.microsoft.com/office/drawing/2014/main" id="{F1F3F0BA-9171-EC7D-A756-8C715171E4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8608" y="2923462"/>
              <a:ext cx="469609" cy="446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525" name="Graphic 1859">
              <a:extLst>
                <a:ext uri="{FF2B5EF4-FFF2-40B4-BE49-F238E27FC236}">
                  <a16:creationId xmlns:a16="http://schemas.microsoft.com/office/drawing/2014/main" id="{C1E25975-AAD8-F462-DF87-8B2F159F216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27845" y="3020755"/>
              <a:ext cx="469609" cy="446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526" name="Graphic 1862">
              <a:extLst>
                <a:ext uri="{FF2B5EF4-FFF2-40B4-BE49-F238E27FC236}">
                  <a16:creationId xmlns:a16="http://schemas.microsoft.com/office/drawing/2014/main" id="{B9D1D97E-77EC-D041-78E0-28FDB71280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846" y="3978875"/>
              <a:ext cx="469609" cy="4462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529" name="damaged beta cells">
            <a:extLst>
              <a:ext uri="{FF2B5EF4-FFF2-40B4-BE49-F238E27FC236}">
                <a16:creationId xmlns:a16="http://schemas.microsoft.com/office/drawing/2014/main" id="{D9D168C8-66E6-7879-1287-84EC67BFAD7C}"/>
              </a:ext>
            </a:extLst>
          </p:cNvPr>
          <p:cNvGrpSpPr>
            <a:grpSpLocks/>
          </p:cNvGrpSpPr>
          <p:nvPr/>
        </p:nvGrpSpPr>
        <p:grpSpPr bwMode="auto">
          <a:xfrm>
            <a:off x="2030017" y="2290763"/>
            <a:ext cx="564356" cy="838200"/>
            <a:chOff x="5883325" y="1893112"/>
            <a:chExt cx="1287711" cy="1892793"/>
          </a:xfrm>
        </p:grpSpPr>
        <p:grpSp>
          <p:nvGrpSpPr>
            <p:cNvPr id="21530" name="Graphic 181">
              <a:extLst>
                <a:ext uri="{FF2B5EF4-FFF2-40B4-BE49-F238E27FC236}">
                  <a16:creationId xmlns:a16="http://schemas.microsoft.com/office/drawing/2014/main" id="{A42BC2C7-3B4D-FFD5-D1DE-CCB1A8B7B89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585051" y="1893112"/>
              <a:ext cx="585985" cy="553270"/>
              <a:chOff x="6585051" y="1893112"/>
              <a:chExt cx="585985" cy="553270"/>
            </a:xfrm>
          </p:grpSpPr>
          <p:sp>
            <p:nvSpPr>
              <p:cNvPr id="29807" name="Freeform 2">
                <a:extLst>
                  <a:ext uri="{FF2B5EF4-FFF2-40B4-BE49-F238E27FC236}">
                    <a16:creationId xmlns:a16="http://schemas.microsoft.com/office/drawing/2014/main" id="{7881FD6A-60A5-B44A-FCC9-10C47905D7AA}"/>
                  </a:ext>
                </a:extLst>
              </p:cNvPr>
              <p:cNvSpPr/>
              <p:nvPr/>
            </p:nvSpPr>
            <p:spPr>
              <a:xfrm>
                <a:off x="6584231" y="1893112"/>
                <a:ext cx="586805" cy="553858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29808" name="Freeform 3">
                <a:extLst>
                  <a:ext uri="{FF2B5EF4-FFF2-40B4-BE49-F238E27FC236}">
                    <a16:creationId xmlns:a16="http://schemas.microsoft.com/office/drawing/2014/main" id="{8BD541D4-E389-EEE9-1F46-3137B3AA0E87}"/>
                  </a:ext>
                </a:extLst>
              </p:cNvPr>
              <p:cNvSpPr/>
              <p:nvPr/>
            </p:nvSpPr>
            <p:spPr>
              <a:xfrm>
                <a:off x="6760815" y="2070562"/>
                <a:ext cx="249935" cy="276930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29809" name="Freeform 8">
                <a:extLst>
                  <a:ext uri="{FF2B5EF4-FFF2-40B4-BE49-F238E27FC236}">
                    <a16:creationId xmlns:a16="http://schemas.microsoft.com/office/drawing/2014/main" id="{EF806D5D-DCB1-2327-C6EB-0FB7DEB94C26}"/>
                  </a:ext>
                </a:extLst>
              </p:cNvPr>
              <p:cNvSpPr/>
              <p:nvPr/>
            </p:nvSpPr>
            <p:spPr>
              <a:xfrm>
                <a:off x="6978150" y="1979148"/>
                <a:ext cx="146701" cy="244666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1534" name="Graphic 182">
              <a:extLst>
                <a:ext uri="{FF2B5EF4-FFF2-40B4-BE49-F238E27FC236}">
                  <a16:creationId xmlns:a16="http://schemas.microsoft.com/office/drawing/2014/main" id="{4E01D3B8-7D33-A7BD-7ADB-D224933AF90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54148" y="2015806"/>
              <a:ext cx="585985" cy="553270"/>
              <a:chOff x="5954148" y="2015806"/>
              <a:chExt cx="585985" cy="553270"/>
            </a:xfrm>
          </p:grpSpPr>
          <p:sp>
            <p:nvSpPr>
              <p:cNvPr id="29804" name="Freeform 10">
                <a:extLst>
                  <a:ext uri="{FF2B5EF4-FFF2-40B4-BE49-F238E27FC236}">
                    <a16:creationId xmlns:a16="http://schemas.microsoft.com/office/drawing/2014/main" id="{5F47AAFB-53A7-0A20-4C8B-B72E1DBDD53A}"/>
                  </a:ext>
                </a:extLst>
              </p:cNvPr>
              <p:cNvSpPr/>
              <p:nvPr/>
            </p:nvSpPr>
            <p:spPr>
              <a:xfrm>
                <a:off x="5953960" y="2016788"/>
                <a:ext cx="586805" cy="551170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29805" name="Freeform 11">
                <a:extLst>
                  <a:ext uri="{FF2B5EF4-FFF2-40B4-BE49-F238E27FC236}">
                    <a16:creationId xmlns:a16="http://schemas.microsoft.com/office/drawing/2014/main" id="{DFF0B124-1772-0CA1-BDA4-C3091575C843}"/>
                  </a:ext>
                </a:extLst>
              </p:cNvPr>
              <p:cNvSpPr/>
              <p:nvPr/>
            </p:nvSpPr>
            <p:spPr>
              <a:xfrm>
                <a:off x="6130544" y="2191550"/>
                <a:ext cx="249935" cy="276928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29806" name="Freeform 12">
                <a:extLst>
                  <a:ext uri="{FF2B5EF4-FFF2-40B4-BE49-F238E27FC236}">
                    <a16:creationId xmlns:a16="http://schemas.microsoft.com/office/drawing/2014/main" id="{5373739C-5331-59E5-B3B8-1347FC7C2671}"/>
                  </a:ext>
                </a:extLst>
              </p:cNvPr>
              <p:cNvSpPr/>
              <p:nvPr/>
            </p:nvSpPr>
            <p:spPr>
              <a:xfrm>
                <a:off x="6347879" y="2102824"/>
                <a:ext cx="146701" cy="241977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1538" name="Graphic 183">
              <a:extLst>
                <a:ext uri="{FF2B5EF4-FFF2-40B4-BE49-F238E27FC236}">
                  <a16:creationId xmlns:a16="http://schemas.microsoft.com/office/drawing/2014/main" id="{2DE48DF7-37BE-DCC2-5393-42CB804CA24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83325" y="3232635"/>
              <a:ext cx="585985" cy="553270"/>
              <a:chOff x="5883325" y="3232635"/>
              <a:chExt cx="585985" cy="553270"/>
            </a:xfrm>
          </p:grpSpPr>
          <p:sp>
            <p:nvSpPr>
              <p:cNvPr id="29801" name="Freeform 15">
                <a:extLst>
                  <a:ext uri="{FF2B5EF4-FFF2-40B4-BE49-F238E27FC236}">
                    <a16:creationId xmlns:a16="http://schemas.microsoft.com/office/drawing/2014/main" id="{0C3DF866-9E59-183C-FE47-E17B2C1B69CD}"/>
                  </a:ext>
                </a:extLst>
              </p:cNvPr>
              <p:cNvSpPr/>
              <p:nvPr/>
            </p:nvSpPr>
            <p:spPr>
              <a:xfrm>
                <a:off x="5883325" y="3232047"/>
                <a:ext cx="586805" cy="553858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29802" name="Freeform 16">
                <a:extLst>
                  <a:ext uri="{FF2B5EF4-FFF2-40B4-BE49-F238E27FC236}">
                    <a16:creationId xmlns:a16="http://schemas.microsoft.com/office/drawing/2014/main" id="{C2C17BBB-D7E3-86D4-CCC9-9748A6DEDD76}"/>
                  </a:ext>
                </a:extLst>
              </p:cNvPr>
              <p:cNvSpPr/>
              <p:nvPr/>
            </p:nvSpPr>
            <p:spPr>
              <a:xfrm>
                <a:off x="6059909" y="3409497"/>
                <a:ext cx="249935" cy="276930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29803" name="Freeform 17">
                <a:extLst>
                  <a:ext uri="{FF2B5EF4-FFF2-40B4-BE49-F238E27FC236}">
                    <a16:creationId xmlns:a16="http://schemas.microsoft.com/office/drawing/2014/main" id="{39E71940-F295-72B0-D5B8-8C51CFFB5745}"/>
                  </a:ext>
                </a:extLst>
              </p:cNvPr>
              <p:cNvSpPr/>
              <p:nvPr/>
            </p:nvSpPr>
            <p:spPr>
              <a:xfrm>
                <a:off x="6277244" y="3318083"/>
                <a:ext cx="146701" cy="244666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</p:grpSp>
      <p:sp>
        <p:nvSpPr>
          <p:cNvPr id="21542" name="Isosceles Triangle 113">
            <a:extLst>
              <a:ext uri="{FF2B5EF4-FFF2-40B4-BE49-F238E27FC236}">
                <a16:creationId xmlns:a16="http://schemas.microsoft.com/office/drawing/2014/main" id="{2365CD35-B9C1-A7AB-BEB2-20D22DAE55DC}"/>
              </a:ext>
            </a:extLst>
          </p:cNvPr>
          <p:cNvSpPr>
            <a:spLocks noChangeArrowheads="1"/>
          </p:cNvSpPr>
          <p:nvPr/>
        </p:nvSpPr>
        <p:spPr bwMode="auto">
          <a:xfrm rot="4500000">
            <a:off x="2025253" y="2878931"/>
            <a:ext cx="61913" cy="5238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1543" name="Isosceles Triangle 115">
            <a:extLst>
              <a:ext uri="{FF2B5EF4-FFF2-40B4-BE49-F238E27FC236}">
                <a16:creationId xmlns:a16="http://schemas.microsoft.com/office/drawing/2014/main" id="{A923851F-F28E-6C31-E44D-CD6763164C62}"/>
              </a:ext>
            </a:extLst>
          </p:cNvPr>
          <p:cNvSpPr>
            <a:spLocks noChangeArrowheads="1"/>
          </p:cNvSpPr>
          <p:nvPr/>
        </p:nvSpPr>
        <p:spPr bwMode="auto">
          <a:xfrm rot="20700000">
            <a:off x="2590800" y="2412206"/>
            <a:ext cx="61913" cy="5238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1544" name="Isosceles Triangle 99">
            <a:extLst>
              <a:ext uri="{FF2B5EF4-FFF2-40B4-BE49-F238E27FC236}">
                <a16:creationId xmlns:a16="http://schemas.microsoft.com/office/drawing/2014/main" id="{D7A7E3D6-BCF0-EC4E-6B4F-12858DBE5242}"/>
              </a:ext>
            </a:extLst>
          </p:cNvPr>
          <p:cNvSpPr>
            <a:spLocks noChangeArrowheads="1"/>
          </p:cNvSpPr>
          <p:nvPr/>
        </p:nvSpPr>
        <p:spPr bwMode="auto">
          <a:xfrm rot="18900000">
            <a:off x="2031207" y="2338387"/>
            <a:ext cx="60722" cy="53579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9722" name="Freeform 96">
            <a:extLst>
              <a:ext uri="{FF2B5EF4-FFF2-40B4-BE49-F238E27FC236}">
                <a16:creationId xmlns:a16="http://schemas.microsoft.com/office/drawing/2014/main" id="{CE7B30FA-AAED-C68D-EBD2-E36424049433}"/>
              </a:ext>
            </a:extLst>
          </p:cNvPr>
          <p:cNvSpPr/>
          <p:nvPr/>
        </p:nvSpPr>
        <p:spPr>
          <a:xfrm rot="10800000">
            <a:off x="5645944" y="1858567"/>
            <a:ext cx="133350" cy="1697831"/>
          </a:xfrm>
          <a:custGeom>
            <a:avLst/>
            <a:gdLst>
              <a:gd name="connsiteX0" fmla="*/ 185980 w 185980"/>
              <a:gd name="connsiteY0" fmla="*/ 0 h 1015139"/>
              <a:gd name="connsiteX1" fmla="*/ 0 w 185980"/>
              <a:gd name="connsiteY1" fmla="*/ 0 h 1015139"/>
              <a:gd name="connsiteX2" fmla="*/ 0 w 185980"/>
              <a:gd name="connsiteY2" fmla="*/ 1015139 h 1015139"/>
              <a:gd name="connsiteX3" fmla="*/ 185980 w 185980"/>
              <a:gd name="connsiteY3" fmla="*/ 1015139 h 1015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980" h="1015139">
                <a:moveTo>
                  <a:pt x="185980" y="0"/>
                </a:moveTo>
                <a:lnTo>
                  <a:pt x="0" y="0"/>
                </a:lnTo>
                <a:lnTo>
                  <a:pt x="0" y="1015139"/>
                </a:lnTo>
                <a:lnTo>
                  <a:pt x="185980" y="1015139"/>
                </a:lnTo>
              </a:path>
            </a:pathLst>
          </a:custGeom>
          <a:noFill/>
          <a:ln w="9525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anchor="ctr"/>
          <a:lstStyle/>
          <a:p>
            <a:pPr algn="ctr" defTabSz="514337"/>
            <a:endParaRPr lang="en-US" sz="1013">
              <a:solidFill>
                <a:srgbClr val="FFFFFF"/>
              </a:solidFill>
            </a:endParaRPr>
          </a:p>
        </p:txBody>
      </p:sp>
      <p:grpSp>
        <p:nvGrpSpPr>
          <p:cNvPr id="21547" name="Group 20">
            <a:extLst>
              <a:ext uri="{FF2B5EF4-FFF2-40B4-BE49-F238E27FC236}">
                <a16:creationId xmlns:a16="http://schemas.microsoft.com/office/drawing/2014/main" id="{76816318-90C3-E8D8-2FDB-68DB5A9EAC99}"/>
              </a:ext>
            </a:extLst>
          </p:cNvPr>
          <p:cNvGrpSpPr>
            <a:grpSpLocks/>
          </p:cNvGrpSpPr>
          <p:nvPr/>
        </p:nvGrpSpPr>
        <p:grpSpPr bwMode="auto">
          <a:xfrm>
            <a:off x="1584722" y="3452818"/>
            <a:ext cx="3888384" cy="406949"/>
            <a:chOff x="784859" y="5617965"/>
            <a:chExt cx="6912767" cy="722533"/>
          </a:xfrm>
        </p:grpSpPr>
        <p:grpSp>
          <p:nvGrpSpPr>
            <p:cNvPr id="21548" name="Group 21">
              <a:extLst>
                <a:ext uri="{FF2B5EF4-FFF2-40B4-BE49-F238E27FC236}">
                  <a16:creationId xmlns:a16="http://schemas.microsoft.com/office/drawing/2014/main" id="{71DA2E21-C4B3-CD37-3ED0-43D83C4E38D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610919" y="5990019"/>
              <a:ext cx="2086707" cy="348365"/>
              <a:chOff x="5531747" y="5879622"/>
              <a:chExt cx="2086707" cy="348365"/>
            </a:xfrm>
          </p:grpSpPr>
          <p:pic>
            <p:nvPicPr>
              <p:cNvPr id="21549" name="T-Cells infiltrate 4">
                <a:extLst>
                  <a:ext uri="{FF2B5EF4-FFF2-40B4-BE49-F238E27FC236}">
                    <a16:creationId xmlns:a16="http://schemas.microsoft.com/office/drawing/2014/main" id="{A74308F2-CF86-C348-75D5-B99C0909EA7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31747" y="5890193"/>
                <a:ext cx="228603" cy="2621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797" name="TextBox 43">
                <a:extLst>
                  <a:ext uri="{FF2B5EF4-FFF2-40B4-BE49-F238E27FC236}">
                    <a16:creationId xmlns:a16="http://schemas.microsoft.com/office/drawing/2014/main" id="{66227439-5D14-2083-8114-6266FE44540B}"/>
                  </a:ext>
                </a:extLst>
              </p:cNvPr>
              <p:cNvSpPr txBox="1"/>
              <p:nvPr/>
            </p:nvSpPr>
            <p:spPr>
              <a:xfrm>
                <a:off x="5717054" y="5879622"/>
                <a:ext cx="1901400" cy="34836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>
                <a:spAutoFit/>
              </a:bodyPr>
              <a:lstStyle/>
              <a:p>
                <a:pPr defTabSz="514337"/>
                <a:r>
                  <a:rPr lang="de" sz="675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404040"/>
                    </a:solidFill>
                    <a:ea typeface="Arial"/>
                  </a:rPr>
                  <a:t>Autoreaktive T-Zelle</a:t>
                </a:r>
              </a:p>
            </p:txBody>
          </p:sp>
        </p:grpSp>
        <p:grpSp>
          <p:nvGrpSpPr>
            <p:cNvPr id="21551" name="Group 23">
              <a:extLst>
                <a:ext uri="{FF2B5EF4-FFF2-40B4-BE49-F238E27FC236}">
                  <a16:creationId xmlns:a16="http://schemas.microsoft.com/office/drawing/2014/main" id="{FDC00853-EF1B-833C-47AC-8400359D358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70870" y="5990019"/>
              <a:ext cx="1793819" cy="348365"/>
              <a:chOff x="5456249" y="5609252"/>
              <a:chExt cx="1793819" cy="348365"/>
            </a:xfrm>
          </p:grpSpPr>
          <p:sp>
            <p:nvSpPr>
              <p:cNvPr id="21552" name="Isosceles Triangle 85">
                <a:extLst>
                  <a:ext uri="{FF2B5EF4-FFF2-40B4-BE49-F238E27FC236}">
                    <a16:creationId xmlns:a16="http://schemas.microsoft.com/office/drawing/2014/main" id="{2919279E-7C08-3DED-0520-80B0D10065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9900000">
                <a:off x="5456249" y="5693810"/>
                <a:ext cx="156635" cy="133179"/>
              </a:xfrm>
              <a:prstGeom prst="triangle">
                <a:avLst>
                  <a:gd name="adj" fmla="val 50000"/>
                </a:avLst>
              </a:prstGeom>
              <a:solidFill>
                <a:srgbClr val="70A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1pPr>
                <a:lvl2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2pPr>
                <a:lvl3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3pPr>
                <a:lvl4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4pPr>
                <a:lvl5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5pPr>
                <a:lvl6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6pPr>
                <a:lvl7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7pPr>
                <a:lvl8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8pPr>
                <a:lvl9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/>
                <a:endParaRPr lang="de-DE" altLang="de-DE" sz="975">
                  <a:solidFill>
                    <a:srgbClr val="404040"/>
                  </a:solidFill>
                  <a:latin typeface="+mn-lt"/>
                </a:endParaRPr>
              </a:p>
            </p:txBody>
          </p:sp>
          <p:sp>
            <p:nvSpPr>
              <p:cNvPr id="29795" name="TextBox 41">
                <a:extLst>
                  <a:ext uri="{FF2B5EF4-FFF2-40B4-BE49-F238E27FC236}">
                    <a16:creationId xmlns:a16="http://schemas.microsoft.com/office/drawing/2014/main" id="{332C6C13-3284-B568-EFB1-07825D869F97}"/>
                  </a:ext>
                </a:extLst>
              </p:cNvPr>
              <p:cNvSpPr txBox="1"/>
              <p:nvPr/>
            </p:nvSpPr>
            <p:spPr>
              <a:xfrm>
                <a:off x="5602302" y="5609252"/>
                <a:ext cx="1647766" cy="34836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>
                <a:spAutoFit/>
              </a:bodyPr>
              <a:lstStyle/>
              <a:p>
                <a:pPr defTabSz="514337"/>
                <a:r>
                  <a:rPr lang="de" sz="675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404040"/>
                    </a:solidFill>
                    <a:ea typeface="Arial"/>
                  </a:rPr>
                  <a:t>Betazell-Antigen </a:t>
                </a:r>
              </a:p>
            </p:txBody>
          </p:sp>
        </p:grpSp>
        <p:grpSp>
          <p:nvGrpSpPr>
            <p:cNvPr id="21554" name="Group 24">
              <a:extLst>
                <a:ext uri="{FF2B5EF4-FFF2-40B4-BE49-F238E27FC236}">
                  <a16:creationId xmlns:a16="http://schemas.microsoft.com/office/drawing/2014/main" id="{35F57B65-DD28-59AC-8BA8-31375F57C8D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5077" y="5617965"/>
              <a:ext cx="2392638" cy="711963"/>
              <a:chOff x="1068125" y="5622206"/>
              <a:chExt cx="2392638" cy="711963"/>
            </a:xfrm>
          </p:grpSpPr>
          <p:grpSp>
            <p:nvGrpSpPr>
              <p:cNvPr id="21555" name="Group 30">
                <a:extLst>
                  <a:ext uri="{FF2B5EF4-FFF2-40B4-BE49-F238E27FC236}">
                    <a16:creationId xmlns:a16="http://schemas.microsoft.com/office/drawing/2014/main" id="{32F2C6BD-576F-CF46-7B9F-42F93533E86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68125" y="5985805"/>
                <a:ext cx="1110943" cy="348364"/>
                <a:chOff x="2337782" y="5616898"/>
                <a:chExt cx="1110943" cy="348364"/>
              </a:xfrm>
            </p:grpSpPr>
            <p:pic>
              <p:nvPicPr>
                <p:cNvPr id="21556" name="Graphic 38">
                  <a:extLst>
                    <a:ext uri="{FF2B5EF4-FFF2-40B4-BE49-F238E27FC236}">
                      <a16:creationId xmlns:a16="http://schemas.microsoft.com/office/drawing/2014/main" id="{B12CFEF3-025E-48AA-138F-5AC3A2A2B50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337782" y="5623240"/>
                  <a:ext cx="289988" cy="2748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9793" name="TextBox 39">
                  <a:extLst>
                    <a:ext uri="{FF2B5EF4-FFF2-40B4-BE49-F238E27FC236}">
                      <a16:creationId xmlns:a16="http://schemas.microsoft.com/office/drawing/2014/main" id="{43F893A2-CDA3-F49E-74DB-39F476B00369}"/>
                    </a:ext>
                  </a:extLst>
                </p:cNvPr>
                <p:cNvSpPr txBox="1"/>
                <p:nvPr/>
              </p:nvSpPr>
              <p:spPr>
                <a:xfrm>
                  <a:off x="2539063" y="5616898"/>
                  <a:ext cx="909662" cy="34836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>
                  <a:spAutoFit/>
                </a:bodyPr>
                <a:lstStyle/>
                <a:p>
                  <a:pPr defTabSz="514337"/>
                  <a:r>
                    <a:rPr lang="de" sz="675">
                      <a:ln w="952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solidFill>
                        <a:srgbClr val="404040"/>
                      </a:solidFill>
                      <a:ea typeface="Arial"/>
                    </a:rPr>
                    <a:t>Gesund</a:t>
                  </a:r>
                </a:p>
              </p:txBody>
            </p:sp>
          </p:grpSp>
          <p:grpSp>
            <p:nvGrpSpPr>
              <p:cNvPr id="21558" name="Group 31">
                <a:extLst>
                  <a:ext uri="{FF2B5EF4-FFF2-40B4-BE49-F238E27FC236}">
                    <a16:creationId xmlns:a16="http://schemas.microsoft.com/office/drawing/2014/main" id="{0101AE98-CC34-73A9-7515-866CFFC8F5F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092783" y="5985805"/>
                <a:ext cx="1367980" cy="348364"/>
                <a:chOff x="2342461" y="5976830"/>
                <a:chExt cx="1367980" cy="348364"/>
              </a:xfrm>
            </p:grpSpPr>
            <p:sp>
              <p:nvSpPr>
                <p:cNvPr id="29787" name="TextBox 33">
                  <a:extLst>
                    <a:ext uri="{FF2B5EF4-FFF2-40B4-BE49-F238E27FC236}">
                      <a16:creationId xmlns:a16="http://schemas.microsoft.com/office/drawing/2014/main" id="{0A03252F-7F64-8C38-40A5-3CBF16691054}"/>
                    </a:ext>
                  </a:extLst>
                </p:cNvPr>
                <p:cNvSpPr txBox="1"/>
                <p:nvPr/>
              </p:nvSpPr>
              <p:spPr>
                <a:xfrm>
                  <a:off x="2541446" y="5976830"/>
                  <a:ext cx="1168995" cy="34836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>
                  <a:spAutoFit/>
                </a:bodyPr>
                <a:lstStyle/>
                <a:p>
                  <a:pPr defTabSz="514337"/>
                  <a:r>
                    <a:rPr lang="de" sz="675">
                      <a:ln w="952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solidFill>
                        <a:srgbClr val="404040"/>
                      </a:solidFill>
                      <a:ea typeface="Arial"/>
                    </a:rPr>
                    <a:t>Beschädigt</a:t>
                  </a:r>
                </a:p>
              </p:txBody>
            </p:sp>
            <p:grpSp>
              <p:nvGrpSpPr>
                <p:cNvPr id="21560" name="Graphic 305">
                  <a:extLst>
                    <a:ext uri="{FF2B5EF4-FFF2-40B4-BE49-F238E27FC236}">
                      <a16:creationId xmlns:a16="http://schemas.microsoft.com/office/drawing/2014/main" id="{1D758CF9-21FD-3583-C2FA-4851E0A7173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342461" y="5985964"/>
                  <a:ext cx="283048" cy="267245"/>
                  <a:chOff x="2342461" y="5985964"/>
                  <a:chExt cx="283048" cy="267245"/>
                </a:xfrm>
              </p:grpSpPr>
              <p:sp>
                <p:nvSpPr>
                  <p:cNvPr id="29789" name="Freeform 3">
                    <a:extLst>
                      <a:ext uri="{FF2B5EF4-FFF2-40B4-BE49-F238E27FC236}">
                        <a16:creationId xmlns:a16="http://schemas.microsoft.com/office/drawing/2014/main" id="{C6DD44ED-ADEF-0A70-47BF-D6838F3C11A6}"/>
                      </a:ext>
                    </a:extLst>
                  </p:cNvPr>
                  <p:cNvSpPr/>
                  <p:nvPr/>
                </p:nvSpPr>
                <p:spPr>
                  <a:xfrm>
                    <a:off x="2342282" y="5985285"/>
                    <a:ext cx="283637" cy="268471"/>
                  </a:xfrm>
                  <a:custGeom>
                    <a:avLst/>
                    <a:gdLst>
                      <a:gd name="connsiteX0" fmla="*/ 95259 w 283048"/>
                      <a:gd name="connsiteY0" fmla="*/ 12522 h 267245"/>
                      <a:gd name="connsiteX1" fmla="*/ 111257 w 283048"/>
                      <a:gd name="connsiteY1" fmla="*/ 3061 h 267245"/>
                      <a:gd name="connsiteX2" fmla="*/ 136902 w 283048"/>
                      <a:gd name="connsiteY2" fmla="*/ 306 h 267245"/>
                      <a:gd name="connsiteX3" fmla="*/ 220287 w 283048"/>
                      <a:gd name="connsiteY3" fmla="*/ 31163 h 267245"/>
                      <a:gd name="connsiteX4" fmla="*/ 261307 w 283048"/>
                      <a:gd name="connsiteY4" fmla="*/ 53109 h 267245"/>
                      <a:gd name="connsiteX5" fmla="*/ 278404 w 283048"/>
                      <a:gd name="connsiteY5" fmla="*/ 66264 h 267245"/>
                      <a:gd name="connsiteX6" fmla="*/ 282862 w 283048"/>
                      <a:gd name="connsiteY6" fmla="*/ 92562 h 267245"/>
                      <a:gd name="connsiteX7" fmla="*/ 279125 w 283048"/>
                      <a:gd name="connsiteY7" fmla="*/ 144269 h 267245"/>
                      <a:gd name="connsiteX8" fmla="*/ 267804 w 283048"/>
                      <a:gd name="connsiteY8" fmla="*/ 200352 h 267245"/>
                      <a:gd name="connsiteX9" fmla="*/ 232145 w 283048"/>
                      <a:gd name="connsiteY9" fmla="*/ 243841 h 267245"/>
                      <a:gd name="connsiteX10" fmla="*/ 191845 w 283048"/>
                      <a:gd name="connsiteY10" fmla="*/ 255143 h 267245"/>
                      <a:gd name="connsiteX11" fmla="*/ 142715 w 283048"/>
                      <a:gd name="connsiteY11" fmla="*/ 263165 h 267245"/>
                      <a:gd name="connsiteX12" fmla="*/ 72288 w 283048"/>
                      <a:gd name="connsiteY12" fmla="*/ 261556 h 267245"/>
                      <a:gd name="connsiteX13" fmla="*/ 28593 w 283048"/>
                      <a:gd name="connsiteY13" fmla="*/ 222139 h 267245"/>
                      <a:gd name="connsiteX14" fmla="*/ 224 w 283048"/>
                      <a:gd name="connsiteY14" fmla="*/ 154498 h 267245"/>
                      <a:gd name="connsiteX15" fmla="*/ 29875 w 283048"/>
                      <a:gd name="connsiteY15" fmla="*/ 83613 h 267245"/>
                      <a:gd name="connsiteX16" fmla="*/ 95259 w 283048"/>
                      <a:gd name="connsiteY16" fmla="*/ 12522 h 2672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283048" h="267245">
                        <a:moveTo>
                          <a:pt x="95259" y="12522"/>
                        </a:moveTo>
                        <a:cubicBezTo>
                          <a:pt x="100136" y="8658"/>
                          <a:pt x="105519" y="5475"/>
                          <a:pt x="111257" y="3061"/>
                        </a:cubicBezTo>
                        <a:cubicBezTo>
                          <a:pt x="119341" y="-36"/>
                          <a:pt x="128244" y="-402"/>
                          <a:pt x="136902" y="306"/>
                        </a:cubicBezTo>
                        <a:cubicBezTo>
                          <a:pt x="166675" y="2744"/>
                          <a:pt x="193957" y="17094"/>
                          <a:pt x="220287" y="31163"/>
                        </a:cubicBezTo>
                        <a:lnTo>
                          <a:pt x="261307" y="53109"/>
                        </a:lnTo>
                        <a:cubicBezTo>
                          <a:pt x="267719" y="56535"/>
                          <a:pt x="274411" y="60205"/>
                          <a:pt x="278404" y="66264"/>
                        </a:cubicBezTo>
                        <a:cubicBezTo>
                          <a:pt x="283399" y="73811"/>
                          <a:pt x="283289" y="83528"/>
                          <a:pt x="282862" y="92562"/>
                        </a:cubicBezTo>
                        <a:cubicBezTo>
                          <a:pt x="282047" y="109826"/>
                          <a:pt x="280802" y="127062"/>
                          <a:pt x="279125" y="144269"/>
                        </a:cubicBezTo>
                        <a:cubicBezTo>
                          <a:pt x="277232" y="163300"/>
                          <a:pt x="274753" y="182515"/>
                          <a:pt x="267804" y="200352"/>
                        </a:cubicBezTo>
                        <a:cubicBezTo>
                          <a:pt x="260856" y="218189"/>
                          <a:pt x="248973" y="234709"/>
                          <a:pt x="232145" y="243841"/>
                        </a:cubicBezTo>
                        <a:cubicBezTo>
                          <a:pt x="219810" y="250534"/>
                          <a:pt x="205669" y="252887"/>
                          <a:pt x="191845" y="255143"/>
                        </a:cubicBezTo>
                        <a:lnTo>
                          <a:pt x="142715" y="263165"/>
                        </a:lnTo>
                        <a:cubicBezTo>
                          <a:pt x="119207" y="267006"/>
                          <a:pt x="94270" y="270663"/>
                          <a:pt x="72288" y="261556"/>
                        </a:cubicBezTo>
                        <a:cubicBezTo>
                          <a:pt x="53970" y="253960"/>
                          <a:pt x="40097" y="238391"/>
                          <a:pt x="28593" y="222139"/>
                        </a:cubicBezTo>
                        <a:cubicBezTo>
                          <a:pt x="14268" y="201949"/>
                          <a:pt x="2178" y="179223"/>
                          <a:pt x="224" y="154498"/>
                        </a:cubicBezTo>
                        <a:cubicBezTo>
                          <a:pt x="-2133" y="124457"/>
                          <a:pt x="14549" y="106717"/>
                          <a:pt x="29875" y="83613"/>
                        </a:cubicBezTo>
                        <a:cubicBezTo>
                          <a:pt x="48022" y="56255"/>
                          <a:pt x="68649" y="32212"/>
                          <a:pt x="95259" y="12522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 w="7204" cap="flat">
                    <a:solidFill>
                      <a:srgbClr val="585863"/>
                    </a:solidFill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29790" name="Freeform 4">
                    <a:extLst>
                      <a:ext uri="{FF2B5EF4-FFF2-40B4-BE49-F238E27FC236}">
                        <a16:creationId xmlns:a16="http://schemas.microsoft.com/office/drawing/2014/main" id="{47CF553F-64D5-FFB3-AD17-B2CA33C9ABA2}"/>
                      </a:ext>
                    </a:extLst>
                  </p:cNvPr>
                  <p:cNvSpPr/>
                  <p:nvPr/>
                </p:nvSpPr>
                <p:spPr>
                  <a:xfrm>
                    <a:off x="2426950" y="6071957"/>
                    <a:ext cx="122768" cy="133178"/>
                  </a:xfrm>
                  <a:custGeom>
                    <a:avLst/>
                    <a:gdLst>
                      <a:gd name="connsiteX0" fmla="*/ 120900 w 120900"/>
                      <a:gd name="connsiteY0" fmla="*/ 67056 h 134112"/>
                      <a:gd name="connsiteX1" fmla="*/ 60450 w 120900"/>
                      <a:gd name="connsiteY1" fmla="*/ 134112 h 134112"/>
                      <a:gd name="connsiteX2" fmla="*/ 0 w 120900"/>
                      <a:gd name="connsiteY2" fmla="*/ 67056 h 134112"/>
                      <a:gd name="connsiteX3" fmla="*/ 60450 w 120900"/>
                      <a:gd name="connsiteY3" fmla="*/ 0 h 134112"/>
                      <a:gd name="connsiteX4" fmla="*/ 120900 w 120900"/>
                      <a:gd name="connsiteY4" fmla="*/ 67056 h 1341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900" h="134112">
                        <a:moveTo>
                          <a:pt x="120900" y="67056"/>
                        </a:moveTo>
                        <a:cubicBezTo>
                          <a:pt x="120900" y="104090"/>
                          <a:pt x="93836" y="134112"/>
                          <a:pt x="60450" y="134112"/>
                        </a:cubicBezTo>
                        <a:cubicBezTo>
                          <a:pt x="27064" y="134112"/>
                          <a:pt x="0" y="104090"/>
                          <a:pt x="0" y="67056"/>
                        </a:cubicBezTo>
                        <a:cubicBezTo>
                          <a:pt x="0" y="30022"/>
                          <a:pt x="27064" y="0"/>
                          <a:pt x="60450" y="0"/>
                        </a:cubicBezTo>
                        <a:cubicBezTo>
                          <a:pt x="93836" y="0"/>
                          <a:pt x="120900" y="30022"/>
                          <a:pt x="120900" y="67056"/>
                        </a:cubicBezTo>
                        <a:close/>
                      </a:path>
                    </a:pathLst>
                  </a:custGeom>
                  <a:solidFill>
                    <a:srgbClr val="E3E7F7">
                      <a:alpha val="48000"/>
                    </a:srgbClr>
                  </a:solidFill>
                  <a:ln w="1201" cap="flat">
                    <a:noFill/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29791" name="Freeform 5">
                    <a:extLst>
                      <a:ext uri="{FF2B5EF4-FFF2-40B4-BE49-F238E27FC236}">
                        <a16:creationId xmlns:a16="http://schemas.microsoft.com/office/drawing/2014/main" id="{51603513-53D0-316D-4E32-D00BFFC51F1B}"/>
                      </a:ext>
                    </a:extLst>
                  </p:cNvPr>
                  <p:cNvSpPr/>
                  <p:nvPr/>
                </p:nvSpPr>
                <p:spPr>
                  <a:xfrm>
                    <a:off x="2532785" y="6027564"/>
                    <a:ext cx="69852" cy="118381"/>
                  </a:xfrm>
                  <a:custGeom>
                    <a:avLst/>
                    <a:gdLst>
                      <a:gd name="connsiteX0" fmla="*/ 53880 w 69942"/>
                      <a:gd name="connsiteY0" fmla="*/ 24616 h 117152"/>
                      <a:gd name="connsiteX1" fmla="*/ 68022 w 69942"/>
                      <a:gd name="connsiteY1" fmla="*/ 36040 h 117152"/>
                      <a:gd name="connsiteX2" fmla="*/ 69707 w 69942"/>
                      <a:gd name="connsiteY2" fmla="*/ 46732 h 117152"/>
                      <a:gd name="connsiteX3" fmla="*/ 63467 w 69942"/>
                      <a:gd name="connsiteY3" fmla="*/ 117153 h 117152"/>
                      <a:gd name="connsiteX4" fmla="*/ 56872 w 69942"/>
                      <a:gd name="connsiteY4" fmla="*/ 60314 h 117152"/>
                      <a:gd name="connsiteX5" fmla="*/ 30530 w 69942"/>
                      <a:gd name="connsiteY5" fmla="*/ 29175 h 117152"/>
                      <a:gd name="connsiteX6" fmla="*/ 0 w 69942"/>
                      <a:gd name="connsiteY6" fmla="*/ 0 h 117152"/>
                      <a:gd name="connsiteX7" fmla="*/ 53880 w 69942"/>
                      <a:gd name="connsiteY7" fmla="*/ 24616 h 1171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9942" h="117152">
                        <a:moveTo>
                          <a:pt x="53880" y="24616"/>
                        </a:moveTo>
                        <a:cubicBezTo>
                          <a:pt x="59461" y="27286"/>
                          <a:pt x="65457" y="30407"/>
                          <a:pt x="68022" y="36040"/>
                        </a:cubicBezTo>
                        <a:cubicBezTo>
                          <a:pt x="69524" y="39344"/>
                          <a:pt x="69634" y="43099"/>
                          <a:pt x="69707" y="46732"/>
                        </a:cubicBezTo>
                        <a:cubicBezTo>
                          <a:pt x="70195" y="70409"/>
                          <a:pt x="70611" y="94573"/>
                          <a:pt x="63467" y="117153"/>
                        </a:cubicBezTo>
                        <a:cubicBezTo>
                          <a:pt x="57360" y="98975"/>
                          <a:pt x="63467" y="78321"/>
                          <a:pt x="56872" y="60314"/>
                        </a:cubicBezTo>
                        <a:cubicBezTo>
                          <a:pt x="52036" y="47098"/>
                          <a:pt x="41240" y="37710"/>
                          <a:pt x="30530" y="29175"/>
                        </a:cubicBezTo>
                        <a:cubicBezTo>
                          <a:pt x="21139" y="21702"/>
                          <a:pt x="3664" y="11875"/>
                          <a:pt x="0" y="0"/>
                        </a:cubicBezTo>
                        <a:cubicBezTo>
                          <a:pt x="18147" y="4487"/>
                          <a:pt x="36930" y="16471"/>
                          <a:pt x="53880" y="246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201" cap="flat">
                    <a:noFill/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p:grpSp>
          </p:grpSp>
          <p:sp>
            <p:nvSpPr>
              <p:cNvPr id="29786" name="TextBox 32">
                <a:extLst>
                  <a:ext uri="{FF2B5EF4-FFF2-40B4-BE49-F238E27FC236}">
                    <a16:creationId xmlns:a16="http://schemas.microsoft.com/office/drawing/2014/main" id="{7DA11E0D-1C0A-B447-321A-A36C910DE6A0}"/>
                  </a:ext>
                </a:extLst>
              </p:cNvPr>
              <p:cNvSpPr txBox="1"/>
              <p:nvPr/>
            </p:nvSpPr>
            <p:spPr>
              <a:xfrm>
                <a:off x="2113772" y="5622206"/>
                <a:ext cx="1228842" cy="34836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>
                <a:spAutoFit/>
              </a:bodyPr>
              <a:lstStyle/>
              <a:p>
                <a:pPr defTabSz="514337"/>
                <a:r>
                  <a:rPr lang="de" sz="675" b="1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404040"/>
                    </a:solidFill>
                    <a:ea typeface="Arial"/>
                  </a:rPr>
                  <a:t>Betazellen</a:t>
                </a:r>
              </a:p>
            </p:txBody>
          </p:sp>
        </p:grpSp>
        <p:sp>
          <p:nvSpPr>
            <p:cNvPr id="29780" name="Freeform 310">
              <a:extLst>
                <a:ext uri="{FF2B5EF4-FFF2-40B4-BE49-F238E27FC236}">
                  <a16:creationId xmlns:a16="http://schemas.microsoft.com/office/drawing/2014/main" id="{DDA34F7B-3B8D-2F7F-7C01-06F353D62602}"/>
                </a:ext>
              </a:extLst>
            </p:cNvPr>
            <p:cNvSpPr/>
            <p:nvPr/>
          </p:nvSpPr>
          <p:spPr>
            <a:xfrm rot="5400000">
              <a:off x="2260234" y="4411063"/>
              <a:ext cx="61304" cy="3012053"/>
            </a:xfrm>
            <a:custGeom>
              <a:avLst/>
              <a:gdLst>
                <a:gd name="connsiteX0" fmla="*/ 185980 w 185980"/>
                <a:gd name="connsiteY0" fmla="*/ 0 h 1015139"/>
                <a:gd name="connsiteX1" fmla="*/ 0 w 185980"/>
                <a:gd name="connsiteY1" fmla="*/ 0 h 1015139"/>
                <a:gd name="connsiteX2" fmla="*/ 0 w 185980"/>
                <a:gd name="connsiteY2" fmla="*/ 1015139 h 1015139"/>
                <a:gd name="connsiteX3" fmla="*/ 185980 w 185980"/>
                <a:gd name="connsiteY3" fmla="*/ 1015139 h 1015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980" h="1015139">
                  <a:moveTo>
                    <a:pt x="185980" y="0"/>
                  </a:moveTo>
                  <a:lnTo>
                    <a:pt x="0" y="0"/>
                  </a:lnTo>
                  <a:lnTo>
                    <a:pt x="0" y="1015139"/>
                  </a:lnTo>
                  <a:lnTo>
                    <a:pt x="185980" y="1015139"/>
                  </a:lnTo>
                </a:path>
              </a:pathLst>
            </a:custGeom>
            <a:noFill/>
            <a:ln w="9525" cap="flat" cmpd="sng" algn="ctr">
              <a:solidFill>
                <a:srgbClr val="BFBFB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 defTabSz="514337"/>
              <a:endParaRPr lang="en-US" sz="1013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21566" name="Graphic 26">
              <a:extLst>
                <a:ext uri="{FF2B5EF4-FFF2-40B4-BE49-F238E27FC236}">
                  <a16:creationId xmlns:a16="http://schemas.microsoft.com/office/drawing/2014/main" id="{13F3052B-FFEC-9256-E418-CB0BB35E21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4487" y="5999585"/>
              <a:ext cx="289986" cy="2748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782" name="TextBox 27">
              <a:extLst>
                <a:ext uri="{FF2B5EF4-FFF2-40B4-BE49-F238E27FC236}">
                  <a16:creationId xmlns:a16="http://schemas.microsoft.com/office/drawing/2014/main" id="{89B54DD6-6814-8885-72A9-6EDF86EBA32C}"/>
                </a:ext>
              </a:extLst>
            </p:cNvPr>
            <p:cNvSpPr txBox="1"/>
            <p:nvPr/>
          </p:nvSpPr>
          <p:spPr>
            <a:xfrm>
              <a:off x="3299491" y="5992133"/>
              <a:ext cx="576235" cy="34836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none">
              <a:spAutoFit/>
            </a:bodyPr>
            <a:lstStyle/>
            <a:p>
              <a:pPr defTabSz="514337"/>
              <a:r>
                <a:rPr lang="de" sz="675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404040"/>
                  </a:solidFill>
                  <a:ea typeface="Arial"/>
                </a:rPr>
                <a:t>Tot</a:t>
              </a:r>
            </a:p>
          </p:txBody>
        </p:sp>
        <p:sp>
          <p:nvSpPr>
            <p:cNvPr id="29783" name="Freeform 676">
              <a:extLst>
                <a:ext uri="{FF2B5EF4-FFF2-40B4-BE49-F238E27FC236}">
                  <a16:creationId xmlns:a16="http://schemas.microsoft.com/office/drawing/2014/main" id="{A5E95860-F5FB-CDF6-35C1-8429FC8CAED5}"/>
                </a:ext>
              </a:extLst>
            </p:cNvPr>
            <p:cNvSpPr/>
            <p:nvPr/>
          </p:nvSpPr>
          <p:spPr>
            <a:xfrm rot="960000">
              <a:off x="7473609" y="6087261"/>
              <a:ext cx="31750" cy="42279"/>
            </a:xfrm>
            <a:custGeom>
              <a:avLst/>
              <a:gdLst>
                <a:gd name="connsiteX0" fmla="*/ 0 w 96767"/>
                <a:gd name="connsiteY0" fmla="*/ 150303 h 150303"/>
                <a:gd name="connsiteX1" fmla="*/ 70960 w 96767"/>
                <a:gd name="connsiteY1" fmla="*/ 66010 h 150303"/>
                <a:gd name="connsiteX2" fmla="*/ 96767 w 96767"/>
                <a:gd name="connsiteY2" fmla="*/ 0 h 150303"/>
                <a:gd name="connsiteX3" fmla="*/ 47276 w 96767"/>
                <a:gd name="connsiteY3" fmla="*/ 73536 h 150303"/>
                <a:gd name="connsiteX4" fmla="*/ 23277 w 96767"/>
                <a:gd name="connsiteY4" fmla="*/ 111682 h 150303"/>
                <a:gd name="connsiteX5" fmla="*/ 0 w 96767"/>
                <a:gd name="connsiteY5" fmla="*/ 150303 h 15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767" h="150303">
                  <a:moveTo>
                    <a:pt x="0" y="150303"/>
                  </a:moveTo>
                  <a:cubicBezTo>
                    <a:pt x="27276" y="125445"/>
                    <a:pt x="55163" y="99434"/>
                    <a:pt x="70960" y="66010"/>
                  </a:cubicBezTo>
                  <a:cubicBezTo>
                    <a:pt x="80587" y="45672"/>
                    <a:pt x="91095" y="21695"/>
                    <a:pt x="96767" y="0"/>
                  </a:cubicBezTo>
                  <a:cubicBezTo>
                    <a:pt x="78688" y="23051"/>
                    <a:pt x="63095" y="48971"/>
                    <a:pt x="47276" y="73536"/>
                  </a:cubicBezTo>
                  <a:cubicBezTo>
                    <a:pt x="39170" y="86191"/>
                    <a:pt x="31170" y="98906"/>
                    <a:pt x="23277" y="111682"/>
                  </a:cubicBezTo>
                  <a:cubicBezTo>
                    <a:pt x="16474" y="122733"/>
                    <a:pt x="9446" y="141625"/>
                    <a:pt x="0" y="150303"/>
                  </a:cubicBezTo>
                  <a:close/>
                </a:path>
              </a:pathLst>
            </a:custGeom>
            <a:solidFill>
              <a:srgbClr val="FFFFFF"/>
            </a:solidFill>
            <a:ln w="2228" cap="flat">
              <a:noFill/>
              <a:prstDash val="solid"/>
              <a:miter/>
            </a:ln>
          </p:spPr>
          <p:txBody>
            <a:bodyPr anchor="ctr"/>
            <a:lstStyle/>
            <a:p>
              <a:pPr defTabSz="514337"/>
              <a:endParaRPr lang="en-US" sz="1013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9725" name="TextBox 44">
            <a:extLst>
              <a:ext uri="{FF2B5EF4-FFF2-40B4-BE49-F238E27FC236}">
                <a16:creationId xmlns:a16="http://schemas.microsoft.com/office/drawing/2014/main" id="{F3496D2F-74F0-EA43-B8B0-C1CDC30A4BF5}"/>
              </a:ext>
            </a:extLst>
          </p:cNvPr>
          <p:cNvSpPr txBox="1"/>
          <p:nvPr/>
        </p:nvSpPr>
        <p:spPr>
          <a:xfrm>
            <a:off x="5923360" y="1865029"/>
            <a:ext cx="2104316" cy="17055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pPr marL="128585" indent="-128585">
              <a:spcBef>
                <a:spcPts val="675"/>
              </a:spcBef>
              <a:buClr>
                <a:srgbClr val="FBA329"/>
              </a:buClr>
              <a:buFont typeface="Arial" pitchFamily="34" charset="0"/>
              <a:buChar char="•"/>
            </a:pPr>
            <a:r>
              <a:rPr lang="de" sz="90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Im Rahmen eines prädisponierenden genetischen Hintergrunds reagiert das adaptive Immunsystem auf geschädigte Betazellen</a:t>
            </a:r>
            <a:r>
              <a:rPr lang="de" sz="900" baseline="3000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2</a:t>
            </a:r>
          </a:p>
          <a:p>
            <a:pPr marL="128585" indent="-128585">
              <a:spcBef>
                <a:spcPts val="675"/>
              </a:spcBef>
              <a:buClr>
                <a:srgbClr val="FBA329"/>
              </a:buClr>
              <a:buFont typeface="Arial" pitchFamily="34" charset="0"/>
              <a:buChar char="•"/>
            </a:pPr>
            <a:r>
              <a:rPr lang="de" sz="90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Autoreaktive T-Zellen zielen auf Betazellantigene in den Inseln der Bauchspeicheldrüse ab und verursachen weitere Betazellschäden und -tod</a:t>
            </a:r>
            <a:r>
              <a:rPr lang="de" sz="900" baseline="3000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2,3</a:t>
            </a:r>
          </a:p>
        </p:txBody>
      </p:sp>
      <p:grpSp>
        <p:nvGrpSpPr>
          <p:cNvPr id="21570" name="Group 47">
            <a:extLst>
              <a:ext uri="{FF2B5EF4-FFF2-40B4-BE49-F238E27FC236}">
                <a16:creationId xmlns:a16="http://schemas.microsoft.com/office/drawing/2014/main" id="{3B0C6786-54D6-761C-FD99-F3B21C89D982}"/>
              </a:ext>
            </a:extLst>
          </p:cNvPr>
          <p:cNvGrpSpPr>
            <a:grpSpLocks/>
          </p:cNvGrpSpPr>
          <p:nvPr/>
        </p:nvGrpSpPr>
        <p:grpSpPr bwMode="auto">
          <a:xfrm>
            <a:off x="3265885" y="1885950"/>
            <a:ext cx="2074069" cy="1749298"/>
            <a:chOff x="3804339" y="2210007"/>
            <a:chExt cx="3688249" cy="3109377"/>
          </a:xfrm>
        </p:grpSpPr>
        <p:sp>
          <p:nvSpPr>
            <p:cNvPr id="29740" name="insulin production text">
              <a:extLst>
                <a:ext uri="{FF2B5EF4-FFF2-40B4-BE49-F238E27FC236}">
                  <a16:creationId xmlns:a16="http://schemas.microsoft.com/office/drawing/2014/main" id="{90AC013A-7165-720E-0C25-AC30E3B4B7F3}"/>
                </a:ext>
              </a:extLst>
            </p:cNvPr>
            <p:cNvSpPr txBox="1"/>
            <p:nvPr/>
          </p:nvSpPr>
          <p:spPr>
            <a:xfrm>
              <a:off x="5089482" y="4724215"/>
              <a:ext cx="1990267" cy="59516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none">
              <a:spAutoFit/>
            </a:bodyPr>
            <a:lstStyle/>
            <a:p>
              <a:pPr algn="ctr" defTabSz="514337"/>
              <a:r>
                <a:rPr lang="de" sz="788" b="1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Normale</a:t>
              </a:r>
              <a:br>
                <a:rPr sz="788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a typeface="Arial"/>
                  <a:sym typeface="Wingdings"/>
                </a:rPr>
              </a:br>
              <a:r>
                <a:rPr lang="de" sz="788" b="1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Insulinsekretion</a:t>
              </a:r>
            </a:p>
          </p:txBody>
        </p:sp>
        <p:sp>
          <p:nvSpPr>
            <p:cNvPr id="29741" name="Freeform 102">
              <a:extLst>
                <a:ext uri="{FF2B5EF4-FFF2-40B4-BE49-F238E27FC236}">
                  <a16:creationId xmlns:a16="http://schemas.microsoft.com/office/drawing/2014/main" id="{3B5884BD-3CDC-C0C4-0057-6FEC68B6A98E}"/>
                </a:ext>
              </a:extLst>
            </p:cNvPr>
            <p:cNvSpPr>
              <a:spLocks/>
            </p:cNvSpPr>
            <p:nvPr/>
          </p:nvSpPr>
          <p:spPr bwMode="auto">
            <a:xfrm rot="21240000">
              <a:off x="3804339" y="2535923"/>
              <a:ext cx="1765786" cy="1015841"/>
            </a:xfrm>
            <a:custGeom>
              <a:avLst/>
              <a:gdLst>
                <a:gd name="T0" fmla="*/ 0 w 2336800"/>
                <a:gd name="T1" fmla="*/ 474133 h 1210733"/>
                <a:gd name="T2" fmla="*/ 2336800 w 2336800"/>
                <a:gd name="T3" fmla="*/ 0 h 1210733"/>
                <a:gd name="T4" fmla="*/ 2336800 w 2336800"/>
                <a:gd name="T5" fmla="*/ 1210733 h 1210733"/>
                <a:gd name="T6" fmla="*/ 0 w 2336800"/>
                <a:gd name="T7" fmla="*/ 474133 h 1210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36800" h="1210733">
                  <a:moveTo>
                    <a:pt x="0" y="474133"/>
                  </a:moveTo>
                  <a:lnTo>
                    <a:pt x="2336800" y="0"/>
                  </a:lnTo>
                  <a:lnTo>
                    <a:pt x="2336800" y="1210733"/>
                  </a:lnTo>
                  <a:lnTo>
                    <a:pt x="0" y="474133"/>
                  </a:lnTo>
                  <a:close/>
                </a:path>
              </a:pathLst>
            </a:custGeom>
            <a:gradFill rotWithShape="1">
              <a:gsLst>
                <a:gs pos="0">
                  <a:srgbClr val="E4E1F2">
                    <a:alpha val="25098"/>
                  </a:srgbClr>
                </a:gs>
                <a:gs pos="100000">
                  <a:srgbClr val="D1D7EE">
                    <a:alpha val="50195"/>
                  </a:srgbClr>
                </a:gs>
                <a:gs pos="65999">
                  <a:srgbClr val="D1D7EE">
                    <a:alpha val="41662"/>
                  </a:srgbClr>
                </a:gs>
                <a:gs pos="100000">
                  <a:srgbClr val="D1D7EE">
                    <a:alpha val="50195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 algn="ctr">
                  <a:solidFill>
                    <a:srgbClr val="00000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anchor="ctr"/>
            <a:lstStyle/>
            <a:p>
              <a:pPr algn="ctr" defTabSz="514337"/>
              <a:endParaRPr lang="en-US" sz="1013">
                <a:solidFill>
                  <a:srgbClr val="FFFFFF"/>
                </a:solidFill>
              </a:endParaRPr>
            </a:p>
          </p:txBody>
        </p:sp>
        <p:pic>
          <p:nvPicPr>
            <p:cNvPr id="21573" name="Graphic 67">
              <a:extLst>
                <a:ext uri="{FF2B5EF4-FFF2-40B4-BE49-F238E27FC236}">
                  <a16:creationId xmlns:a16="http://schemas.microsoft.com/office/drawing/2014/main" id="{C6E01433-F7C5-8A18-1AAD-F5B488975F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6805" y="2210007"/>
              <a:ext cx="1581586" cy="12444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1574" name="Group 68">
              <a:extLst>
                <a:ext uri="{FF2B5EF4-FFF2-40B4-BE49-F238E27FC236}">
                  <a16:creationId xmlns:a16="http://schemas.microsoft.com/office/drawing/2014/main" id="{4CBDE5C6-9E8D-E260-643E-46A21F629B6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20560" y="2763871"/>
              <a:ext cx="2372028" cy="1971105"/>
              <a:chOff x="5120560" y="2928900"/>
              <a:chExt cx="2372028" cy="1971105"/>
            </a:xfrm>
          </p:grpSpPr>
          <p:grpSp>
            <p:nvGrpSpPr>
              <p:cNvPr id="21575" name="Group 69">
                <a:extLst>
                  <a:ext uri="{FF2B5EF4-FFF2-40B4-BE49-F238E27FC236}">
                    <a16:creationId xmlns:a16="http://schemas.microsoft.com/office/drawing/2014/main" id="{894B35F9-E3E9-64D8-5556-70058FE94BE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578033" y="3486579"/>
                <a:ext cx="1598549" cy="1413426"/>
                <a:chOff x="7144804" y="3637722"/>
                <a:chExt cx="1598549" cy="1413426"/>
              </a:xfrm>
            </p:grpSpPr>
            <p:grpSp>
              <p:nvGrpSpPr>
                <p:cNvPr id="21576" name="insulin disappears">
                  <a:extLst>
                    <a:ext uri="{FF2B5EF4-FFF2-40B4-BE49-F238E27FC236}">
                      <a16:creationId xmlns:a16="http://schemas.microsoft.com/office/drawing/2014/main" id="{349E975B-07A5-ACC5-BCE2-38D5CDBF6E7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7583070" y="3637722"/>
                  <a:ext cx="1160283" cy="788034"/>
                  <a:chOff x="10578555" y="2109917"/>
                  <a:chExt cx="1160283" cy="788034"/>
                </a:xfrm>
              </p:grpSpPr>
              <p:pic>
                <p:nvPicPr>
                  <p:cNvPr id="21577" name="Graphic 1899">
                    <a:extLst>
                      <a:ext uri="{FF2B5EF4-FFF2-40B4-BE49-F238E27FC236}">
                        <a16:creationId xmlns:a16="http://schemas.microsoft.com/office/drawing/2014/main" id="{AD3F96B2-AD62-08C4-CE8F-7B91F5FAF8C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6300000">
                    <a:off x="10803502" y="2348537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78" name="Graphic 1900">
                    <a:extLst>
                      <a:ext uri="{FF2B5EF4-FFF2-40B4-BE49-F238E27FC236}">
                        <a16:creationId xmlns:a16="http://schemas.microsoft.com/office/drawing/2014/main" id="{FD8F9C3E-9E5F-574C-25C7-123E65BBF5E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3740000">
                    <a:off x="10536264" y="2152208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79" name="Graphic 1901">
                    <a:extLst>
                      <a:ext uri="{FF2B5EF4-FFF2-40B4-BE49-F238E27FC236}">
                        <a16:creationId xmlns:a16="http://schemas.microsoft.com/office/drawing/2014/main" id="{8DBB0EBF-CC59-2DC9-E1A4-7C917876DA57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3740000">
                    <a:off x="11415369" y="2287567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80" name="Graphic 1902">
                    <a:extLst>
                      <a:ext uri="{FF2B5EF4-FFF2-40B4-BE49-F238E27FC236}">
                        <a16:creationId xmlns:a16="http://schemas.microsoft.com/office/drawing/2014/main" id="{D976DCBB-9066-4408-194B-DF747C260F9F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3740000">
                    <a:off x="11383255" y="2574482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grpSp>
              <p:nvGrpSpPr>
                <p:cNvPr id="21581" name="insulin group">
                  <a:extLst>
                    <a:ext uri="{FF2B5EF4-FFF2-40B4-BE49-F238E27FC236}">
                      <a16:creationId xmlns:a16="http://schemas.microsoft.com/office/drawing/2014/main" id="{BD59830B-FA7B-6D0F-C5A2-36ED2F35554C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7144804" y="3753486"/>
                  <a:ext cx="1492796" cy="1297662"/>
                  <a:chOff x="10140289" y="2225681"/>
                  <a:chExt cx="1492796" cy="1297662"/>
                </a:xfrm>
              </p:grpSpPr>
              <p:pic>
                <p:nvPicPr>
                  <p:cNvPr id="21582" name="Graphic 1905">
                    <a:extLst>
                      <a:ext uri="{FF2B5EF4-FFF2-40B4-BE49-F238E27FC236}">
                        <a16:creationId xmlns:a16="http://schemas.microsoft.com/office/drawing/2014/main" id="{4F0D853B-D546-1C6C-E3E8-FCED298D85C3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9800000">
                    <a:off x="10140289" y="2969214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83" name="Graphic 1906">
                    <a:extLst>
                      <a:ext uri="{FF2B5EF4-FFF2-40B4-BE49-F238E27FC236}">
                        <a16:creationId xmlns:a16="http://schemas.microsoft.com/office/drawing/2014/main" id="{BC8F21D8-4283-476B-70D5-9FAE735111AE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440000">
                    <a:off x="10375675" y="2774418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84" name="Graphic 1907">
                    <a:extLst>
                      <a:ext uri="{FF2B5EF4-FFF2-40B4-BE49-F238E27FC236}">
                        <a16:creationId xmlns:a16="http://schemas.microsoft.com/office/drawing/2014/main" id="{EFD6C05B-9070-2426-0F2C-E3463B6A393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6180000">
                    <a:off x="10404505" y="3072802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85" name="Graphic 1908">
                    <a:extLst>
                      <a:ext uri="{FF2B5EF4-FFF2-40B4-BE49-F238E27FC236}">
                        <a16:creationId xmlns:a16="http://schemas.microsoft.com/office/drawing/2014/main" id="{E611C813-E95A-3F32-13DD-BC5B07F9B7B2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020000">
                    <a:off x="10680289" y="3026767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86" name="Graphic 1910">
                    <a:extLst>
                      <a:ext uri="{FF2B5EF4-FFF2-40B4-BE49-F238E27FC236}">
                        <a16:creationId xmlns:a16="http://schemas.microsoft.com/office/drawing/2014/main" id="{22F16DD0-D1E1-DCAE-E602-5BBAB877C16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9440000">
                    <a:off x="10627571" y="2672137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87" name="Graphic 1911">
                    <a:extLst>
                      <a:ext uri="{FF2B5EF4-FFF2-40B4-BE49-F238E27FC236}">
                        <a16:creationId xmlns:a16="http://schemas.microsoft.com/office/drawing/2014/main" id="{C0223A71-40FF-E90A-AAB6-0AA125DFBB88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0506253" y="2469597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88" name="Graphic 1912">
                    <a:extLst>
                      <a:ext uri="{FF2B5EF4-FFF2-40B4-BE49-F238E27FC236}">
                        <a16:creationId xmlns:a16="http://schemas.microsoft.com/office/drawing/2014/main" id="{E9379577-929F-E393-D6CA-2F95A5B0A736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0939176" y="2595126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89" name="Graphic 1913">
                    <a:extLst>
                      <a:ext uri="{FF2B5EF4-FFF2-40B4-BE49-F238E27FC236}">
                        <a16:creationId xmlns:a16="http://schemas.microsoft.com/office/drawing/2014/main" id="{5D018D70-B0FA-6BCF-BA36-583B942A3338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9720000">
                    <a:off x="10852637" y="2859216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90" name="Graphic 1914">
                    <a:extLst>
                      <a:ext uri="{FF2B5EF4-FFF2-40B4-BE49-F238E27FC236}">
                        <a16:creationId xmlns:a16="http://schemas.microsoft.com/office/drawing/2014/main" id="{4D1FF371-4100-D64D-A33D-733D67439265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080000">
                    <a:off x="10871343" y="3242165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91" name="Graphic 1917">
                    <a:extLst>
                      <a:ext uri="{FF2B5EF4-FFF2-40B4-BE49-F238E27FC236}">
                        <a16:creationId xmlns:a16="http://schemas.microsoft.com/office/drawing/2014/main" id="{4BF3BDE2-52B6-3619-BA7A-07C2D94CD05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1193464" y="2715641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92" name="Graphic 1918">
                    <a:extLst>
                      <a:ext uri="{FF2B5EF4-FFF2-40B4-BE49-F238E27FC236}">
                        <a16:creationId xmlns:a16="http://schemas.microsoft.com/office/drawing/2014/main" id="{7CB98B15-004E-97A5-BB0D-BC7ED54C1A62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2100000">
                    <a:off x="11029679" y="3059833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93" name="Graphic 1919">
                    <a:extLst>
                      <a:ext uri="{FF2B5EF4-FFF2-40B4-BE49-F238E27FC236}">
                        <a16:creationId xmlns:a16="http://schemas.microsoft.com/office/drawing/2014/main" id="{A04C7C50-84EA-4C00-8569-7783AE326A4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1280000">
                    <a:off x="11267325" y="2957579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94" name="Graphic 1920">
                    <a:extLst>
                      <a:ext uri="{FF2B5EF4-FFF2-40B4-BE49-F238E27FC236}">
                        <a16:creationId xmlns:a16="http://schemas.microsoft.com/office/drawing/2014/main" id="{05B4A590-B54B-0FCF-1050-F617F8C15A5B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8480000">
                    <a:off x="10142957" y="2554358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95" name="Graphic 1921">
                    <a:extLst>
                      <a:ext uri="{FF2B5EF4-FFF2-40B4-BE49-F238E27FC236}">
                        <a16:creationId xmlns:a16="http://schemas.microsoft.com/office/drawing/2014/main" id="{1D5983A1-4078-976B-0847-CD4B830F411E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9380000">
                    <a:off x="11139000" y="2388272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596" name="Graphic 1922">
                    <a:extLst>
                      <a:ext uri="{FF2B5EF4-FFF2-40B4-BE49-F238E27FC236}">
                        <a16:creationId xmlns:a16="http://schemas.microsoft.com/office/drawing/2014/main" id="{45AECF76-4E96-D2A2-6289-37BD22A68B25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3740000">
                    <a:off x="10224491" y="2267972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</p:grpSp>
          <p:grpSp>
            <p:nvGrpSpPr>
              <p:cNvPr id="21597" name="Group 70">
                <a:extLst>
                  <a:ext uri="{FF2B5EF4-FFF2-40B4-BE49-F238E27FC236}">
                    <a16:creationId xmlns:a16="http://schemas.microsoft.com/office/drawing/2014/main" id="{165B4AB2-A867-7E44-9B33-ADD2CF91B8B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20560" y="2928900"/>
                <a:ext cx="2372028" cy="943116"/>
                <a:chOff x="5463239" y="2204556"/>
                <a:chExt cx="2509535" cy="997788"/>
              </a:xfrm>
            </p:grpSpPr>
            <p:grpSp>
              <p:nvGrpSpPr>
                <p:cNvPr id="21598" name="Group 72">
                  <a:extLst>
                    <a:ext uri="{FF2B5EF4-FFF2-40B4-BE49-F238E27FC236}">
                      <a16:creationId xmlns:a16="http://schemas.microsoft.com/office/drawing/2014/main" id="{74824DD6-D06D-E025-04A2-4E7AEBF77C3C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463239" y="2204556"/>
                  <a:ext cx="1813880" cy="939006"/>
                  <a:chOff x="7789815" y="2098273"/>
                  <a:chExt cx="1813880" cy="939006"/>
                </a:xfrm>
              </p:grpSpPr>
              <p:pic>
                <p:nvPicPr>
                  <p:cNvPr id="21599" name="Graphic 116">
                    <a:extLst>
                      <a:ext uri="{FF2B5EF4-FFF2-40B4-BE49-F238E27FC236}">
                        <a16:creationId xmlns:a16="http://schemas.microsoft.com/office/drawing/2014/main" id="{ABDFE968-2984-FA8D-3621-E5F8545B4EDE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21120000">
                    <a:off x="9216732" y="2739801"/>
                    <a:ext cx="386963" cy="2974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600" name="Graphic 117">
                    <a:extLst>
                      <a:ext uri="{FF2B5EF4-FFF2-40B4-BE49-F238E27FC236}">
                        <a16:creationId xmlns:a16="http://schemas.microsoft.com/office/drawing/2014/main" id="{D6297EAB-FFE1-A9C7-A277-2E498F646494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440000">
                    <a:off x="7886081" y="2331831"/>
                    <a:ext cx="386963" cy="2974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601" name="Graphic 118">
                    <a:extLst>
                      <a:ext uri="{FF2B5EF4-FFF2-40B4-BE49-F238E27FC236}">
                        <a16:creationId xmlns:a16="http://schemas.microsoft.com/office/drawing/2014/main" id="{DF58BCC5-60DD-B665-917B-E58CA5F3AD6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440000">
                    <a:off x="8902796" y="2485648"/>
                    <a:ext cx="386963" cy="2974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602" name="Graphic 119">
                    <a:extLst>
                      <a:ext uri="{FF2B5EF4-FFF2-40B4-BE49-F238E27FC236}">
                        <a16:creationId xmlns:a16="http://schemas.microsoft.com/office/drawing/2014/main" id="{29A5EEC2-F6CC-E68C-3905-1943C844A7A7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0800000">
                    <a:off x="8104137" y="2575709"/>
                    <a:ext cx="386963" cy="2974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603" name="Graphic 120">
                    <a:extLst>
                      <a:ext uri="{FF2B5EF4-FFF2-40B4-BE49-F238E27FC236}">
                        <a16:creationId xmlns:a16="http://schemas.microsoft.com/office/drawing/2014/main" id="{6727D89D-D020-AC4B-86F1-7D0783E2A31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2600000">
                    <a:off x="7789815" y="2098273"/>
                    <a:ext cx="386963" cy="2974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pic>
              <p:nvPicPr>
                <p:cNvPr id="21604" name="Graphic 109">
                  <a:extLst>
                    <a:ext uri="{FF2B5EF4-FFF2-40B4-BE49-F238E27FC236}">
                      <a16:creationId xmlns:a16="http://schemas.microsoft.com/office/drawing/2014/main" id="{F9AE4765-CE2B-96B9-3CA2-8DE4AFB19C9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480000">
                  <a:off x="7585811" y="2648010"/>
                  <a:ext cx="386963" cy="2974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1605" name="Graphic 110">
                  <a:extLst>
                    <a:ext uri="{FF2B5EF4-FFF2-40B4-BE49-F238E27FC236}">
                      <a16:creationId xmlns:a16="http://schemas.microsoft.com/office/drawing/2014/main" id="{5B3819BA-13E7-E237-93F8-152D0A73684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1440000">
                  <a:off x="7585811" y="2904866"/>
                  <a:ext cx="386963" cy="2974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1606" name="Graphic 111">
                  <a:extLst>
                    <a:ext uri="{FF2B5EF4-FFF2-40B4-BE49-F238E27FC236}">
                      <a16:creationId xmlns:a16="http://schemas.microsoft.com/office/drawing/2014/main" id="{14FAEAF9-434F-86F3-C0EF-D7066D3651C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4140000">
                  <a:off x="7159363" y="2708283"/>
                  <a:ext cx="386963" cy="2974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21607" name="Graphic 106">
                <a:extLst>
                  <a:ext uri="{FF2B5EF4-FFF2-40B4-BE49-F238E27FC236}">
                    <a16:creationId xmlns:a16="http://schemas.microsoft.com/office/drawing/2014/main" id="{556317F4-CA5A-D51E-DE6A-9F85B98645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0800000">
                <a:off x="5754264" y="3374625"/>
                <a:ext cx="365760" cy="281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21608" name="Group 127">
            <a:extLst>
              <a:ext uri="{FF2B5EF4-FFF2-40B4-BE49-F238E27FC236}">
                <a16:creationId xmlns:a16="http://schemas.microsoft.com/office/drawing/2014/main" id="{6DBB9F1A-BDA3-43B4-5121-CA1595EE734C}"/>
              </a:ext>
            </a:extLst>
          </p:cNvPr>
          <p:cNvGrpSpPr>
            <a:grpSpLocks/>
          </p:cNvGrpSpPr>
          <p:nvPr/>
        </p:nvGrpSpPr>
        <p:grpSpPr bwMode="auto">
          <a:xfrm>
            <a:off x="2026444" y="2541985"/>
            <a:ext cx="646510" cy="592931"/>
            <a:chOff x="1570220" y="3375280"/>
            <a:chExt cx="1148933" cy="1055042"/>
          </a:xfrm>
        </p:grpSpPr>
        <p:grpSp>
          <p:nvGrpSpPr>
            <p:cNvPr id="21609" name="Graphic 182">
              <a:extLst>
                <a:ext uri="{FF2B5EF4-FFF2-40B4-BE49-F238E27FC236}">
                  <a16:creationId xmlns:a16="http://schemas.microsoft.com/office/drawing/2014/main" id="{6CDA2440-79BD-D1CF-5CA4-D9E8A2CBFB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43793" y="3488056"/>
              <a:ext cx="466344" cy="457200"/>
              <a:chOff x="5954148" y="2015806"/>
              <a:chExt cx="585985" cy="553270"/>
            </a:xfrm>
          </p:grpSpPr>
          <p:sp>
            <p:nvSpPr>
              <p:cNvPr id="29737" name="Freeform 10">
                <a:extLst>
                  <a:ext uri="{FF2B5EF4-FFF2-40B4-BE49-F238E27FC236}">
                    <a16:creationId xmlns:a16="http://schemas.microsoft.com/office/drawing/2014/main" id="{6A867774-DA42-4CC5-7C65-88EB16755D96}"/>
                  </a:ext>
                </a:extLst>
              </p:cNvPr>
              <p:cNvSpPr/>
              <p:nvPr/>
            </p:nvSpPr>
            <p:spPr>
              <a:xfrm>
                <a:off x="5954061" y="2015210"/>
                <a:ext cx="584922" cy="553764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29738" name="Freeform 11">
                <a:extLst>
                  <a:ext uri="{FF2B5EF4-FFF2-40B4-BE49-F238E27FC236}">
                    <a16:creationId xmlns:a16="http://schemas.microsoft.com/office/drawing/2014/main" id="{06353B5E-94A5-3ECD-7E7C-3C51455E888C}"/>
                  </a:ext>
                </a:extLst>
              </p:cNvPr>
              <p:cNvSpPr/>
              <p:nvPr/>
            </p:nvSpPr>
            <p:spPr>
              <a:xfrm>
                <a:off x="6129537" y="2192108"/>
                <a:ext cx="249921" cy="276882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29739" name="Freeform 12">
                <a:extLst>
                  <a:ext uri="{FF2B5EF4-FFF2-40B4-BE49-F238E27FC236}">
                    <a16:creationId xmlns:a16="http://schemas.microsoft.com/office/drawing/2014/main" id="{C72AC30B-934A-943E-FA24-00B45F04FA46}"/>
                  </a:ext>
                </a:extLst>
              </p:cNvPr>
              <p:cNvSpPr/>
              <p:nvPr/>
            </p:nvSpPr>
            <p:spPr>
              <a:xfrm>
                <a:off x="6347554" y="2102377"/>
                <a:ext cx="143572" cy="243554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1613" name="Graphic 182">
              <a:extLst>
                <a:ext uri="{FF2B5EF4-FFF2-40B4-BE49-F238E27FC236}">
                  <a16:creationId xmlns:a16="http://schemas.microsoft.com/office/drawing/2014/main" id="{CBF05CA8-A786-B6AD-D5AB-4A883B7FC03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52809" y="3375280"/>
              <a:ext cx="466344" cy="457200"/>
              <a:chOff x="5954148" y="2015806"/>
              <a:chExt cx="585985" cy="553270"/>
            </a:xfrm>
          </p:grpSpPr>
          <p:sp>
            <p:nvSpPr>
              <p:cNvPr id="29734" name="Freeform 10">
                <a:extLst>
                  <a:ext uri="{FF2B5EF4-FFF2-40B4-BE49-F238E27FC236}">
                    <a16:creationId xmlns:a16="http://schemas.microsoft.com/office/drawing/2014/main" id="{B0367E23-E723-0573-07B8-F28467462773}"/>
                  </a:ext>
                </a:extLst>
              </p:cNvPr>
              <p:cNvSpPr/>
              <p:nvPr/>
            </p:nvSpPr>
            <p:spPr>
              <a:xfrm>
                <a:off x="5955211" y="2015806"/>
                <a:ext cx="584922" cy="553764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29735" name="Freeform 11">
                <a:extLst>
                  <a:ext uri="{FF2B5EF4-FFF2-40B4-BE49-F238E27FC236}">
                    <a16:creationId xmlns:a16="http://schemas.microsoft.com/office/drawing/2014/main" id="{2B95907F-5925-9D00-26BB-DACEC25A0FA4}"/>
                  </a:ext>
                </a:extLst>
              </p:cNvPr>
              <p:cNvSpPr/>
              <p:nvPr/>
            </p:nvSpPr>
            <p:spPr>
              <a:xfrm>
                <a:off x="6130688" y="2192702"/>
                <a:ext cx="249921" cy="276882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29736" name="Freeform 12">
                <a:extLst>
                  <a:ext uri="{FF2B5EF4-FFF2-40B4-BE49-F238E27FC236}">
                    <a16:creationId xmlns:a16="http://schemas.microsoft.com/office/drawing/2014/main" id="{E30DA8CC-8D9B-F5F8-F25F-21E2293755EC}"/>
                  </a:ext>
                </a:extLst>
              </p:cNvPr>
              <p:cNvSpPr/>
              <p:nvPr/>
            </p:nvSpPr>
            <p:spPr>
              <a:xfrm>
                <a:off x="6348704" y="2102973"/>
                <a:ext cx="143572" cy="243553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pic>
          <p:nvPicPr>
            <p:cNvPr id="21617" name="Graphic 1893">
              <a:extLst>
                <a:ext uri="{FF2B5EF4-FFF2-40B4-BE49-F238E27FC236}">
                  <a16:creationId xmlns:a16="http://schemas.microsoft.com/office/drawing/2014/main" id="{078B3508-3BD4-37C1-D860-42AB003538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0220" y="3989662"/>
              <a:ext cx="465497" cy="440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1618" name="T-Cells infiltrate 4">
            <a:extLst>
              <a:ext uri="{FF2B5EF4-FFF2-40B4-BE49-F238E27FC236}">
                <a16:creationId xmlns:a16="http://schemas.microsoft.com/office/drawing/2014/main" id="{454E1F5E-23F4-332C-9DFF-1D9974E73D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6894" y="2088356"/>
            <a:ext cx="129779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619" name="T-Cells infiltrate 4">
            <a:extLst>
              <a:ext uri="{FF2B5EF4-FFF2-40B4-BE49-F238E27FC236}">
                <a16:creationId xmlns:a16="http://schemas.microsoft.com/office/drawing/2014/main" id="{F7185444-4890-2935-C6C1-AB38C653F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9641" y="1864519"/>
            <a:ext cx="128588" cy="148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620" name="T-Cells infiltrate 4">
            <a:extLst>
              <a:ext uri="{FF2B5EF4-FFF2-40B4-BE49-F238E27FC236}">
                <a16:creationId xmlns:a16="http://schemas.microsoft.com/office/drawing/2014/main" id="{4BA169FB-5DFE-A536-4F03-CFC8577B5A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1410" y="2999185"/>
            <a:ext cx="128588" cy="148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037">
            <a:extLst>
              <a:ext uri="{FF2B5EF4-FFF2-40B4-BE49-F238E27FC236}">
                <a16:creationId xmlns:a16="http://schemas.microsoft.com/office/drawing/2014/main" id="{1536F20C-F4C0-1502-B860-DC69E46AD42A}"/>
              </a:ext>
            </a:extLst>
          </p:cNvPr>
          <p:cNvSpPr txBox="1"/>
          <p:nvPr/>
        </p:nvSpPr>
        <p:spPr>
          <a:xfrm>
            <a:off x="363945" y="4923221"/>
            <a:ext cx="7319358" cy="18466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685766">
              <a:buClr>
                <a:srgbClr val="2F4B95"/>
              </a:buClr>
              <a:defRPr/>
            </a:pP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1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Insel RA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et al. Diabetes Care 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2015; 38: 1964–74. </a:t>
            </a: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2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van Belle TL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et al. Physiole Rev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2011; 91: 79–118. </a:t>
            </a: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3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Pugliese A.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J Clin Invest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2017; 127: 2881–91.</a:t>
            </a:r>
            <a:endParaRPr lang="en-US" sz="600" dirty="0">
              <a:solidFill>
                <a:srgbClr val="404040"/>
              </a:solidFill>
            </a:endParaRPr>
          </a:p>
        </p:txBody>
      </p:sp>
      <p:sp>
        <p:nvSpPr>
          <p:cNvPr id="6" name="TextBox 28">
            <a:extLst>
              <a:ext uri="{FF2B5EF4-FFF2-40B4-BE49-F238E27FC236}">
                <a16:creationId xmlns:a16="http://schemas.microsoft.com/office/drawing/2014/main" id="{75C92CB9-22A1-C20B-82C4-C3470CAD99FA}"/>
              </a:ext>
            </a:extLst>
          </p:cNvPr>
          <p:cNvSpPr txBox="1"/>
          <p:nvPr/>
        </p:nvSpPr>
        <p:spPr>
          <a:xfrm>
            <a:off x="363945" y="4463013"/>
            <a:ext cx="6488192" cy="3462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anchor="b">
            <a:spAutoFit/>
          </a:bodyPr>
          <a:lstStyle/>
          <a:p>
            <a:pPr defTabSz="514337">
              <a:spcAft>
                <a:spcPts val="338"/>
              </a:spcAft>
            </a:pPr>
            <a:r>
              <a:rPr lang="de" sz="7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404040"/>
                </a:solidFill>
                <a:ea typeface="Arial"/>
              </a:rPr>
              <a:t>T1D: Typ-1-Diabetes.</a:t>
            </a:r>
          </a:p>
          <a:p>
            <a:pPr defTabSz="514337">
              <a:spcAft>
                <a:spcPts val="338"/>
              </a:spcAft>
            </a:pPr>
            <a:r>
              <a:rPr lang="de" sz="7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404040"/>
                </a:solidFill>
                <a:ea typeface="Arial"/>
              </a:rPr>
              <a:t>Hinweis: Abbildung ist ein Beispiel für Veranschaulichungszwecke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Graphic 107">
            <a:extLst>
              <a:ext uri="{FF2B5EF4-FFF2-40B4-BE49-F238E27FC236}">
                <a16:creationId xmlns:a16="http://schemas.microsoft.com/office/drawing/2014/main" id="{E78C232A-2D18-7239-324A-6EA8D448BD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2206" y="2545557"/>
            <a:ext cx="26312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1" name="Graphic 108">
            <a:extLst>
              <a:ext uri="{FF2B5EF4-FFF2-40B4-BE49-F238E27FC236}">
                <a16:creationId xmlns:a16="http://schemas.microsoft.com/office/drawing/2014/main" id="{2408383B-EA65-3DFD-EFF2-9F48263F72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0807" y="2376488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2" name="Graphic 112">
            <a:extLst>
              <a:ext uri="{FF2B5EF4-FFF2-40B4-BE49-F238E27FC236}">
                <a16:creationId xmlns:a16="http://schemas.microsoft.com/office/drawing/2014/main" id="{428E4851-AB7D-E8FB-1E3F-295F57C242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573" y="2664619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3" name="Graphic 114">
            <a:extLst>
              <a:ext uri="{FF2B5EF4-FFF2-40B4-BE49-F238E27FC236}">
                <a16:creationId xmlns:a16="http://schemas.microsoft.com/office/drawing/2014/main" id="{DD41198E-3664-EC0E-C2C3-901AF9ADE1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0085" y="2112169"/>
            <a:ext cx="26431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4" name="Graphic 115">
            <a:extLst>
              <a:ext uri="{FF2B5EF4-FFF2-40B4-BE49-F238E27FC236}">
                <a16:creationId xmlns:a16="http://schemas.microsoft.com/office/drawing/2014/main" id="{A62A5FC8-8D14-61CB-9A72-21DF3187EF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5632" y="2203847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5" name="Graphic 121">
            <a:extLst>
              <a:ext uri="{FF2B5EF4-FFF2-40B4-BE49-F238E27FC236}">
                <a16:creationId xmlns:a16="http://schemas.microsoft.com/office/drawing/2014/main" id="{355AEAD8-FB63-3FC1-6E61-373F743F2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9888" y="2409826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6" name="Graphic 122">
            <a:extLst>
              <a:ext uri="{FF2B5EF4-FFF2-40B4-BE49-F238E27FC236}">
                <a16:creationId xmlns:a16="http://schemas.microsoft.com/office/drawing/2014/main" id="{C2F755A2-F846-4FEA-AB04-33D3788DFD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2885" y="2607469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7" name="Graphic 123">
            <a:extLst>
              <a:ext uri="{FF2B5EF4-FFF2-40B4-BE49-F238E27FC236}">
                <a16:creationId xmlns:a16="http://schemas.microsoft.com/office/drawing/2014/main" id="{F9AA170C-E1F1-B3E3-508D-0D373C0D86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3860" y="2813447"/>
            <a:ext cx="26431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8" name="Graphic 124">
            <a:extLst>
              <a:ext uri="{FF2B5EF4-FFF2-40B4-BE49-F238E27FC236}">
                <a16:creationId xmlns:a16="http://schemas.microsoft.com/office/drawing/2014/main" id="{A8977EB0-347F-B717-1AF1-7FF5ABD77D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9604" y="2953941"/>
            <a:ext cx="26431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9" name="Graphic 125">
            <a:extLst>
              <a:ext uri="{FF2B5EF4-FFF2-40B4-BE49-F238E27FC236}">
                <a16:creationId xmlns:a16="http://schemas.microsoft.com/office/drawing/2014/main" id="{9B1541B6-E040-067D-0E48-EA875E60DE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4163" y="2915841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40" name="Graphic 126">
            <a:extLst>
              <a:ext uri="{FF2B5EF4-FFF2-40B4-BE49-F238E27FC236}">
                <a16:creationId xmlns:a16="http://schemas.microsoft.com/office/drawing/2014/main" id="{E023751E-C29A-741D-2169-7DEAF6A844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025" y="2146697"/>
            <a:ext cx="26312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41" name="Graphic 1855">
            <a:extLst>
              <a:ext uri="{FF2B5EF4-FFF2-40B4-BE49-F238E27FC236}">
                <a16:creationId xmlns:a16="http://schemas.microsoft.com/office/drawing/2014/main" id="{62D0A5D4-9589-C7E8-B1A8-F748EC7467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7754" y="2671763"/>
            <a:ext cx="263128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42" name="Graphic 1856">
            <a:extLst>
              <a:ext uri="{FF2B5EF4-FFF2-40B4-BE49-F238E27FC236}">
                <a16:creationId xmlns:a16="http://schemas.microsoft.com/office/drawing/2014/main" id="{1249E109-21EE-9F5D-1816-CDB9BD36A0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8969" y="2463403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43" name="Graphic 1857">
            <a:extLst>
              <a:ext uri="{FF2B5EF4-FFF2-40B4-BE49-F238E27FC236}">
                <a16:creationId xmlns:a16="http://schemas.microsoft.com/office/drawing/2014/main" id="{6DE40824-ABDD-178C-B119-A5415D199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9912" y="2906316"/>
            <a:ext cx="26312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44" name="Graphic 1858">
            <a:extLst>
              <a:ext uri="{FF2B5EF4-FFF2-40B4-BE49-F238E27FC236}">
                <a16:creationId xmlns:a16="http://schemas.microsoft.com/office/drawing/2014/main" id="{3CCC4D24-8030-AC3A-D92B-0EBFB560BD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5044" y="3087291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45" name="Graphic 1860">
            <a:extLst>
              <a:ext uri="{FF2B5EF4-FFF2-40B4-BE49-F238E27FC236}">
                <a16:creationId xmlns:a16="http://schemas.microsoft.com/office/drawing/2014/main" id="{F081923B-7A8E-C0EA-27A5-B420F45ADA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3563" y="2547938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46" name="Graphic 1861">
            <a:extLst>
              <a:ext uri="{FF2B5EF4-FFF2-40B4-BE49-F238E27FC236}">
                <a16:creationId xmlns:a16="http://schemas.microsoft.com/office/drawing/2014/main" id="{E6E15BA2-7311-6470-4546-0898D25A93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6957" y="2016919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547" name="Group 1863">
            <a:extLst>
              <a:ext uri="{FF2B5EF4-FFF2-40B4-BE49-F238E27FC236}">
                <a16:creationId xmlns:a16="http://schemas.microsoft.com/office/drawing/2014/main" id="{0FD38D76-42B5-F4F9-7B7E-CB465C5C32EC}"/>
              </a:ext>
            </a:extLst>
          </p:cNvPr>
          <p:cNvGrpSpPr>
            <a:grpSpLocks/>
          </p:cNvGrpSpPr>
          <p:nvPr/>
        </p:nvGrpSpPr>
        <p:grpSpPr bwMode="auto">
          <a:xfrm>
            <a:off x="2027635" y="2287191"/>
            <a:ext cx="571500" cy="845344"/>
            <a:chOff x="1572846" y="2923462"/>
            <a:chExt cx="1015371" cy="1501691"/>
          </a:xfrm>
        </p:grpSpPr>
        <p:pic>
          <p:nvPicPr>
            <p:cNvPr id="22548" name="Graphic 103">
              <a:extLst>
                <a:ext uri="{FF2B5EF4-FFF2-40B4-BE49-F238E27FC236}">
                  <a16:creationId xmlns:a16="http://schemas.microsoft.com/office/drawing/2014/main" id="{7552419E-8638-AD8C-06FD-D91F79CB3A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8608" y="2923462"/>
              <a:ext cx="469609" cy="446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49" name="Graphic 1859">
              <a:extLst>
                <a:ext uri="{FF2B5EF4-FFF2-40B4-BE49-F238E27FC236}">
                  <a16:creationId xmlns:a16="http://schemas.microsoft.com/office/drawing/2014/main" id="{D36FA835-E321-F988-3AAA-81387C6E19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27845" y="3020755"/>
              <a:ext cx="469609" cy="446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50" name="Graphic 1862">
              <a:extLst>
                <a:ext uri="{FF2B5EF4-FFF2-40B4-BE49-F238E27FC236}">
                  <a16:creationId xmlns:a16="http://schemas.microsoft.com/office/drawing/2014/main" id="{EC4409FD-7BAB-259C-7F03-69A75AFACF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846" y="3978875"/>
              <a:ext cx="469609" cy="4462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553" name="damaged beta cells">
            <a:extLst>
              <a:ext uri="{FF2B5EF4-FFF2-40B4-BE49-F238E27FC236}">
                <a16:creationId xmlns:a16="http://schemas.microsoft.com/office/drawing/2014/main" id="{1627BBD9-B12A-6F86-D3DF-2ACB61371552}"/>
              </a:ext>
            </a:extLst>
          </p:cNvPr>
          <p:cNvGrpSpPr>
            <a:grpSpLocks/>
          </p:cNvGrpSpPr>
          <p:nvPr/>
        </p:nvGrpSpPr>
        <p:grpSpPr bwMode="auto">
          <a:xfrm>
            <a:off x="2030017" y="2290763"/>
            <a:ext cx="564356" cy="838200"/>
            <a:chOff x="5883325" y="1893112"/>
            <a:chExt cx="1287711" cy="1892793"/>
          </a:xfrm>
        </p:grpSpPr>
        <p:grpSp>
          <p:nvGrpSpPr>
            <p:cNvPr id="22554" name="Graphic 181">
              <a:extLst>
                <a:ext uri="{FF2B5EF4-FFF2-40B4-BE49-F238E27FC236}">
                  <a16:creationId xmlns:a16="http://schemas.microsoft.com/office/drawing/2014/main" id="{241C294A-D525-5687-4F64-226299F08B4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585051" y="1893112"/>
              <a:ext cx="585985" cy="553270"/>
              <a:chOff x="6585051" y="1893112"/>
              <a:chExt cx="585985" cy="553270"/>
            </a:xfrm>
          </p:grpSpPr>
          <p:sp>
            <p:nvSpPr>
              <p:cNvPr id="31870" name="Freeform 2">
                <a:extLst>
                  <a:ext uri="{FF2B5EF4-FFF2-40B4-BE49-F238E27FC236}">
                    <a16:creationId xmlns:a16="http://schemas.microsoft.com/office/drawing/2014/main" id="{8634CCC9-2D2A-8E4F-DDD7-BF6ED0B03514}"/>
                  </a:ext>
                </a:extLst>
              </p:cNvPr>
              <p:cNvSpPr/>
              <p:nvPr/>
            </p:nvSpPr>
            <p:spPr>
              <a:xfrm>
                <a:off x="6584231" y="1893112"/>
                <a:ext cx="586805" cy="553858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1871" name="Freeform 3">
                <a:extLst>
                  <a:ext uri="{FF2B5EF4-FFF2-40B4-BE49-F238E27FC236}">
                    <a16:creationId xmlns:a16="http://schemas.microsoft.com/office/drawing/2014/main" id="{2EF77605-3DCE-E172-EBF3-D561EA02CF43}"/>
                  </a:ext>
                </a:extLst>
              </p:cNvPr>
              <p:cNvSpPr/>
              <p:nvPr/>
            </p:nvSpPr>
            <p:spPr>
              <a:xfrm>
                <a:off x="6760815" y="2070562"/>
                <a:ext cx="249935" cy="276930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1872" name="Freeform 8">
                <a:extLst>
                  <a:ext uri="{FF2B5EF4-FFF2-40B4-BE49-F238E27FC236}">
                    <a16:creationId xmlns:a16="http://schemas.microsoft.com/office/drawing/2014/main" id="{3F238C62-BE0B-C06D-20C7-7E4E5F9FD215}"/>
                  </a:ext>
                </a:extLst>
              </p:cNvPr>
              <p:cNvSpPr/>
              <p:nvPr/>
            </p:nvSpPr>
            <p:spPr>
              <a:xfrm>
                <a:off x="6978150" y="1979148"/>
                <a:ext cx="146701" cy="244666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2558" name="Graphic 182">
              <a:extLst>
                <a:ext uri="{FF2B5EF4-FFF2-40B4-BE49-F238E27FC236}">
                  <a16:creationId xmlns:a16="http://schemas.microsoft.com/office/drawing/2014/main" id="{44D4EF91-AF7A-F4B7-FA7D-DF53A05A177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54148" y="2015806"/>
              <a:ext cx="585985" cy="553270"/>
              <a:chOff x="5954148" y="2015806"/>
              <a:chExt cx="585985" cy="553270"/>
            </a:xfrm>
          </p:grpSpPr>
          <p:sp>
            <p:nvSpPr>
              <p:cNvPr id="31867" name="Freeform 10">
                <a:extLst>
                  <a:ext uri="{FF2B5EF4-FFF2-40B4-BE49-F238E27FC236}">
                    <a16:creationId xmlns:a16="http://schemas.microsoft.com/office/drawing/2014/main" id="{DE69A49E-7EF5-E32F-FF81-CF5217851BBA}"/>
                  </a:ext>
                </a:extLst>
              </p:cNvPr>
              <p:cNvSpPr/>
              <p:nvPr/>
            </p:nvSpPr>
            <p:spPr>
              <a:xfrm>
                <a:off x="5953960" y="2016788"/>
                <a:ext cx="586805" cy="551170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1868" name="Freeform 11">
                <a:extLst>
                  <a:ext uri="{FF2B5EF4-FFF2-40B4-BE49-F238E27FC236}">
                    <a16:creationId xmlns:a16="http://schemas.microsoft.com/office/drawing/2014/main" id="{CCD5BE34-0007-B17E-744A-F2F874A7CC66}"/>
                  </a:ext>
                </a:extLst>
              </p:cNvPr>
              <p:cNvSpPr/>
              <p:nvPr/>
            </p:nvSpPr>
            <p:spPr>
              <a:xfrm>
                <a:off x="6130544" y="2191550"/>
                <a:ext cx="249935" cy="276928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1869" name="Freeform 12">
                <a:extLst>
                  <a:ext uri="{FF2B5EF4-FFF2-40B4-BE49-F238E27FC236}">
                    <a16:creationId xmlns:a16="http://schemas.microsoft.com/office/drawing/2014/main" id="{2C242E57-F851-E1E3-1E4B-8164E2EFB9A4}"/>
                  </a:ext>
                </a:extLst>
              </p:cNvPr>
              <p:cNvSpPr/>
              <p:nvPr/>
            </p:nvSpPr>
            <p:spPr>
              <a:xfrm>
                <a:off x="6347879" y="2102824"/>
                <a:ext cx="146701" cy="241977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2562" name="Graphic 183">
              <a:extLst>
                <a:ext uri="{FF2B5EF4-FFF2-40B4-BE49-F238E27FC236}">
                  <a16:creationId xmlns:a16="http://schemas.microsoft.com/office/drawing/2014/main" id="{8B894AAB-1363-207A-AC75-E886117131D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83325" y="3232635"/>
              <a:ext cx="585985" cy="553270"/>
              <a:chOff x="5883325" y="3232635"/>
              <a:chExt cx="585985" cy="553270"/>
            </a:xfrm>
          </p:grpSpPr>
          <p:sp>
            <p:nvSpPr>
              <p:cNvPr id="31864" name="Freeform 15">
                <a:extLst>
                  <a:ext uri="{FF2B5EF4-FFF2-40B4-BE49-F238E27FC236}">
                    <a16:creationId xmlns:a16="http://schemas.microsoft.com/office/drawing/2014/main" id="{E9B930B0-C14F-3E71-79A4-03AF67371F6E}"/>
                  </a:ext>
                </a:extLst>
              </p:cNvPr>
              <p:cNvSpPr/>
              <p:nvPr/>
            </p:nvSpPr>
            <p:spPr>
              <a:xfrm>
                <a:off x="5883325" y="3232047"/>
                <a:ext cx="586805" cy="553858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1865" name="Freeform 16">
                <a:extLst>
                  <a:ext uri="{FF2B5EF4-FFF2-40B4-BE49-F238E27FC236}">
                    <a16:creationId xmlns:a16="http://schemas.microsoft.com/office/drawing/2014/main" id="{A82EF81D-888B-7C62-FF08-E6064BFDDD0F}"/>
                  </a:ext>
                </a:extLst>
              </p:cNvPr>
              <p:cNvSpPr/>
              <p:nvPr/>
            </p:nvSpPr>
            <p:spPr>
              <a:xfrm>
                <a:off x="6059909" y="3409497"/>
                <a:ext cx="249935" cy="276930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1866" name="Freeform 17">
                <a:extLst>
                  <a:ext uri="{FF2B5EF4-FFF2-40B4-BE49-F238E27FC236}">
                    <a16:creationId xmlns:a16="http://schemas.microsoft.com/office/drawing/2014/main" id="{B9DA18A2-928F-E6F6-A041-9A55FFDD4DED}"/>
                  </a:ext>
                </a:extLst>
              </p:cNvPr>
              <p:cNvSpPr/>
              <p:nvPr/>
            </p:nvSpPr>
            <p:spPr>
              <a:xfrm>
                <a:off x="6277244" y="3318083"/>
                <a:ext cx="146701" cy="244666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</p:grpSp>
      <p:sp>
        <p:nvSpPr>
          <p:cNvPr id="22566" name="Isosceles Triangle 113">
            <a:extLst>
              <a:ext uri="{FF2B5EF4-FFF2-40B4-BE49-F238E27FC236}">
                <a16:creationId xmlns:a16="http://schemas.microsoft.com/office/drawing/2014/main" id="{02C59071-0911-702A-A1A4-666DB6D7D0E9}"/>
              </a:ext>
            </a:extLst>
          </p:cNvPr>
          <p:cNvSpPr>
            <a:spLocks noChangeArrowheads="1"/>
          </p:cNvSpPr>
          <p:nvPr/>
        </p:nvSpPr>
        <p:spPr bwMode="auto">
          <a:xfrm rot="4500000">
            <a:off x="2025253" y="2878931"/>
            <a:ext cx="61913" cy="5238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2567" name="Isosceles Triangle 115">
            <a:extLst>
              <a:ext uri="{FF2B5EF4-FFF2-40B4-BE49-F238E27FC236}">
                <a16:creationId xmlns:a16="http://schemas.microsoft.com/office/drawing/2014/main" id="{209E8919-1F37-8F4F-6118-5BFDF89F06A8}"/>
              </a:ext>
            </a:extLst>
          </p:cNvPr>
          <p:cNvSpPr>
            <a:spLocks noChangeArrowheads="1"/>
          </p:cNvSpPr>
          <p:nvPr/>
        </p:nvSpPr>
        <p:spPr bwMode="auto">
          <a:xfrm rot="20700000">
            <a:off x="2590800" y="2412206"/>
            <a:ext cx="61913" cy="5238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2568" name="Isosceles Triangle 99">
            <a:extLst>
              <a:ext uri="{FF2B5EF4-FFF2-40B4-BE49-F238E27FC236}">
                <a16:creationId xmlns:a16="http://schemas.microsoft.com/office/drawing/2014/main" id="{3E0799C2-974E-B74D-0975-4F612A0864B1}"/>
              </a:ext>
            </a:extLst>
          </p:cNvPr>
          <p:cNvSpPr>
            <a:spLocks noChangeArrowheads="1"/>
          </p:cNvSpPr>
          <p:nvPr/>
        </p:nvSpPr>
        <p:spPr bwMode="auto">
          <a:xfrm rot="18900000">
            <a:off x="2031207" y="2338387"/>
            <a:ext cx="60722" cy="53579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31770" name="Freeform 96">
            <a:extLst>
              <a:ext uri="{FF2B5EF4-FFF2-40B4-BE49-F238E27FC236}">
                <a16:creationId xmlns:a16="http://schemas.microsoft.com/office/drawing/2014/main" id="{4E57C59B-2B1C-572D-8954-1953676B489A}"/>
              </a:ext>
            </a:extLst>
          </p:cNvPr>
          <p:cNvSpPr/>
          <p:nvPr/>
        </p:nvSpPr>
        <p:spPr>
          <a:xfrm rot="10800000">
            <a:off x="5645944" y="1858567"/>
            <a:ext cx="133350" cy="1697831"/>
          </a:xfrm>
          <a:custGeom>
            <a:avLst/>
            <a:gdLst>
              <a:gd name="connsiteX0" fmla="*/ 185980 w 185980"/>
              <a:gd name="connsiteY0" fmla="*/ 0 h 1015139"/>
              <a:gd name="connsiteX1" fmla="*/ 0 w 185980"/>
              <a:gd name="connsiteY1" fmla="*/ 0 h 1015139"/>
              <a:gd name="connsiteX2" fmla="*/ 0 w 185980"/>
              <a:gd name="connsiteY2" fmla="*/ 1015139 h 1015139"/>
              <a:gd name="connsiteX3" fmla="*/ 185980 w 185980"/>
              <a:gd name="connsiteY3" fmla="*/ 1015139 h 1015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980" h="1015139">
                <a:moveTo>
                  <a:pt x="185980" y="0"/>
                </a:moveTo>
                <a:lnTo>
                  <a:pt x="0" y="0"/>
                </a:lnTo>
                <a:lnTo>
                  <a:pt x="0" y="1015139"/>
                </a:lnTo>
                <a:lnTo>
                  <a:pt x="185980" y="1015139"/>
                </a:lnTo>
              </a:path>
            </a:pathLst>
          </a:custGeom>
          <a:noFill/>
          <a:ln w="9525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anchor="ctr"/>
          <a:lstStyle/>
          <a:p>
            <a:pPr algn="ctr" defTabSz="514337"/>
            <a:endParaRPr lang="en-US" sz="1013">
              <a:solidFill>
                <a:srgbClr val="FFFFFF"/>
              </a:solidFill>
            </a:endParaRPr>
          </a:p>
        </p:txBody>
      </p:sp>
      <p:sp>
        <p:nvSpPr>
          <p:cNvPr id="31771" name="TextBox 44">
            <a:extLst>
              <a:ext uri="{FF2B5EF4-FFF2-40B4-BE49-F238E27FC236}">
                <a16:creationId xmlns:a16="http://schemas.microsoft.com/office/drawing/2014/main" id="{9E8DB4E7-0EF4-063F-CFAA-4CC743572D42}"/>
              </a:ext>
            </a:extLst>
          </p:cNvPr>
          <p:cNvSpPr txBox="1"/>
          <p:nvPr/>
        </p:nvSpPr>
        <p:spPr>
          <a:xfrm>
            <a:off x="5818585" y="2088573"/>
            <a:ext cx="2439368" cy="12900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>
            <a:lvl1pPr marL="169863" indent="-16986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ts val="675"/>
              </a:spcBef>
              <a:buClr>
                <a:srgbClr val="FBA329"/>
              </a:buClr>
              <a:buFont typeface="Arial" panose="020B0604020202020204" pitchFamily="34" charset="0"/>
              <a:buChar char="•"/>
            </a:pPr>
            <a:r>
              <a:rPr lang="de-DE" altLang="de-DE" sz="900">
                <a:solidFill>
                  <a:srgbClr val="004F72"/>
                </a:solidFill>
                <a:latin typeface="+mn-lt"/>
              </a:rPr>
              <a:t>Autoantikörper werden als Reaktion auf Betazellantigene erzeugt; </a:t>
            </a:r>
          </a:p>
          <a:p>
            <a:pPr eaLnBrk="1" hangingPunct="1">
              <a:spcBef>
                <a:spcPts val="675"/>
              </a:spcBef>
              <a:buClr>
                <a:srgbClr val="FBA329"/>
              </a:buClr>
              <a:buFont typeface="Arial" panose="020B0604020202020204" pitchFamily="34" charset="0"/>
              <a:buChar char="•"/>
            </a:pPr>
            <a:r>
              <a:rPr lang="de-DE" altLang="de-DE" sz="900">
                <a:solidFill>
                  <a:srgbClr val="004F72"/>
                </a:solidFill>
                <a:latin typeface="+mn-lt"/>
              </a:rPr>
              <a:t>Ihre Rolle bei der T1D-Pathogenese ist nicht ganz geklärt, aber eine           </a:t>
            </a:r>
            <a:r>
              <a:rPr lang="de-DE" altLang="de-DE" sz="900" b="1">
                <a:solidFill>
                  <a:srgbClr val="004F72"/>
                </a:solidFill>
                <a:latin typeface="+mn-lt"/>
              </a:rPr>
              <a:t>T1D-Diagnose</a:t>
            </a:r>
            <a:r>
              <a:rPr lang="de-DE" altLang="de-DE" sz="900">
                <a:solidFill>
                  <a:srgbClr val="004F72"/>
                </a:solidFill>
                <a:latin typeface="+mn-lt"/>
              </a:rPr>
              <a:t> kann gestellt werden, wenn</a:t>
            </a:r>
            <a:r>
              <a:rPr lang="de-DE" altLang="de-DE" sz="900" b="1">
                <a:solidFill>
                  <a:srgbClr val="004F72"/>
                </a:solidFill>
                <a:latin typeface="+mn-lt"/>
              </a:rPr>
              <a:t> ≥ 2 verschiedene </a:t>
            </a:r>
            <a:r>
              <a:rPr lang="de-DE" altLang="de-DE" sz="900">
                <a:solidFill>
                  <a:srgbClr val="004F72"/>
                </a:solidFill>
                <a:latin typeface="+mn-lt"/>
              </a:rPr>
              <a:t>Betazell-Autoantikörper nachgewiesen wurden</a:t>
            </a:r>
            <a:r>
              <a:rPr lang="de-DE" altLang="de-DE" sz="900" baseline="30000">
                <a:solidFill>
                  <a:srgbClr val="004F72"/>
                </a:solidFill>
                <a:latin typeface="+mn-lt"/>
              </a:rPr>
              <a:t>1-4</a:t>
            </a:r>
          </a:p>
        </p:txBody>
      </p:sp>
      <p:grpSp>
        <p:nvGrpSpPr>
          <p:cNvPr id="22571" name="Group 47">
            <a:extLst>
              <a:ext uri="{FF2B5EF4-FFF2-40B4-BE49-F238E27FC236}">
                <a16:creationId xmlns:a16="http://schemas.microsoft.com/office/drawing/2014/main" id="{220B4D93-BB34-AA92-6398-6B7A2C6239FD}"/>
              </a:ext>
            </a:extLst>
          </p:cNvPr>
          <p:cNvGrpSpPr>
            <a:grpSpLocks/>
          </p:cNvGrpSpPr>
          <p:nvPr/>
        </p:nvGrpSpPr>
        <p:grpSpPr bwMode="auto">
          <a:xfrm>
            <a:off x="3265885" y="1885950"/>
            <a:ext cx="2074069" cy="1749298"/>
            <a:chOff x="3804339" y="2210007"/>
            <a:chExt cx="3688249" cy="3109377"/>
          </a:xfrm>
        </p:grpSpPr>
        <p:sp>
          <p:nvSpPr>
            <p:cNvPr id="31824" name="insulin production text">
              <a:extLst>
                <a:ext uri="{FF2B5EF4-FFF2-40B4-BE49-F238E27FC236}">
                  <a16:creationId xmlns:a16="http://schemas.microsoft.com/office/drawing/2014/main" id="{A773B993-E2EC-534D-8E13-C077AD7E552C}"/>
                </a:ext>
              </a:extLst>
            </p:cNvPr>
            <p:cNvSpPr txBox="1"/>
            <p:nvPr/>
          </p:nvSpPr>
          <p:spPr>
            <a:xfrm>
              <a:off x="5089482" y="4724215"/>
              <a:ext cx="1990267" cy="59516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none">
              <a:spAutoFit/>
            </a:bodyPr>
            <a:lstStyle/>
            <a:p>
              <a:pPr algn="ctr" defTabSz="514337"/>
              <a:r>
                <a:rPr lang="de" sz="788" b="1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Normale</a:t>
              </a:r>
              <a:br>
                <a:rPr sz="788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a typeface="Arial"/>
                  <a:sym typeface="Wingdings"/>
                </a:rPr>
              </a:br>
              <a:r>
                <a:rPr lang="de" sz="788" b="1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Insulinsekretion</a:t>
              </a:r>
            </a:p>
          </p:txBody>
        </p:sp>
        <p:sp>
          <p:nvSpPr>
            <p:cNvPr id="31825" name="Freeform 102">
              <a:extLst>
                <a:ext uri="{FF2B5EF4-FFF2-40B4-BE49-F238E27FC236}">
                  <a16:creationId xmlns:a16="http://schemas.microsoft.com/office/drawing/2014/main" id="{257CD6D6-E48F-D39C-DD3F-01F1889FBF1B}"/>
                </a:ext>
              </a:extLst>
            </p:cNvPr>
            <p:cNvSpPr>
              <a:spLocks/>
            </p:cNvSpPr>
            <p:nvPr/>
          </p:nvSpPr>
          <p:spPr bwMode="auto">
            <a:xfrm rot="21240000">
              <a:off x="3804339" y="2535923"/>
              <a:ext cx="1765786" cy="1015841"/>
            </a:xfrm>
            <a:custGeom>
              <a:avLst/>
              <a:gdLst>
                <a:gd name="T0" fmla="*/ 0 w 2336800"/>
                <a:gd name="T1" fmla="*/ 474133 h 1210733"/>
                <a:gd name="T2" fmla="*/ 2336800 w 2336800"/>
                <a:gd name="T3" fmla="*/ 0 h 1210733"/>
                <a:gd name="T4" fmla="*/ 2336800 w 2336800"/>
                <a:gd name="T5" fmla="*/ 1210733 h 1210733"/>
                <a:gd name="T6" fmla="*/ 0 w 2336800"/>
                <a:gd name="T7" fmla="*/ 474133 h 1210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36800" h="1210733">
                  <a:moveTo>
                    <a:pt x="0" y="474133"/>
                  </a:moveTo>
                  <a:lnTo>
                    <a:pt x="2336800" y="0"/>
                  </a:lnTo>
                  <a:lnTo>
                    <a:pt x="2336800" y="1210733"/>
                  </a:lnTo>
                  <a:lnTo>
                    <a:pt x="0" y="474133"/>
                  </a:lnTo>
                  <a:close/>
                </a:path>
              </a:pathLst>
            </a:custGeom>
            <a:gradFill rotWithShape="1">
              <a:gsLst>
                <a:gs pos="0">
                  <a:srgbClr val="E4E1F2">
                    <a:alpha val="25098"/>
                  </a:srgbClr>
                </a:gs>
                <a:gs pos="100000">
                  <a:srgbClr val="D1D7EE">
                    <a:alpha val="50195"/>
                  </a:srgbClr>
                </a:gs>
                <a:gs pos="65999">
                  <a:srgbClr val="D1D7EE">
                    <a:alpha val="41662"/>
                  </a:srgbClr>
                </a:gs>
                <a:gs pos="100000">
                  <a:srgbClr val="D1D7EE">
                    <a:alpha val="50195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 algn="ctr">
                  <a:solidFill>
                    <a:srgbClr val="00000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anchor="ctr"/>
            <a:lstStyle/>
            <a:p>
              <a:pPr algn="ctr" defTabSz="514337"/>
              <a:endParaRPr lang="en-US" sz="1013">
                <a:solidFill>
                  <a:srgbClr val="FFFFFF"/>
                </a:solidFill>
              </a:endParaRPr>
            </a:p>
          </p:txBody>
        </p:sp>
        <p:pic>
          <p:nvPicPr>
            <p:cNvPr id="22574" name="Graphic 67">
              <a:extLst>
                <a:ext uri="{FF2B5EF4-FFF2-40B4-BE49-F238E27FC236}">
                  <a16:creationId xmlns:a16="http://schemas.microsoft.com/office/drawing/2014/main" id="{9EE55524-5444-4DD4-CDB2-3047C4387E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6805" y="2210007"/>
              <a:ext cx="1581586" cy="12444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2575" name="Group 68">
              <a:extLst>
                <a:ext uri="{FF2B5EF4-FFF2-40B4-BE49-F238E27FC236}">
                  <a16:creationId xmlns:a16="http://schemas.microsoft.com/office/drawing/2014/main" id="{448E92C4-A782-95EC-BA65-9826AC0B82C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20560" y="2763871"/>
              <a:ext cx="2372028" cy="1971105"/>
              <a:chOff x="5120560" y="2928900"/>
              <a:chExt cx="2372028" cy="1971105"/>
            </a:xfrm>
          </p:grpSpPr>
          <p:grpSp>
            <p:nvGrpSpPr>
              <p:cNvPr id="22576" name="Group 69">
                <a:extLst>
                  <a:ext uri="{FF2B5EF4-FFF2-40B4-BE49-F238E27FC236}">
                    <a16:creationId xmlns:a16="http://schemas.microsoft.com/office/drawing/2014/main" id="{0BFD1433-43F6-FF0D-6100-615E77C6A01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578033" y="3486579"/>
                <a:ext cx="1598549" cy="1413426"/>
                <a:chOff x="7144804" y="3637722"/>
                <a:chExt cx="1598549" cy="1413426"/>
              </a:xfrm>
            </p:grpSpPr>
            <p:grpSp>
              <p:nvGrpSpPr>
                <p:cNvPr id="22577" name="insulin disappears">
                  <a:extLst>
                    <a:ext uri="{FF2B5EF4-FFF2-40B4-BE49-F238E27FC236}">
                      <a16:creationId xmlns:a16="http://schemas.microsoft.com/office/drawing/2014/main" id="{DCF7D705-506D-8C01-ACDF-6A8C7249962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7583070" y="3637722"/>
                  <a:ext cx="1160283" cy="788034"/>
                  <a:chOff x="10578555" y="2109917"/>
                  <a:chExt cx="1160283" cy="788034"/>
                </a:xfrm>
              </p:grpSpPr>
              <p:pic>
                <p:nvPicPr>
                  <p:cNvPr id="22578" name="Graphic 1899">
                    <a:extLst>
                      <a:ext uri="{FF2B5EF4-FFF2-40B4-BE49-F238E27FC236}">
                        <a16:creationId xmlns:a16="http://schemas.microsoft.com/office/drawing/2014/main" id="{37A450CC-6260-5F43-0255-039D8AED12B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6300000">
                    <a:off x="10803502" y="2348537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79" name="Graphic 1900">
                    <a:extLst>
                      <a:ext uri="{FF2B5EF4-FFF2-40B4-BE49-F238E27FC236}">
                        <a16:creationId xmlns:a16="http://schemas.microsoft.com/office/drawing/2014/main" id="{DC8BC8F7-1625-0929-7B71-8C483E52DECB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3740000">
                    <a:off x="10536264" y="2152208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80" name="Graphic 1901">
                    <a:extLst>
                      <a:ext uri="{FF2B5EF4-FFF2-40B4-BE49-F238E27FC236}">
                        <a16:creationId xmlns:a16="http://schemas.microsoft.com/office/drawing/2014/main" id="{FE070D42-362E-F9CE-41E7-2E6EED00BA9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3740000">
                    <a:off x="11415369" y="2287567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81" name="Graphic 1902">
                    <a:extLst>
                      <a:ext uri="{FF2B5EF4-FFF2-40B4-BE49-F238E27FC236}">
                        <a16:creationId xmlns:a16="http://schemas.microsoft.com/office/drawing/2014/main" id="{3E67D38A-2BB4-BB7F-C46B-F148FC84C40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3740000">
                    <a:off x="11383255" y="2574482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grpSp>
              <p:nvGrpSpPr>
                <p:cNvPr id="22582" name="insulin group">
                  <a:extLst>
                    <a:ext uri="{FF2B5EF4-FFF2-40B4-BE49-F238E27FC236}">
                      <a16:creationId xmlns:a16="http://schemas.microsoft.com/office/drawing/2014/main" id="{23A7E2BB-02BB-FBA1-BBEE-660C7A93B6CB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7144804" y="3753486"/>
                  <a:ext cx="1492796" cy="1297662"/>
                  <a:chOff x="10140289" y="2225681"/>
                  <a:chExt cx="1492796" cy="1297662"/>
                </a:xfrm>
              </p:grpSpPr>
              <p:pic>
                <p:nvPicPr>
                  <p:cNvPr id="22583" name="Graphic 1905">
                    <a:extLst>
                      <a:ext uri="{FF2B5EF4-FFF2-40B4-BE49-F238E27FC236}">
                        <a16:creationId xmlns:a16="http://schemas.microsoft.com/office/drawing/2014/main" id="{A2DEF540-8E97-330C-F76B-1021D5ED1D2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9800000">
                    <a:off x="10140289" y="2969214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84" name="Graphic 1906">
                    <a:extLst>
                      <a:ext uri="{FF2B5EF4-FFF2-40B4-BE49-F238E27FC236}">
                        <a16:creationId xmlns:a16="http://schemas.microsoft.com/office/drawing/2014/main" id="{2BCE37E2-80CA-3185-758B-A7167C9573D5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440000">
                    <a:off x="10375675" y="2774418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85" name="Graphic 1907">
                    <a:extLst>
                      <a:ext uri="{FF2B5EF4-FFF2-40B4-BE49-F238E27FC236}">
                        <a16:creationId xmlns:a16="http://schemas.microsoft.com/office/drawing/2014/main" id="{737685B2-0112-8342-3EA1-9E32350AC248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6180000">
                    <a:off x="10404505" y="3072802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86" name="Graphic 1908">
                    <a:extLst>
                      <a:ext uri="{FF2B5EF4-FFF2-40B4-BE49-F238E27FC236}">
                        <a16:creationId xmlns:a16="http://schemas.microsoft.com/office/drawing/2014/main" id="{6524BE72-30FA-3300-CEF2-8D6653B43F16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020000">
                    <a:off x="10680289" y="3026767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87" name="Graphic 1910">
                    <a:extLst>
                      <a:ext uri="{FF2B5EF4-FFF2-40B4-BE49-F238E27FC236}">
                        <a16:creationId xmlns:a16="http://schemas.microsoft.com/office/drawing/2014/main" id="{5D58C154-93E8-0396-AEED-6C04B2853932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9440000">
                    <a:off x="10627571" y="2672137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88" name="Graphic 1911">
                    <a:extLst>
                      <a:ext uri="{FF2B5EF4-FFF2-40B4-BE49-F238E27FC236}">
                        <a16:creationId xmlns:a16="http://schemas.microsoft.com/office/drawing/2014/main" id="{7B0071B6-F4E4-1313-6705-8DF57C3EB4F3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0506253" y="2469597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89" name="Graphic 1912">
                    <a:extLst>
                      <a:ext uri="{FF2B5EF4-FFF2-40B4-BE49-F238E27FC236}">
                        <a16:creationId xmlns:a16="http://schemas.microsoft.com/office/drawing/2014/main" id="{892C3715-D01E-B517-6BCA-2B6B36A79D12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0939176" y="2595126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90" name="Graphic 1913">
                    <a:extLst>
                      <a:ext uri="{FF2B5EF4-FFF2-40B4-BE49-F238E27FC236}">
                        <a16:creationId xmlns:a16="http://schemas.microsoft.com/office/drawing/2014/main" id="{A526BC68-9423-AB0C-F082-CECFEF08BEA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9720000">
                    <a:off x="10852637" y="2859216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91" name="Graphic 1914">
                    <a:extLst>
                      <a:ext uri="{FF2B5EF4-FFF2-40B4-BE49-F238E27FC236}">
                        <a16:creationId xmlns:a16="http://schemas.microsoft.com/office/drawing/2014/main" id="{17AFD026-0328-8639-B505-24A58E7B00A7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080000">
                    <a:off x="10871343" y="3242165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92" name="Graphic 1917">
                    <a:extLst>
                      <a:ext uri="{FF2B5EF4-FFF2-40B4-BE49-F238E27FC236}">
                        <a16:creationId xmlns:a16="http://schemas.microsoft.com/office/drawing/2014/main" id="{BE7009A0-6213-FBC9-E278-3B13791EF7A8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1193464" y="2715641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93" name="Graphic 1918">
                    <a:extLst>
                      <a:ext uri="{FF2B5EF4-FFF2-40B4-BE49-F238E27FC236}">
                        <a16:creationId xmlns:a16="http://schemas.microsoft.com/office/drawing/2014/main" id="{DF98319A-B882-3C40-1F66-FEFBE0420CD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2100000">
                    <a:off x="11029679" y="3059833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94" name="Graphic 1919">
                    <a:extLst>
                      <a:ext uri="{FF2B5EF4-FFF2-40B4-BE49-F238E27FC236}">
                        <a16:creationId xmlns:a16="http://schemas.microsoft.com/office/drawing/2014/main" id="{AC90A33A-35E9-3851-9A66-1AFCE77613D4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1280000">
                    <a:off x="11267325" y="2957579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95" name="Graphic 1920">
                    <a:extLst>
                      <a:ext uri="{FF2B5EF4-FFF2-40B4-BE49-F238E27FC236}">
                        <a16:creationId xmlns:a16="http://schemas.microsoft.com/office/drawing/2014/main" id="{9B5D8BE7-0AAD-BE77-FA59-20B15D76101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8480000">
                    <a:off x="10142957" y="2554358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96" name="Graphic 1921">
                    <a:extLst>
                      <a:ext uri="{FF2B5EF4-FFF2-40B4-BE49-F238E27FC236}">
                        <a16:creationId xmlns:a16="http://schemas.microsoft.com/office/drawing/2014/main" id="{08919A4B-C928-4327-37DD-6CF5FE79210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9380000">
                    <a:off x="11139000" y="2388272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597" name="Graphic 1922">
                    <a:extLst>
                      <a:ext uri="{FF2B5EF4-FFF2-40B4-BE49-F238E27FC236}">
                        <a16:creationId xmlns:a16="http://schemas.microsoft.com/office/drawing/2014/main" id="{B9DCDCB0-949F-46BC-A6DC-81B68312F2F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3740000">
                    <a:off x="10224491" y="2267972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</p:grpSp>
          <p:grpSp>
            <p:nvGrpSpPr>
              <p:cNvPr id="22598" name="Group 70">
                <a:extLst>
                  <a:ext uri="{FF2B5EF4-FFF2-40B4-BE49-F238E27FC236}">
                    <a16:creationId xmlns:a16="http://schemas.microsoft.com/office/drawing/2014/main" id="{AA8311AF-6201-2BF4-1CDB-B6D4AE39D35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20560" y="2928900"/>
                <a:ext cx="2372028" cy="943116"/>
                <a:chOff x="5463239" y="2204556"/>
                <a:chExt cx="2509535" cy="997788"/>
              </a:xfrm>
            </p:grpSpPr>
            <p:grpSp>
              <p:nvGrpSpPr>
                <p:cNvPr id="22599" name="Group 72">
                  <a:extLst>
                    <a:ext uri="{FF2B5EF4-FFF2-40B4-BE49-F238E27FC236}">
                      <a16:creationId xmlns:a16="http://schemas.microsoft.com/office/drawing/2014/main" id="{052850CC-5C2E-662C-11F5-75C4696B0E14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463239" y="2204556"/>
                  <a:ext cx="1813880" cy="939006"/>
                  <a:chOff x="7789815" y="2098273"/>
                  <a:chExt cx="1813880" cy="939006"/>
                </a:xfrm>
              </p:grpSpPr>
              <p:pic>
                <p:nvPicPr>
                  <p:cNvPr id="22600" name="Graphic 116">
                    <a:extLst>
                      <a:ext uri="{FF2B5EF4-FFF2-40B4-BE49-F238E27FC236}">
                        <a16:creationId xmlns:a16="http://schemas.microsoft.com/office/drawing/2014/main" id="{19597AC5-872F-BDAD-6DF7-85EA04D0414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21120000">
                    <a:off x="9216732" y="2739801"/>
                    <a:ext cx="386963" cy="2974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601" name="Graphic 117">
                    <a:extLst>
                      <a:ext uri="{FF2B5EF4-FFF2-40B4-BE49-F238E27FC236}">
                        <a16:creationId xmlns:a16="http://schemas.microsoft.com/office/drawing/2014/main" id="{7A71B6A0-064E-1866-8A18-EA96EC022D88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440000">
                    <a:off x="7886081" y="2331831"/>
                    <a:ext cx="386963" cy="2974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602" name="Graphic 118">
                    <a:extLst>
                      <a:ext uri="{FF2B5EF4-FFF2-40B4-BE49-F238E27FC236}">
                        <a16:creationId xmlns:a16="http://schemas.microsoft.com/office/drawing/2014/main" id="{6E8A70FF-402B-F394-87AC-9021BBA6F93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440000">
                    <a:off x="8902796" y="2485648"/>
                    <a:ext cx="386963" cy="2974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603" name="Graphic 119">
                    <a:extLst>
                      <a:ext uri="{FF2B5EF4-FFF2-40B4-BE49-F238E27FC236}">
                        <a16:creationId xmlns:a16="http://schemas.microsoft.com/office/drawing/2014/main" id="{13883260-175D-AB41-7988-9D024EDD651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0800000">
                    <a:off x="8104137" y="2575709"/>
                    <a:ext cx="386963" cy="2974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2604" name="Graphic 120">
                    <a:extLst>
                      <a:ext uri="{FF2B5EF4-FFF2-40B4-BE49-F238E27FC236}">
                        <a16:creationId xmlns:a16="http://schemas.microsoft.com/office/drawing/2014/main" id="{498833AF-08FA-A927-AB7D-6154EE39065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2600000">
                    <a:off x="7789815" y="2098273"/>
                    <a:ext cx="386963" cy="2974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pic>
              <p:nvPicPr>
                <p:cNvPr id="22605" name="Graphic 109">
                  <a:extLst>
                    <a:ext uri="{FF2B5EF4-FFF2-40B4-BE49-F238E27FC236}">
                      <a16:creationId xmlns:a16="http://schemas.microsoft.com/office/drawing/2014/main" id="{6179B75F-4A80-CEFE-FB62-08C2D9799D1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480000">
                  <a:off x="7585811" y="2648010"/>
                  <a:ext cx="386963" cy="2974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2606" name="Graphic 110">
                  <a:extLst>
                    <a:ext uri="{FF2B5EF4-FFF2-40B4-BE49-F238E27FC236}">
                      <a16:creationId xmlns:a16="http://schemas.microsoft.com/office/drawing/2014/main" id="{F70507BD-14F6-85E9-FC41-B536A1F02C5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1440000">
                  <a:off x="7585811" y="2904866"/>
                  <a:ext cx="386963" cy="2974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2607" name="Graphic 111">
                  <a:extLst>
                    <a:ext uri="{FF2B5EF4-FFF2-40B4-BE49-F238E27FC236}">
                      <a16:creationId xmlns:a16="http://schemas.microsoft.com/office/drawing/2014/main" id="{18EA1A68-E9EE-E6A4-C269-BB2CADF15D5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4140000">
                  <a:off x="7159363" y="2708283"/>
                  <a:ext cx="386963" cy="2974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22608" name="Graphic 106">
                <a:extLst>
                  <a:ext uri="{FF2B5EF4-FFF2-40B4-BE49-F238E27FC236}">
                    <a16:creationId xmlns:a16="http://schemas.microsoft.com/office/drawing/2014/main" id="{1C925896-A593-06BD-25CD-565A625629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0800000">
                <a:off x="5754264" y="3374625"/>
                <a:ext cx="365760" cy="281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22609" name="Group 127">
            <a:extLst>
              <a:ext uri="{FF2B5EF4-FFF2-40B4-BE49-F238E27FC236}">
                <a16:creationId xmlns:a16="http://schemas.microsoft.com/office/drawing/2014/main" id="{BA36EA11-D87B-A6DE-4F38-FCA6E75049AC}"/>
              </a:ext>
            </a:extLst>
          </p:cNvPr>
          <p:cNvGrpSpPr>
            <a:grpSpLocks/>
          </p:cNvGrpSpPr>
          <p:nvPr/>
        </p:nvGrpSpPr>
        <p:grpSpPr bwMode="auto">
          <a:xfrm>
            <a:off x="2026444" y="2541985"/>
            <a:ext cx="646510" cy="592931"/>
            <a:chOff x="1570220" y="3375280"/>
            <a:chExt cx="1148933" cy="1055042"/>
          </a:xfrm>
        </p:grpSpPr>
        <p:grpSp>
          <p:nvGrpSpPr>
            <p:cNvPr id="22610" name="Graphic 182">
              <a:extLst>
                <a:ext uri="{FF2B5EF4-FFF2-40B4-BE49-F238E27FC236}">
                  <a16:creationId xmlns:a16="http://schemas.microsoft.com/office/drawing/2014/main" id="{EB572218-D666-9DEE-A51D-2C409C89818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43793" y="3488056"/>
              <a:ext cx="466344" cy="457200"/>
              <a:chOff x="5954148" y="2015806"/>
              <a:chExt cx="585985" cy="553270"/>
            </a:xfrm>
          </p:grpSpPr>
          <p:sp>
            <p:nvSpPr>
              <p:cNvPr id="31821" name="Freeform 10">
                <a:extLst>
                  <a:ext uri="{FF2B5EF4-FFF2-40B4-BE49-F238E27FC236}">
                    <a16:creationId xmlns:a16="http://schemas.microsoft.com/office/drawing/2014/main" id="{C95B8DF6-F960-6D32-E715-618A087C7648}"/>
                  </a:ext>
                </a:extLst>
              </p:cNvPr>
              <p:cNvSpPr/>
              <p:nvPr/>
            </p:nvSpPr>
            <p:spPr>
              <a:xfrm>
                <a:off x="5954061" y="2015210"/>
                <a:ext cx="584922" cy="553764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1822" name="Freeform 11">
                <a:extLst>
                  <a:ext uri="{FF2B5EF4-FFF2-40B4-BE49-F238E27FC236}">
                    <a16:creationId xmlns:a16="http://schemas.microsoft.com/office/drawing/2014/main" id="{BFF82F76-E948-884B-6A1E-3D8EB431C30C}"/>
                  </a:ext>
                </a:extLst>
              </p:cNvPr>
              <p:cNvSpPr/>
              <p:nvPr/>
            </p:nvSpPr>
            <p:spPr>
              <a:xfrm>
                <a:off x="6129537" y="2192108"/>
                <a:ext cx="249921" cy="276882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1823" name="Freeform 12">
                <a:extLst>
                  <a:ext uri="{FF2B5EF4-FFF2-40B4-BE49-F238E27FC236}">
                    <a16:creationId xmlns:a16="http://schemas.microsoft.com/office/drawing/2014/main" id="{766C60C8-8C07-A42E-A5AB-DD5E777D527B}"/>
                  </a:ext>
                </a:extLst>
              </p:cNvPr>
              <p:cNvSpPr/>
              <p:nvPr/>
            </p:nvSpPr>
            <p:spPr>
              <a:xfrm>
                <a:off x="6347554" y="2102377"/>
                <a:ext cx="143572" cy="243554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2614" name="Graphic 182">
              <a:extLst>
                <a:ext uri="{FF2B5EF4-FFF2-40B4-BE49-F238E27FC236}">
                  <a16:creationId xmlns:a16="http://schemas.microsoft.com/office/drawing/2014/main" id="{38C1A52D-BAF4-FEAE-9E0C-D1ABFC5C29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52809" y="3375280"/>
              <a:ext cx="466344" cy="457200"/>
              <a:chOff x="5954148" y="2015806"/>
              <a:chExt cx="585985" cy="553270"/>
            </a:xfrm>
          </p:grpSpPr>
          <p:sp>
            <p:nvSpPr>
              <p:cNvPr id="31818" name="Freeform 10">
                <a:extLst>
                  <a:ext uri="{FF2B5EF4-FFF2-40B4-BE49-F238E27FC236}">
                    <a16:creationId xmlns:a16="http://schemas.microsoft.com/office/drawing/2014/main" id="{4DA30D3C-EA06-50D0-8D1A-ECCEB64E030A}"/>
                  </a:ext>
                </a:extLst>
              </p:cNvPr>
              <p:cNvSpPr/>
              <p:nvPr/>
            </p:nvSpPr>
            <p:spPr>
              <a:xfrm>
                <a:off x="5955211" y="2015806"/>
                <a:ext cx="584922" cy="553764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1819" name="Freeform 11">
                <a:extLst>
                  <a:ext uri="{FF2B5EF4-FFF2-40B4-BE49-F238E27FC236}">
                    <a16:creationId xmlns:a16="http://schemas.microsoft.com/office/drawing/2014/main" id="{70E99D31-8CA9-2CD0-0591-A04CEFBB092A}"/>
                  </a:ext>
                </a:extLst>
              </p:cNvPr>
              <p:cNvSpPr/>
              <p:nvPr/>
            </p:nvSpPr>
            <p:spPr>
              <a:xfrm>
                <a:off x="6130688" y="2192702"/>
                <a:ext cx="249921" cy="276882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1820" name="Freeform 12">
                <a:extLst>
                  <a:ext uri="{FF2B5EF4-FFF2-40B4-BE49-F238E27FC236}">
                    <a16:creationId xmlns:a16="http://schemas.microsoft.com/office/drawing/2014/main" id="{9E46132A-AFCF-619C-8C18-2DD72EB23314}"/>
                  </a:ext>
                </a:extLst>
              </p:cNvPr>
              <p:cNvSpPr/>
              <p:nvPr/>
            </p:nvSpPr>
            <p:spPr>
              <a:xfrm>
                <a:off x="6348704" y="2102973"/>
                <a:ext cx="143572" cy="243553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pic>
          <p:nvPicPr>
            <p:cNvPr id="22618" name="Graphic 1893">
              <a:extLst>
                <a:ext uri="{FF2B5EF4-FFF2-40B4-BE49-F238E27FC236}">
                  <a16:creationId xmlns:a16="http://schemas.microsoft.com/office/drawing/2014/main" id="{2DDBA971-1677-913B-D940-B94CFF736B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0220" y="3989662"/>
              <a:ext cx="465497" cy="440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2619" name="T-Cells infiltrate 4">
            <a:extLst>
              <a:ext uri="{FF2B5EF4-FFF2-40B4-BE49-F238E27FC236}">
                <a16:creationId xmlns:a16="http://schemas.microsoft.com/office/drawing/2014/main" id="{20C3A1FA-3F45-541E-D514-E33ACCC782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8837" y="2280047"/>
            <a:ext cx="128588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620" name="T-Cells infiltrate 4">
            <a:extLst>
              <a:ext uri="{FF2B5EF4-FFF2-40B4-BE49-F238E27FC236}">
                <a16:creationId xmlns:a16="http://schemas.microsoft.com/office/drawing/2014/main" id="{098FB7E2-2251-48A7-ED05-28FFCF4BBD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2687" y="2459831"/>
            <a:ext cx="129779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621" name="T-Cells infiltrate 4">
            <a:extLst>
              <a:ext uri="{FF2B5EF4-FFF2-40B4-BE49-F238E27FC236}">
                <a16:creationId xmlns:a16="http://schemas.microsoft.com/office/drawing/2014/main" id="{89519561-E998-F9B3-D607-9E081C3464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9787" y="2783681"/>
            <a:ext cx="129779" cy="148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622" name="Graphic 20">
            <a:extLst>
              <a:ext uri="{FF2B5EF4-FFF2-40B4-BE49-F238E27FC236}">
                <a16:creationId xmlns:a16="http://schemas.microsoft.com/office/drawing/2014/main" id="{25763F0D-4672-8752-DAA4-307337E90816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4316" y="1980010"/>
            <a:ext cx="132159" cy="154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22623" name="Graphic 20">
            <a:extLst>
              <a:ext uri="{FF2B5EF4-FFF2-40B4-BE49-F238E27FC236}">
                <a16:creationId xmlns:a16="http://schemas.microsoft.com/office/drawing/2014/main" id="{87A466EF-07D1-E92D-03B1-3B482C259F57}"/>
              </a:ext>
            </a:extLst>
          </p:cNvPr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829" y="2221707"/>
            <a:ext cx="15120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</p:pic>
      <p:sp>
        <p:nvSpPr>
          <p:cNvPr id="31779" name="Freeform 664">
            <a:extLst>
              <a:ext uri="{FF2B5EF4-FFF2-40B4-BE49-F238E27FC236}">
                <a16:creationId xmlns:a16="http://schemas.microsoft.com/office/drawing/2014/main" id="{35B628D5-0FBD-3E79-2233-5FC55EBD5663}"/>
              </a:ext>
            </a:extLst>
          </p:cNvPr>
          <p:cNvSpPr/>
          <p:nvPr/>
        </p:nvSpPr>
        <p:spPr>
          <a:xfrm rot="11760000">
            <a:off x="1587104" y="2463404"/>
            <a:ext cx="134540" cy="139303"/>
          </a:xfrm>
          <a:custGeom>
            <a:avLst/>
            <a:gdLst>
              <a:gd name="connsiteX0" fmla="*/ 547500 w 556188"/>
              <a:gd name="connsiteY0" fmla="*/ 70348 h 673345"/>
              <a:gd name="connsiteX1" fmla="*/ 322147 w 556188"/>
              <a:gd name="connsiteY1" fmla="*/ 373915 h 673345"/>
              <a:gd name="connsiteX2" fmla="*/ 322147 w 556188"/>
              <a:gd name="connsiteY2" fmla="*/ 629278 h 673345"/>
              <a:gd name="connsiteX3" fmla="*/ 278080 w 556188"/>
              <a:gd name="connsiteY3" fmla="*/ 673346 h 673345"/>
              <a:gd name="connsiteX4" fmla="*/ 234013 w 556188"/>
              <a:gd name="connsiteY4" fmla="*/ 629278 h 673345"/>
              <a:gd name="connsiteX5" fmla="*/ 234013 w 556188"/>
              <a:gd name="connsiteY5" fmla="*/ 373915 h 673345"/>
              <a:gd name="connsiteX6" fmla="*/ 8660 w 556188"/>
              <a:gd name="connsiteY6" fmla="*/ 70348 h 673345"/>
              <a:gd name="connsiteX7" fmla="*/ 17699 w 556188"/>
              <a:gd name="connsiteY7" fmla="*/ 8699 h 673345"/>
              <a:gd name="connsiteX8" fmla="*/ 79348 w 556188"/>
              <a:gd name="connsiteY8" fmla="*/ 17739 h 673345"/>
              <a:gd name="connsiteX9" fmla="*/ 277990 w 556188"/>
              <a:gd name="connsiteY9" fmla="*/ 285396 h 673345"/>
              <a:gd name="connsiteX10" fmla="*/ 476722 w 556188"/>
              <a:gd name="connsiteY10" fmla="*/ 17806 h 673345"/>
              <a:gd name="connsiteX11" fmla="*/ 538382 w 556188"/>
              <a:gd name="connsiteY11" fmla="*/ 8688 h 673345"/>
              <a:gd name="connsiteX12" fmla="*/ 547500 w 556188"/>
              <a:gd name="connsiteY12" fmla="*/ 70348 h 673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56188" h="673345">
                <a:moveTo>
                  <a:pt x="547500" y="70348"/>
                </a:moveTo>
                <a:lnTo>
                  <a:pt x="322147" y="373915"/>
                </a:lnTo>
                <a:lnTo>
                  <a:pt x="322147" y="629278"/>
                </a:lnTo>
                <a:cubicBezTo>
                  <a:pt x="322147" y="653617"/>
                  <a:pt x="302419" y="673346"/>
                  <a:pt x="278080" y="673346"/>
                </a:cubicBezTo>
                <a:cubicBezTo>
                  <a:pt x="253741" y="673346"/>
                  <a:pt x="234013" y="653617"/>
                  <a:pt x="234013" y="629278"/>
                </a:cubicBezTo>
                <a:lnTo>
                  <a:pt x="234013" y="373915"/>
                </a:lnTo>
                <a:lnTo>
                  <a:pt x="8660" y="70348"/>
                </a:lnTo>
                <a:cubicBezTo>
                  <a:pt x="-5785" y="50807"/>
                  <a:pt x="-1747" y="23271"/>
                  <a:pt x="17699" y="8699"/>
                </a:cubicBezTo>
                <a:cubicBezTo>
                  <a:pt x="37240" y="-5745"/>
                  <a:pt x="64777" y="-1708"/>
                  <a:pt x="79348" y="17739"/>
                </a:cubicBezTo>
                <a:lnTo>
                  <a:pt x="277990" y="285396"/>
                </a:lnTo>
                <a:lnTo>
                  <a:pt x="476722" y="17806"/>
                </a:lnTo>
                <a:cubicBezTo>
                  <a:pt x="491230" y="-1739"/>
                  <a:pt x="518836" y="-5821"/>
                  <a:pt x="538382" y="8688"/>
                </a:cubicBezTo>
                <a:cubicBezTo>
                  <a:pt x="557927" y="23197"/>
                  <a:pt x="562009" y="50803"/>
                  <a:pt x="547500" y="70348"/>
                </a:cubicBezTo>
                <a:close/>
              </a:path>
            </a:pathLst>
          </a:custGeom>
          <a:solidFill>
            <a:srgbClr val="FDC477"/>
          </a:solidFill>
          <a:ln w="19050" cap="flat">
            <a:noFill/>
            <a:prstDash val="solid"/>
            <a:miter/>
          </a:ln>
        </p:spPr>
        <p:txBody>
          <a:bodyPr anchor="ctr"/>
          <a:lstStyle/>
          <a:p>
            <a:pPr defTabSz="514337"/>
            <a:endParaRPr lang="en-US" sz="1013" kern="0">
              <a:latin typeface="Calibri"/>
            </a:endParaRPr>
          </a:p>
        </p:txBody>
      </p:sp>
      <p:sp>
        <p:nvSpPr>
          <p:cNvPr id="31780" name="Freeform 692">
            <a:extLst>
              <a:ext uri="{FF2B5EF4-FFF2-40B4-BE49-F238E27FC236}">
                <a16:creationId xmlns:a16="http://schemas.microsoft.com/office/drawing/2014/main" id="{841E825A-5224-8AB3-F216-40F98378AD71}"/>
              </a:ext>
            </a:extLst>
          </p:cNvPr>
          <p:cNvSpPr/>
          <p:nvPr/>
        </p:nvSpPr>
        <p:spPr>
          <a:xfrm rot="8100000">
            <a:off x="1809751" y="2008585"/>
            <a:ext cx="135731" cy="139303"/>
          </a:xfrm>
          <a:custGeom>
            <a:avLst/>
            <a:gdLst>
              <a:gd name="connsiteX0" fmla="*/ 547500 w 556188"/>
              <a:gd name="connsiteY0" fmla="*/ 70348 h 673345"/>
              <a:gd name="connsiteX1" fmla="*/ 322147 w 556188"/>
              <a:gd name="connsiteY1" fmla="*/ 373915 h 673345"/>
              <a:gd name="connsiteX2" fmla="*/ 322147 w 556188"/>
              <a:gd name="connsiteY2" fmla="*/ 629278 h 673345"/>
              <a:gd name="connsiteX3" fmla="*/ 278080 w 556188"/>
              <a:gd name="connsiteY3" fmla="*/ 673346 h 673345"/>
              <a:gd name="connsiteX4" fmla="*/ 234013 w 556188"/>
              <a:gd name="connsiteY4" fmla="*/ 629278 h 673345"/>
              <a:gd name="connsiteX5" fmla="*/ 234013 w 556188"/>
              <a:gd name="connsiteY5" fmla="*/ 373915 h 673345"/>
              <a:gd name="connsiteX6" fmla="*/ 8660 w 556188"/>
              <a:gd name="connsiteY6" fmla="*/ 70348 h 673345"/>
              <a:gd name="connsiteX7" fmla="*/ 17699 w 556188"/>
              <a:gd name="connsiteY7" fmla="*/ 8699 h 673345"/>
              <a:gd name="connsiteX8" fmla="*/ 79348 w 556188"/>
              <a:gd name="connsiteY8" fmla="*/ 17739 h 673345"/>
              <a:gd name="connsiteX9" fmla="*/ 277990 w 556188"/>
              <a:gd name="connsiteY9" fmla="*/ 285396 h 673345"/>
              <a:gd name="connsiteX10" fmla="*/ 476722 w 556188"/>
              <a:gd name="connsiteY10" fmla="*/ 17806 h 673345"/>
              <a:gd name="connsiteX11" fmla="*/ 538382 w 556188"/>
              <a:gd name="connsiteY11" fmla="*/ 8688 h 673345"/>
              <a:gd name="connsiteX12" fmla="*/ 547500 w 556188"/>
              <a:gd name="connsiteY12" fmla="*/ 70348 h 673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56188" h="673345">
                <a:moveTo>
                  <a:pt x="547500" y="70348"/>
                </a:moveTo>
                <a:lnTo>
                  <a:pt x="322147" y="373915"/>
                </a:lnTo>
                <a:lnTo>
                  <a:pt x="322147" y="629278"/>
                </a:lnTo>
                <a:cubicBezTo>
                  <a:pt x="322147" y="653617"/>
                  <a:pt x="302419" y="673346"/>
                  <a:pt x="278080" y="673346"/>
                </a:cubicBezTo>
                <a:cubicBezTo>
                  <a:pt x="253741" y="673346"/>
                  <a:pt x="234013" y="653617"/>
                  <a:pt x="234013" y="629278"/>
                </a:cubicBezTo>
                <a:lnTo>
                  <a:pt x="234013" y="373915"/>
                </a:lnTo>
                <a:lnTo>
                  <a:pt x="8660" y="70348"/>
                </a:lnTo>
                <a:cubicBezTo>
                  <a:pt x="-5785" y="50807"/>
                  <a:pt x="-1747" y="23271"/>
                  <a:pt x="17699" y="8699"/>
                </a:cubicBezTo>
                <a:cubicBezTo>
                  <a:pt x="37240" y="-5745"/>
                  <a:pt x="64777" y="-1708"/>
                  <a:pt x="79348" y="17739"/>
                </a:cubicBezTo>
                <a:lnTo>
                  <a:pt x="277990" y="285396"/>
                </a:lnTo>
                <a:lnTo>
                  <a:pt x="476722" y="17806"/>
                </a:lnTo>
                <a:cubicBezTo>
                  <a:pt x="491230" y="-1739"/>
                  <a:pt x="518836" y="-5821"/>
                  <a:pt x="538382" y="8688"/>
                </a:cubicBezTo>
                <a:cubicBezTo>
                  <a:pt x="557927" y="23197"/>
                  <a:pt x="562009" y="50803"/>
                  <a:pt x="547500" y="70348"/>
                </a:cubicBezTo>
                <a:close/>
              </a:path>
            </a:pathLst>
          </a:custGeom>
          <a:solidFill>
            <a:srgbClr val="FDC477"/>
          </a:solidFill>
          <a:ln w="19050" cap="flat">
            <a:noFill/>
            <a:prstDash val="solid"/>
            <a:miter/>
          </a:ln>
        </p:spPr>
        <p:txBody>
          <a:bodyPr anchor="ctr"/>
          <a:lstStyle/>
          <a:p>
            <a:pPr defTabSz="514337"/>
            <a:endParaRPr lang="en-US" sz="1013" kern="0">
              <a:latin typeface="Calibri"/>
            </a:endParaRPr>
          </a:p>
        </p:txBody>
      </p:sp>
      <p:pic>
        <p:nvPicPr>
          <p:cNvPr id="22626" name="Graphic 20">
            <a:extLst>
              <a:ext uri="{FF2B5EF4-FFF2-40B4-BE49-F238E27FC236}">
                <a16:creationId xmlns:a16="http://schemas.microsoft.com/office/drawing/2014/main" id="{DB4E6B95-C545-649C-6506-F6C5BB72661D}"/>
              </a:ext>
            </a:extLst>
          </p:cNvPr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0207" y="2812257"/>
            <a:ext cx="141685" cy="154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</p:pic>
      <p:cxnSp>
        <p:nvCxnSpPr>
          <p:cNvPr id="22627" name="Straight Connector 58">
            <a:extLst>
              <a:ext uri="{FF2B5EF4-FFF2-40B4-BE49-F238E27FC236}">
                <a16:creationId xmlns:a16="http://schemas.microsoft.com/office/drawing/2014/main" id="{A10C6B55-A2F7-2119-12CE-30128E70EF4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534716" y="1478756"/>
            <a:ext cx="6096000" cy="0"/>
          </a:xfrm>
          <a:prstGeom prst="line">
            <a:avLst/>
          </a:prstGeom>
          <a:noFill/>
          <a:ln w="28575" algn="ctr">
            <a:solidFill>
              <a:srgbClr val="7B9AE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783" name="TextBox 59">
            <a:extLst>
              <a:ext uri="{FF2B5EF4-FFF2-40B4-BE49-F238E27FC236}">
                <a16:creationId xmlns:a16="http://schemas.microsoft.com/office/drawing/2014/main" id="{3D96C62B-D057-67CC-4BBA-BBA736D59BEC}"/>
              </a:ext>
            </a:extLst>
          </p:cNvPr>
          <p:cNvSpPr txBox="1"/>
          <p:nvPr/>
        </p:nvSpPr>
        <p:spPr>
          <a:xfrm>
            <a:off x="1940719" y="1628775"/>
            <a:ext cx="1460897" cy="1212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>
            <a:spAutoFit/>
          </a:bodyPr>
          <a:lstStyle/>
          <a:p>
            <a:pPr algn="ctr" defTabSz="514337">
              <a:spcBef>
                <a:spcPts val="113"/>
              </a:spcBef>
            </a:pPr>
            <a:r>
              <a:rPr lang="de" sz="788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NORMOGLYKÄMIE</a:t>
            </a:r>
          </a:p>
        </p:txBody>
      </p:sp>
      <p:sp>
        <p:nvSpPr>
          <p:cNvPr id="31784" name="Rectangle: Rounded Corners 2">
            <a:extLst>
              <a:ext uri="{FF2B5EF4-FFF2-40B4-BE49-F238E27FC236}">
                <a16:creationId xmlns:a16="http://schemas.microsoft.com/office/drawing/2014/main" id="{95B6954D-7B96-C7EC-3D4E-3B684CAF8793}"/>
              </a:ext>
            </a:extLst>
          </p:cNvPr>
          <p:cNvSpPr/>
          <p:nvPr/>
        </p:nvSpPr>
        <p:spPr>
          <a:xfrm>
            <a:off x="1771650" y="1394223"/>
            <a:ext cx="1800225" cy="169069"/>
          </a:xfrm>
          <a:prstGeom prst="roundRect">
            <a:avLst/>
          </a:prstGeom>
          <a:solidFill>
            <a:srgbClr val="FBA32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anchor="ctr"/>
          <a:lstStyle/>
          <a:p>
            <a:pPr algn="ctr" defTabSz="514337"/>
            <a:r>
              <a:rPr lang="de" sz="900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FFFFFF"/>
                </a:solidFill>
                <a:ea typeface="Arial"/>
              </a:rPr>
              <a:t>STADIUM 1</a:t>
            </a:r>
          </a:p>
        </p:txBody>
      </p:sp>
      <p:sp>
        <p:nvSpPr>
          <p:cNvPr id="31785" name="Rectangle: Rounded Corners 93">
            <a:extLst>
              <a:ext uri="{FF2B5EF4-FFF2-40B4-BE49-F238E27FC236}">
                <a16:creationId xmlns:a16="http://schemas.microsoft.com/office/drawing/2014/main" id="{2D56BE97-20B4-78E0-0EA3-1CB8847D6CD7}"/>
              </a:ext>
            </a:extLst>
          </p:cNvPr>
          <p:cNvSpPr/>
          <p:nvPr/>
        </p:nvSpPr>
        <p:spPr>
          <a:xfrm>
            <a:off x="3679031" y="1394223"/>
            <a:ext cx="1800225" cy="169069"/>
          </a:xfrm>
          <a:prstGeom prst="round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anchor="ctr"/>
          <a:lstStyle/>
          <a:p>
            <a:pPr algn="ctr" defTabSz="514337"/>
            <a:endParaRPr lang="en-US" sz="1013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1786" name="Rectangle: Rounded Corners 94">
            <a:extLst>
              <a:ext uri="{FF2B5EF4-FFF2-40B4-BE49-F238E27FC236}">
                <a16:creationId xmlns:a16="http://schemas.microsoft.com/office/drawing/2014/main" id="{8B3C0398-8617-0A5D-367A-53DBE5149BB7}"/>
              </a:ext>
            </a:extLst>
          </p:cNvPr>
          <p:cNvSpPr/>
          <p:nvPr/>
        </p:nvSpPr>
        <p:spPr>
          <a:xfrm>
            <a:off x="5587604" y="1394223"/>
            <a:ext cx="1800225" cy="169069"/>
          </a:xfrm>
          <a:prstGeom prst="round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anchor="ctr"/>
          <a:lstStyle/>
          <a:p>
            <a:pPr algn="ctr" defTabSz="514337"/>
            <a:endParaRPr lang="en-US" sz="1013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22633" name="Group 64">
            <a:extLst>
              <a:ext uri="{FF2B5EF4-FFF2-40B4-BE49-F238E27FC236}">
                <a16:creationId xmlns:a16="http://schemas.microsoft.com/office/drawing/2014/main" id="{042735F1-6C18-BB66-3D77-3D1040BE95BC}"/>
              </a:ext>
            </a:extLst>
          </p:cNvPr>
          <p:cNvGrpSpPr>
            <a:grpSpLocks/>
          </p:cNvGrpSpPr>
          <p:nvPr/>
        </p:nvGrpSpPr>
        <p:grpSpPr bwMode="auto">
          <a:xfrm>
            <a:off x="1584722" y="3452818"/>
            <a:ext cx="4842221" cy="406949"/>
            <a:chOff x="784859" y="5617965"/>
            <a:chExt cx="8607972" cy="722533"/>
          </a:xfrm>
        </p:grpSpPr>
        <p:grpSp>
          <p:nvGrpSpPr>
            <p:cNvPr id="22634" name="Group 65">
              <a:extLst>
                <a:ext uri="{FF2B5EF4-FFF2-40B4-BE49-F238E27FC236}">
                  <a16:creationId xmlns:a16="http://schemas.microsoft.com/office/drawing/2014/main" id="{21B86136-1618-06D6-6C73-BCA0C0384ED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610623" y="5990019"/>
              <a:ext cx="2088695" cy="348365"/>
              <a:chOff x="5531451" y="5879622"/>
              <a:chExt cx="2088695" cy="348365"/>
            </a:xfrm>
          </p:grpSpPr>
          <p:pic>
            <p:nvPicPr>
              <p:cNvPr id="22635" name="T-Cells infiltrate 4">
                <a:extLst>
                  <a:ext uri="{FF2B5EF4-FFF2-40B4-BE49-F238E27FC236}">
                    <a16:creationId xmlns:a16="http://schemas.microsoft.com/office/drawing/2014/main" id="{0B85F1C7-AA2C-AC1A-CEA3-4CF69603E3D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31451" y="5890193"/>
                <a:ext cx="230705" cy="2621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814" name="TextBox 1874">
                <a:extLst>
                  <a:ext uri="{FF2B5EF4-FFF2-40B4-BE49-F238E27FC236}">
                    <a16:creationId xmlns:a16="http://schemas.microsoft.com/office/drawing/2014/main" id="{8D3E788D-2A4E-459F-4214-FBADD16DAC1A}"/>
                  </a:ext>
                </a:extLst>
              </p:cNvPr>
              <p:cNvSpPr txBox="1"/>
              <p:nvPr/>
            </p:nvSpPr>
            <p:spPr>
              <a:xfrm>
                <a:off x="5718864" y="5879622"/>
                <a:ext cx="1901282" cy="34836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>
                <a:spAutoFit/>
              </a:bodyPr>
              <a:lstStyle/>
              <a:p>
                <a:pPr defTabSz="514337"/>
                <a:r>
                  <a:rPr lang="de" sz="675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404040"/>
                    </a:solidFill>
                    <a:ea typeface="Arial"/>
                  </a:rPr>
                  <a:t>Autoreaktive T-Zelle</a:t>
                </a:r>
              </a:p>
            </p:txBody>
          </p:sp>
        </p:grpSp>
        <p:grpSp>
          <p:nvGrpSpPr>
            <p:cNvPr id="22637" name="Group 66">
              <a:extLst>
                <a:ext uri="{FF2B5EF4-FFF2-40B4-BE49-F238E27FC236}">
                  <a16:creationId xmlns:a16="http://schemas.microsoft.com/office/drawing/2014/main" id="{115C2996-8AB8-BAD0-F531-9D4305FA956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70678" y="5990019"/>
              <a:ext cx="1793707" cy="348365"/>
              <a:chOff x="5456057" y="5609252"/>
              <a:chExt cx="1793707" cy="348365"/>
            </a:xfrm>
          </p:grpSpPr>
          <p:sp>
            <p:nvSpPr>
              <p:cNvPr id="22638" name="Isosceles Triangle 85">
                <a:extLst>
                  <a:ext uri="{FF2B5EF4-FFF2-40B4-BE49-F238E27FC236}">
                    <a16:creationId xmlns:a16="http://schemas.microsoft.com/office/drawing/2014/main" id="{C8BCE930-8222-5B0A-D06B-72B408BDD7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9900000">
                <a:off x="5456057" y="5693810"/>
                <a:ext cx="156625" cy="133179"/>
              </a:xfrm>
              <a:prstGeom prst="triangle">
                <a:avLst>
                  <a:gd name="adj" fmla="val 50000"/>
                </a:avLst>
              </a:prstGeom>
              <a:solidFill>
                <a:srgbClr val="70A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1pPr>
                <a:lvl2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2pPr>
                <a:lvl3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3pPr>
                <a:lvl4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4pPr>
                <a:lvl5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5pPr>
                <a:lvl6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6pPr>
                <a:lvl7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7pPr>
                <a:lvl8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8pPr>
                <a:lvl9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/>
                <a:endParaRPr lang="de-DE" altLang="de-DE" sz="975">
                  <a:solidFill>
                    <a:srgbClr val="404040"/>
                  </a:solidFill>
                  <a:latin typeface="+mn-lt"/>
                </a:endParaRPr>
              </a:p>
            </p:txBody>
          </p:sp>
          <p:sp>
            <p:nvSpPr>
              <p:cNvPr id="31812" name="TextBox 1872">
                <a:extLst>
                  <a:ext uri="{FF2B5EF4-FFF2-40B4-BE49-F238E27FC236}">
                    <a16:creationId xmlns:a16="http://schemas.microsoft.com/office/drawing/2014/main" id="{D34DC489-6617-1D52-58F6-8861A82BEB79}"/>
                  </a:ext>
                </a:extLst>
              </p:cNvPr>
              <p:cNvSpPr txBox="1"/>
              <p:nvPr/>
            </p:nvSpPr>
            <p:spPr>
              <a:xfrm>
                <a:off x="5602100" y="5609252"/>
                <a:ext cx="1647664" cy="34836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>
                <a:spAutoFit/>
              </a:bodyPr>
              <a:lstStyle/>
              <a:p>
                <a:pPr defTabSz="514337"/>
                <a:r>
                  <a:rPr lang="de" sz="675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404040"/>
                    </a:solidFill>
                    <a:ea typeface="Arial"/>
                  </a:rPr>
                  <a:t>Betazell-Antigen </a:t>
                </a:r>
              </a:p>
            </p:txBody>
          </p:sp>
        </p:grpSp>
        <p:grpSp>
          <p:nvGrpSpPr>
            <p:cNvPr id="22640" name="Group 102">
              <a:extLst>
                <a:ext uri="{FF2B5EF4-FFF2-40B4-BE49-F238E27FC236}">
                  <a16:creationId xmlns:a16="http://schemas.microsoft.com/office/drawing/2014/main" id="{74B92283-DC5E-DB5D-ABE9-A2649DCDFD3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5074" y="5617965"/>
              <a:ext cx="2392494" cy="711963"/>
              <a:chOff x="1068122" y="5622206"/>
              <a:chExt cx="2392494" cy="711963"/>
            </a:xfrm>
          </p:grpSpPr>
          <p:grpSp>
            <p:nvGrpSpPr>
              <p:cNvPr id="22641" name="Group 111">
                <a:extLst>
                  <a:ext uri="{FF2B5EF4-FFF2-40B4-BE49-F238E27FC236}">
                    <a16:creationId xmlns:a16="http://schemas.microsoft.com/office/drawing/2014/main" id="{FB0AE778-2C6A-0E25-FA4B-2207D7F5A0A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68122" y="5985805"/>
                <a:ext cx="1106642" cy="348364"/>
                <a:chOff x="2337779" y="5616898"/>
                <a:chExt cx="1106642" cy="348364"/>
              </a:xfrm>
            </p:grpSpPr>
            <p:pic>
              <p:nvPicPr>
                <p:cNvPr id="22642" name="Graphic 1865">
                  <a:extLst>
                    <a:ext uri="{FF2B5EF4-FFF2-40B4-BE49-F238E27FC236}">
                      <a16:creationId xmlns:a16="http://schemas.microsoft.com/office/drawing/2014/main" id="{71391372-669D-1D8C-D6B3-4E107E03AB8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337779" y="5623240"/>
                  <a:ext cx="289970" cy="2748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1810" name="TextBox 1870">
                  <a:extLst>
                    <a:ext uri="{FF2B5EF4-FFF2-40B4-BE49-F238E27FC236}">
                      <a16:creationId xmlns:a16="http://schemas.microsoft.com/office/drawing/2014/main" id="{31CBBD9B-EED1-9724-3623-02440EE74676}"/>
                    </a:ext>
                  </a:extLst>
                </p:cNvPr>
                <p:cNvSpPr txBox="1"/>
                <p:nvPr/>
              </p:nvSpPr>
              <p:spPr>
                <a:xfrm>
                  <a:off x="2534815" y="5616898"/>
                  <a:ext cx="909606" cy="34836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>
                  <a:spAutoFit/>
                </a:bodyPr>
                <a:lstStyle/>
                <a:p>
                  <a:pPr defTabSz="514337"/>
                  <a:r>
                    <a:rPr lang="de" sz="675">
                      <a:ln w="952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solidFill>
                        <a:srgbClr val="404040"/>
                      </a:solidFill>
                      <a:ea typeface="Arial"/>
                    </a:rPr>
                    <a:t>Gesund</a:t>
                  </a:r>
                </a:p>
              </p:txBody>
            </p:sp>
          </p:grpSp>
          <p:grpSp>
            <p:nvGrpSpPr>
              <p:cNvPr id="22644" name="Group 113">
                <a:extLst>
                  <a:ext uri="{FF2B5EF4-FFF2-40B4-BE49-F238E27FC236}">
                    <a16:creationId xmlns:a16="http://schemas.microsoft.com/office/drawing/2014/main" id="{8B1C1083-7404-76B9-10A2-796BCF1FEF4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092783" y="5985805"/>
                <a:ext cx="1367833" cy="348364"/>
                <a:chOff x="2342461" y="5976830"/>
                <a:chExt cx="1367833" cy="348364"/>
              </a:xfrm>
            </p:grpSpPr>
            <p:sp>
              <p:nvSpPr>
                <p:cNvPr id="31804" name="TextBox 117">
                  <a:extLst>
                    <a:ext uri="{FF2B5EF4-FFF2-40B4-BE49-F238E27FC236}">
                      <a16:creationId xmlns:a16="http://schemas.microsoft.com/office/drawing/2014/main" id="{5703E0A0-7793-D565-7FDA-2AB0BB5D8FA4}"/>
                    </a:ext>
                  </a:extLst>
                </p:cNvPr>
                <p:cNvSpPr txBox="1"/>
                <p:nvPr/>
              </p:nvSpPr>
              <p:spPr>
                <a:xfrm>
                  <a:off x="2541370" y="5976830"/>
                  <a:ext cx="1168924" cy="34836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>
                  <a:spAutoFit/>
                </a:bodyPr>
                <a:lstStyle/>
                <a:p>
                  <a:pPr defTabSz="514337"/>
                  <a:r>
                    <a:rPr lang="de" sz="675">
                      <a:ln w="952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solidFill>
                        <a:srgbClr val="404040"/>
                      </a:solidFill>
                      <a:ea typeface="Arial"/>
                    </a:rPr>
                    <a:t>Beschädigt</a:t>
                  </a:r>
                </a:p>
              </p:txBody>
            </p:sp>
            <p:grpSp>
              <p:nvGrpSpPr>
                <p:cNvPr id="22646" name="Graphic 305">
                  <a:extLst>
                    <a:ext uri="{FF2B5EF4-FFF2-40B4-BE49-F238E27FC236}">
                      <a16:creationId xmlns:a16="http://schemas.microsoft.com/office/drawing/2014/main" id="{6FA88695-BB7E-F149-8D9C-1E16094DE760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342461" y="5985964"/>
                  <a:ext cx="283048" cy="267245"/>
                  <a:chOff x="2342461" y="5985964"/>
                  <a:chExt cx="283048" cy="267245"/>
                </a:xfrm>
              </p:grpSpPr>
              <p:sp>
                <p:nvSpPr>
                  <p:cNvPr id="31806" name="Freeform 3">
                    <a:extLst>
                      <a:ext uri="{FF2B5EF4-FFF2-40B4-BE49-F238E27FC236}">
                        <a16:creationId xmlns:a16="http://schemas.microsoft.com/office/drawing/2014/main" id="{457EC030-3A41-BC36-DB56-913FB1750523}"/>
                      </a:ext>
                    </a:extLst>
                  </p:cNvPr>
                  <p:cNvSpPr/>
                  <p:nvPr/>
                </p:nvSpPr>
                <p:spPr>
                  <a:xfrm>
                    <a:off x="2342217" y="5985285"/>
                    <a:ext cx="283619" cy="268471"/>
                  </a:xfrm>
                  <a:custGeom>
                    <a:avLst/>
                    <a:gdLst>
                      <a:gd name="connsiteX0" fmla="*/ 95259 w 283048"/>
                      <a:gd name="connsiteY0" fmla="*/ 12522 h 267245"/>
                      <a:gd name="connsiteX1" fmla="*/ 111257 w 283048"/>
                      <a:gd name="connsiteY1" fmla="*/ 3061 h 267245"/>
                      <a:gd name="connsiteX2" fmla="*/ 136902 w 283048"/>
                      <a:gd name="connsiteY2" fmla="*/ 306 h 267245"/>
                      <a:gd name="connsiteX3" fmla="*/ 220287 w 283048"/>
                      <a:gd name="connsiteY3" fmla="*/ 31163 h 267245"/>
                      <a:gd name="connsiteX4" fmla="*/ 261307 w 283048"/>
                      <a:gd name="connsiteY4" fmla="*/ 53109 h 267245"/>
                      <a:gd name="connsiteX5" fmla="*/ 278404 w 283048"/>
                      <a:gd name="connsiteY5" fmla="*/ 66264 h 267245"/>
                      <a:gd name="connsiteX6" fmla="*/ 282862 w 283048"/>
                      <a:gd name="connsiteY6" fmla="*/ 92562 h 267245"/>
                      <a:gd name="connsiteX7" fmla="*/ 279125 w 283048"/>
                      <a:gd name="connsiteY7" fmla="*/ 144269 h 267245"/>
                      <a:gd name="connsiteX8" fmla="*/ 267804 w 283048"/>
                      <a:gd name="connsiteY8" fmla="*/ 200352 h 267245"/>
                      <a:gd name="connsiteX9" fmla="*/ 232145 w 283048"/>
                      <a:gd name="connsiteY9" fmla="*/ 243841 h 267245"/>
                      <a:gd name="connsiteX10" fmla="*/ 191845 w 283048"/>
                      <a:gd name="connsiteY10" fmla="*/ 255143 h 267245"/>
                      <a:gd name="connsiteX11" fmla="*/ 142715 w 283048"/>
                      <a:gd name="connsiteY11" fmla="*/ 263165 h 267245"/>
                      <a:gd name="connsiteX12" fmla="*/ 72288 w 283048"/>
                      <a:gd name="connsiteY12" fmla="*/ 261556 h 267245"/>
                      <a:gd name="connsiteX13" fmla="*/ 28593 w 283048"/>
                      <a:gd name="connsiteY13" fmla="*/ 222139 h 267245"/>
                      <a:gd name="connsiteX14" fmla="*/ 224 w 283048"/>
                      <a:gd name="connsiteY14" fmla="*/ 154498 h 267245"/>
                      <a:gd name="connsiteX15" fmla="*/ 29875 w 283048"/>
                      <a:gd name="connsiteY15" fmla="*/ 83613 h 267245"/>
                      <a:gd name="connsiteX16" fmla="*/ 95259 w 283048"/>
                      <a:gd name="connsiteY16" fmla="*/ 12522 h 2672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283048" h="267245">
                        <a:moveTo>
                          <a:pt x="95259" y="12522"/>
                        </a:moveTo>
                        <a:cubicBezTo>
                          <a:pt x="100136" y="8658"/>
                          <a:pt x="105519" y="5475"/>
                          <a:pt x="111257" y="3061"/>
                        </a:cubicBezTo>
                        <a:cubicBezTo>
                          <a:pt x="119341" y="-36"/>
                          <a:pt x="128244" y="-402"/>
                          <a:pt x="136902" y="306"/>
                        </a:cubicBezTo>
                        <a:cubicBezTo>
                          <a:pt x="166675" y="2744"/>
                          <a:pt x="193957" y="17094"/>
                          <a:pt x="220287" y="31163"/>
                        </a:cubicBezTo>
                        <a:lnTo>
                          <a:pt x="261307" y="53109"/>
                        </a:lnTo>
                        <a:cubicBezTo>
                          <a:pt x="267719" y="56535"/>
                          <a:pt x="274411" y="60205"/>
                          <a:pt x="278404" y="66264"/>
                        </a:cubicBezTo>
                        <a:cubicBezTo>
                          <a:pt x="283399" y="73811"/>
                          <a:pt x="283289" y="83528"/>
                          <a:pt x="282862" y="92562"/>
                        </a:cubicBezTo>
                        <a:cubicBezTo>
                          <a:pt x="282047" y="109826"/>
                          <a:pt x="280802" y="127062"/>
                          <a:pt x="279125" y="144269"/>
                        </a:cubicBezTo>
                        <a:cubicBezTo>
                          <a:pt x="277232" y="163300"/>
                          <a:pt x="274753" y="182515"/>
                          <a:pt x="267804" y="200352"/>
                        </a:cubicBezTo>
                        <a:cubicBezTo>
                          <a:pt x="260856" y="218189"/>
                          <a:pt x="248973" y="234709"/>
                          <a:pt x="232145" y="243841"/>
                        </a:cubicBezTo>
                        <a:cubicBezTo>
                          <a:pt x="219810" y="250534"/>
                          <a:pt x="205669" y="252887"/>
                          <a:pt x="191845" y="255143"/>
                        </a:cubicBezTo>
                        <a:lnTo>
                          <a:pt x="142715" y="263165"/>
                        </a:lnTo>
                        <a:cubicBezTo>
                          <a:pt x="119207" y="267006"/>
                          <a:pt x="94270" y="270663"/>
                          <a:pt x="72288" y="261556"/>
                        </a:cubicBezTo>
                        <a:cubicBezTo>
                          <a:pt x="53970" y="253960"/>
                          <a:pt x="40097" y="238391"/>
                          <a:pt x="28593" y="222139"/>
                        </a:cubicBezTo>
                        <a:cubicBezTo>
                          <a:pt x="14268" y="201949"/>
                          <a:pt x="2178" y="179223"/>
                          <a:pt x="224" y="154498"/>
                        </a:cubicBezTo>
                        <a:cubicBezTo>
                          <a:pt x="-2133" y="124457"/>
                          <a:pt x="14549" y="106717"/>
                          <a:pt x="29875" y="83613"/>
                        </a:cubicBezTo>
                        <a:cubicBezTo>
                          <a:pt x="48022" y="56255"/>
                          <a:pt x="68649" y="32212"/>
                          <a:pt x="95259" y="12522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 w="7204" cap="flat">
                    <a:solidFill>
                      <a:srgbClr val="585863"/>
                    </a:solidFill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31807" name="Freeform 4">
                    <a:extLst>
                      <a:ext uri="{FF2B5EF4-FFF2-40B4-BE49-F238E27FC236}">
                        <a16:creationId xmlns:a16="http://schemas.microsoft.com/office/drawing/2014/main" id="{6469EAF6-AAEF-A374-CE96-31CAF5830962}"/>
                      </a:ext>
                    </a:extLst>
                  </p:cNvPr>
                  <p:cNvSpPr/>
                  <p:nvPr/>
                </p:nvSpPr>
                <p:spPr>
                  <a:xfrm>
                    <a:off x="2426879" y="6071957"/>
                    <a:ext cx="122760" cy="133178"/>
                  </a:xfrm>
                  <a:custGeom>
                    <a:avLst/>
                    <a:gdLst>
                      <a:gd name="connsiteX0" fmla="*/ 120900 w 120900"/>
                      <a:gd name="connsiteY0" fmla="*/ 67056 h 134112"/>
                      <a:gd name="connsiteX1" fmla="*/ 60450 w 120900"/>
                      <a:gd name="connsiteY1" fmla="*/ 134112 h 134112"/>
                      <a:gd name="connsiteX2" fmla="*/ 0 w 120900"/>
                      <a:gd name="connsiteY2" fmla="*/ 67056 h 134112"/>
                      <a:gd name="connsiteX3" fmla="*/ 60450 w 120900"/>
                      <a:gd name="connsiteY3" fmla="*/ 0 h 134112"/>
                      <a:gd name="connsiteX4" fmla="*/ 120900 w 120900"/>
                      <a:gd name="connsiteY4" fmla="*/ 67056 h 1341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900" h="134112">
                        <a:moveTo>
                          <a:pt x="120900" y="67056"/>
                        </a:moveTo>
                        <a:cubicBezTo>
                          <a:pt x="120900" y="104090"/>
                          <a:pt x="93836" y="134112"/>
                          <a:pt x="60450" y="134112"/>
                        </a:cubicBezTo>
                        <a:cubicBezTo>
                          <a:pt x="27064" y="134112"/>
                          <a:pt x="0" y="104090"/>
                          <a:pt x="0" y="67056"/>
                        </a:cubicBezTo>
                        <a:cubicBezTo>
                          <a:pt x="0" y="30022"/>
                          <a:pt x="27064" y="0"/>
                          <a:pt x="60450" y="0"/>
                        </a:cubicBezTo>
                        <a:cubicBezTo>
                          <a:pt x="93836" y="0"/>
                          <a:pt x="120900" y="30022"/>
                          <a:pt x="120900" y="67056"/>
                        </a:cubicBezTo>
                        <a:close/>
                      </a:path>
                    </a:pathLst>
                  </a:custGeom>
                  <a:solidFill>
                    <a:srgbClr val="E3E7F7">
                      <a:alpha val="48000"/>
                    </a:srgbClr>
                  </a:solidFill>
                  <a:ln w="1201" cap="flat">
                    <a:noFill/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31808" name="Freeform 5">
                    <a:extLst>
                      <a:ext uri="{FF2B5EF4-FFF2-40B4-BE49-F238E27FC236}">
                        <a16:creationId xmlns:a16="http://schemas.microsoft.com/office/drawing/2014/main" id="{2D656E01-F068-A9DA-3703-0F2EAC2CB4DF}"/>
                      </a:ext>
                    </a:extLst>
                  </p:cNvPr>
                  <p:cNvSpPr/>
                  <p:nvPr/>
                </p:nvSpPr>
                <p:spPr>
                  <a:xfrm>
                    <a:off x="2532707" y="6027564"/>
                    <a:ext cx="69847" cy="118381"/>
                  </a:xfrm>
                  <a:custGeom>
                    <a:avLst/>
                    <a:gdLst>
                      <a:gd name="connsiteX0" fmla="*/ 53880 w 69942"/>
                      <a:gd name="connsiteY0" fmla="*/ 24616 h 117152"/>
                      <a:gd name="connsiteX1" fmla="*/ 68022 w 69942"/>
                      <a:gd name="connsiteY1" fmla="*/ 36040 h 117152"/>
                      <a:gd name="connsiteX2" fmla="*/ 69707 w 69942"/>
                      <a:gd name="connsiteY2" fmla="*/ 46732 h 117152"/>
                      <a:gd name="connsiteX3" fmla="*/ 63467 w 69942"/>
                      <a:gd name="connsiteY3" fmla="*/ 117153 h 117152"/>
                      <a:gd name="connsiteX4" fmla="*/ 56872 w 69942"/>
                      <a:gd name="connsiteY4" fmla="*/ 60314 h 117152"/>
                      <a:gd name="connsiteX5" fmla="*/ 30530 w 69942"/>
                      <a:gd name="connsiteY5" fmla="*/ 29175 h 117152"/>
                      <a:gd name="connsiteX6" fmla="*/ 0 w 69942"/>
                      <a:gd name="connsiteY6" fmla="*/ 0 h 117152"/>
                      <a:gd name="connsiteX7" fmla="*/ 53880 w 69942"/>
                      <a:gd name="connsiteY7" fmla="*/ 24616 h 1171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9942" h="117152">
                        <a:moveTo>
                          <a:pt x="53880" y="24616"/>
                        </a:moveTo>
                        <a:cubicBezTo>
                          <a:pt x="59461" y="27286"/>
                          <a:pt x="65457" y="30407"/>
                          <a:pt x="68022" y="36040"/>
                        </a:cubicBezTo>
                        <a:cubicBezTo>
                          <a:pt x="69524" y="39344"/>
                          <a:pt x="69634" y="43099"/>
                          <a:pt x="69707" y="46732"/>
                        </a:cubicBezTo>
                        <a:cubicBezTo>
                          <a:pt x="70195" y="70409"/>
                          <a:pt x="70611" y="94573"/>
                          <a:pt x="63467" y="117153"/>
                        </a:cubicBezTo>
                        <a:cubicBezTo>
                          <a:pt x="57360" y="98975"/>
                          <a:pt x="63467" y="78321"/>
                          <a:pt x="56872" y="60314"/>
                        </a:cubicBezTo>
                        <a:cubicBezTo>
                          <a:pt x="52036" y="47098"/>
                          <a:pt x="41240" y="37710"/>
                          <a:pt x="30530" y="29175"/>
                        </a:cubicBezTo>
                        <a:cubicBezTo>
                          <a:pt x="21139" y="21702"/>
                          <a:pt x="3664" y="11875"/>
                          <a:pt x="0" y="0"/>
                        </a:cubicBezTo>
                        <a:cubicBezTo>
                          <a:pt x="18147" y="4487"/>
                          <a:pt x="36930" y="16471"/>
                          <a:pt x="53880" y="246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201" cap="flat">
                    <a:noFill/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p:grpSp>
          </p:grpSp>
          <p:sp>
            <p:nvSpPr>
              <p:cNvPr id="31803" name="TextBox 116">
                <a:extLst>
                  <a:ext uri="{FF2B5EF4-FFF2-40B4-BE49-F238E27FC236}">
                    <a16:creationId xmlns:a16="http://schemas.microsoft.com/office/drawing/2014/main" id="{23F3D375-06F4-95E3-5D49-A1E0F5D2FD83}"/>
                  </a:ext>
                </a:extLst>
              </p:cNvPr>
              <p:cNvSpPr txBox="1"/>
              <p:nvPr/>
            </p:nvSpPr>
            <p:spPr>
              <a:xfrm>
                <a:off x="2113704" y="5622206"/>
                <a:ext cx="1228766" cy="34836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>
                <a:spAutoFit/>
              </a:bodyPr>
              <a:lstStyle/>
              <a:p>
                <a:pPr defTabSz="514337"/>
                <a:r>
                  <a:rPr lang="de" sz="675" b="1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404040"/>
                    </a:solidFill>
                    <a:ea typeface="Arial"/>
                  </a:rPr>
                  <a:t>Betazellen</a:t>
                </a:r>
              </a:p>
            </p:txBody>
          </p:sp>
        </p:grpSp>
        <p:sp>
          <p:nvSpPr>
            <p:cNvPr id="31796" name="Freeform 310">
              <a:extLst>
                <a:ext uri="{FF2B5EF4-FFF2-40B4-BE49-F238E27FC236}">
                  <a16:creationId xmlns:a16="http://schemas.microsoft.com/office/drawing/2014/main" id="{2D2C3F17-C2DD-0CFE-CF7D-708ED17331BE}"/>
                </a:ext>
              </a:extLst>
            </p:cNvPr>
            <p:cNvSpPr/>
            <p:nvPr/>
          </p:nvSpPr>
          <p:spPr>
            <a:xfrm rot="5400000">
              <a:off x="2260142" y="4411155"/>
              <a:ext cx="61304" cy="3011869"/>
            </a:xfrm>
            <a:custGeom>
              <a:avLst/>
              <a:gdLst>
                <a:gd name="connsiteX0" fmla="*/ 185980 w 185980"/>
                <a:gd name="connsiteY0" fmla="*/ 0 h 1015139"/>
                <a:gd name="connsiteX1" fmla="*/ 0 w 185980"/>
                <a:gd name="connsiteY1" fmla="*/ 0 h 1015139"/>
                <a:gd name="connsiteX2" fmla="*/ 0 w 185980"/>
                <a:gd name="connsiteY2" fmla="*/ 1015139 h 1015139"/>
                <a:gd name="connsiteX3" fmla="*/ 185980 w 185980"/>
                <a:gd name="connsiteY3" fmla="*/ 1015139 h 1015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980" h="1015139">
                  <a:moveTo>
                    <a:pt x="185980" y="0"/>
                  </a:moveTo>
                  <a:lnTo>
                    <a:pt x="0" y="0"/>
                  </a:lnTo>
                  <a:lnTo>
                    <a:pt x="0" y="1015139"/>
                  </a:lnTo>
                  <a:lnTo>
                    <a:pt x="185980" y="1015139"/>
                  </a:lnTo>
                </a:path>
              </a:pathLst>
            </a:custGeom>
            <a:noFill/>
            <a:ln w="9525" cap="flat" cmpd="sng" algn="ctr">
              <a:solidFill>
                <a:srgbClr val="BFBFB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 defTabSz="514337"/>
              <a:endParaRPr lang="en-US" sz="1013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22652" name="Graphic 105">
              <a:extLst>
                <a:ext uri="{FF2B5EF4-FFF2-40B4-BE49-F238E27FC236}">
                  <a16:creationId xmlns:a16="http://schemas.microsoft.com/office/drawing/2014/main" id="{9B22EB5D-880C-2728-99B8-5EE3CAB084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4178" y="5987906"/>
              <a:ext cx="289968" cy="2748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798" name="TextBox 106">
              <a:extLst>
                <a:ext uri="{FF2B5EF4-FFF2-40B4-BE49-F238E27FC236}">
                  <a16:creationId xmlns:a16="http://schemas.microsoft.com/office/drawing/2014/main" id="{01EDC52C-4E53-59E7-4832-B94C54F65D77}"/>
                </a:ext>
              </a:extLst>
            </p:cNvPr>
            <p:cNvSpPr txBox="1"/>
            <p:nvPr/>
          </p:nvSpPr>
          <p:spPr>
            <a:xfrm>
              <a:off x="3301452" y="5992133"/>
              <a:ext cx="576199" cy="34836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none">
              <a:spAutoFit/>
            </a:bodyPr>
            <a:lstStyle/>
            <a:p>
              <a:pPr defTabSz="514337"/>
              <a:r>
                <a:rPr lang="de" sz="675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404040"/>
                  </a:solidFill>
                  <a:ea typeface="Arial"/>
                </a:rPr>
                <a:t>Tot</a:t>
              </a:r>
            </a:p>
          </p:txBody>
        </p:sp>
        <p:sp>
          <p:nvSpPr>
            <p:cNvPr id="31799" name="Freeform 676">
              <a:extLst>
                <a:ext uri="{FF2B5EF4-FFF2-40B4-BE49-F238E27FC236}">
                  <a16:creationId xmlns:a16="http://schemas.microsoft.com/office/drawing/2014/main" id="{A2E9B913-8EAD-8CEE-6CD2-0027F0E93B6A}"/>
                </a:ext>
              </a:extLst>
            </p:cNvPr>
            <p:cNvSpPr/>
            <p:nvPr/>
          </p:nvSpPr>
          <p:spPr>
            <a:xfrm rot="960000">
              <a:off x="7473199" y="6087261"/>
              <a:ext cx="31748" cy="42279"/>
            </a:xfrm>
            <a:custGeom>
              <a:avLst/>
              <a:gdLst>
                <a:gd name="connsiteX0" fmla="*/ 0 w 96767"/>
                <a:gd name="connsiteY0" fmla="*/ 150303 h 150303"/>
                <a:gd name="connsiteX1" fmla="*/ 70960 w 96767"/>
                <a:gd name="connsiteY1" fmla="*/ 66010 h 150303"/>
                <a:gd name="connsiteX2" fmla="*/ 96767 w 96767"/>
                <a:gd name="connsiteY2" fmla="*/ 0 h 150303"/>
                <a:gd name="connsiteX3" fmla="*/ 47276 w 96767"/>
                <a:gd name="connsiteY3" fmla="*/ 73536 h 150303"/>
                <a:gd name="connsiteX4" fmla="*/ 23277 w 96767"/>
                <a:gd name="connsiteY4" fmla="*/ 111682 h 150303"/>
                <a:gd name="connsiteX5" fmla="*/ 0 w 96767"/>
                <a:gd name="connsiteY5" fmla="*/ 150303 h 15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767" h="150303">
                  <a:moveTo>
                    <a:pt x="0" y="150303"/>
                  </a:moveTo>
                  <a:cubicBezTo>
                    <a:pt x="27276" y="125445"/>
                    <a:pt x="55163" y="99434"/>
                    <a:pt x="70960" y="66010"/>
                  </a:cubicBezTo>
                  <a:cubicBezTo>
                    <a:pt x="80587" y="45672"/>
                    <a:pt x="91095" y="21695"/>
                    <a:pt x="96767" y="0"/>
                  </a:cubicBezTo>
                  <a:cubicBezTo>
                    <a:pt x="78688" y="23051"/>
                    <a:pt x="63095" y="48971"/>
                    <a:pt x="47276" y="73536"/>
                  </a:cubicBezTo>
                  <a:cubicBezTo>
                    <a:pt x="39170" y="86191"/>
                    <a:pt x="31170" y="98906"/>
                    <a:pt x="23277" y="111682"/>
                  </a:cubicBezTo>
                  <a:cubicBezTo>
                    <a:pt x="16474" y="122733"/>
                    <a:pt x="9446" y="141625"/>
                    <a:pt x="0" y="150303"/>
                  </a:cubicBezTo>
                  <a:close/>
                </a:path>
              </a:pathLst>
            </a:custGeom>
            <a:solidFill>
              <a:srgbClr val="FFFFFF"/>
            </a:solidFill>
            <a:ln w="2228" cap="flat">
              <a:noFill/>
              <a:prstDash val="solid"/>
              <a:miter/>
            </a:ln>
          </p:spPr>
          <p:txBody>
            <a:bodyPr anchor="ctr"/>
            <a:lstStyle/>
            <a:p>
              <a:pPr defTabSz="514337"/>
              <a:endParaRPr lang="en-US" sz="1013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1800" name="TextBox 110">
              <a:extLst>
                <a:ext uri="{FF2B5EF4-FFF2-40B4-BE49-F238E27FC236}">
                  <a16:creationId xmlns:a16="http://schemas.microsoft.com/office/drawing/2014/main" id="{5A3A3210-9874-EB93-34A4-27A21C82F376}"/>
                </a:ext>
              </a:extLst>
            </p:cNvPr>
            <p:cNvSpPr txBox="1"/>
            <p:nvPr/>
          </p:nvSpPr>
          <p:spPr>
            <a:xfrm>
              <a:off x="7913296" y="5990018"/>
              <a:ext cx="1479535" cy="34836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none">
              <a:spAutoFit/>
            </a:bodyPr>
            <a:lstStyle/>
            <a:p>
              <a:pPr defTabSz="514337"/>
              <a:r>
                <a:rPr lang="de" sz="675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404040"/>
                  </a:solidFill>
                  <a:ea typeface="Arial"/>
                </a:rPr>
                <a:t>Autoantikörper</a:t>
              </a:r>
            </a:p>
          </p:txBody>
        </p:sp>
      </p:grpSp>
      <p:grpSp>
        <p:nvGrpSpPr>
          <p:cNvPr id="22656" name="Group 1875">
            <a:extLst>
              <a:ext uri="{FF2B5EF4-FFF2-40B4-BE49-F238E27FC236}">
                <a16:creationId xmlns:a16="http://schemas.microsoft.com/office/drawing/2014/main" id="{3ADBFEAB-1711-AE44-ACEF-B700650386B3}"/>
              </a:ext>
            </a:extLst>
          </p:cNvPr>
          <p:cNvGrpSpPr>
            <a:grpSpLocks/>
          </p:cNvGrpSpPr>
          <p:nvPr/>
        </p:nvGrpSpPr>
        <p:grpSpPr bwMode="auto">
          <a:xfrm>
            <a:off x="5449786" y="3673079"/>
            <a:ext cx="176213" cy="129778"/>
            <a:chOff x="4838046" y="5925384"/>
            <a:chExt cx="313545" cy="230188"/>
          </a:xfrm>
        </p:grpSpPr>
        <p:pic>
          <p:nvPicPr>
            <p:cNvPr id="22657" name="Graphic 1876">
              <a:extLst>
                <a:ext uri="{FF2B5EF4-FFF2-40B4-BE49-F238E27FC236}">
                  <a16:creationId xmlns:a16="http://schemas.microsoft.com/office/drawing/2014/main" id="{4A4EB7EB-9D2C-31A2-2794-53B0C2FECD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4820000">
              <a:off x="4844614" y="6003289"/>
              <a:ext cx="133044" cy="1461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658" name="Graphic 1877">
              <a:extLst>
                <a:ext uri="{FF2B5EF4-FFF2-40B4-BE49-F238E27FC236}">
                  <a16:creationId xmlns:a16="http://schemas.microsoft.com/office/drawing/2014/main" id="{6FC68F45-6DD7-F4B5-2667-004766A9A7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1400000">
              <a:off x="4973633" y="5925384"/>
              <a:ext cx="146180" cy="1330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659" name="Graphic 1878">
              <a:extLst>
                <a:ext uri="{FF2B5EF4-FFF2-40B4-BE49-F238E27FC236}">
                  <a16:creationId xmlns:a16="http://schemas.microsoft.com/office/drawing/2014/main" id="{73471F66-B7ED-9B86-9037-591E1EAAAD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740000">
              <a:off x="5005412" y="6022528"/>
              <a:ext cx="146179" cy="1330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TextBox 3037">
            <a:extLst>
              <a:ext uri="{FF2B5EF4-FFF2-40B4-BE49-F238E27FC236}">
                <a16:creationId xmlns:a16="http://schemas.microsoft.com/office/drawing/2014/main" id="{8A6CF0B4-5AC5-65D0-F863-B4C34FF8E4F7}"/>
              </a:ext>
            </a:extLst>
          </p:cNvPr>
          <p:cNvSpPr txBox="1"/>
          <p:nvPr/>
        </p:nvSpPr>
        <p:spPr>
          <a:xfrm>
            <a:off x="363944" y="4826534"/>
            <a:ext cx="8544017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685766">
              <a:buClr>
                <a:srgbClr val="2F4B95"/>
              </a:buClr>
              <a:defRPr/>
            </a:pP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1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Insel RA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et al. Diabetes Care 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2015; 38: 1964–74. </a:t>
            </a: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2. 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van Belle TL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et al. Physiole Rev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2011; 91: 79–118. </a:t>
            </a: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3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Pugliese A.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J Clin Invest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2017; 127: 2881–91. </a:t>
            </a: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4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Rodriguez-Calvo T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et al. Front Immunol 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2021; 12: 667989.</a:t>
            </a:r>
            <a:endParaRPr lang="en-US" sz="600" dirty="0">
              <a:solidFill>
                <a:srgbClr val="404040"/>
              </a:solidFill>
            </a:endParaRPr>
          </a:p>
        </p:txBody>
      </p:sp>
      <p:sp>
        <p:nvSpPr>
          <p:cNvPr id="7" name="TextBox 28">
            <a:extLst>
              <a:ext uri="{FF2B5EF4-FFF2-40B4-BE49-F238E27FC236}">
                <a16:creationId xmlns:a16="http://schemas.microsoft.com/office/drawing/2014/main" id="{DAFE53BF-D660-2D7D-4FA4-4BCF11F39775}"/>
              </a:ext>
            </a:extLst>
          </p:cNvPr>
          <p:cNvSpPr txBox="1"/>
          <p:nvPr/>
        </p:nvSpPr>
        <p:spPr>
          <a:xfrm>
            <a:off x="363945" y="4453078"/>
            <a:ext cx="6488192" cy="3462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anchor="b">
            <a:spAutoFit/>
          </a:bodyPr>
          <a:lstStyle/>
          <a:p>
            <a:pPr defTabSz="514337">
              <a:spcAft>
                <a:spcPts val="338"/>
              </a:spcAft>
            </a:pPr>
            <a:r>
              <a:rPr lang="de" sz="7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404040"/>
                </a:solidFill>
                <a:ea typeface="Arial"/>
              </a:rPr>
              <a:t>T1D: Typ-1-Diabetes.</a:t>
            </a:r>
          </a:p>
          <a:p>
            <a:pPr defTabSz="514337">
              <a:spcAft>
                <a:spcPts val="338"/>
              </a:spcAft>
            </a:pPr>
            <a:r>
              <a:rPr lang="de" sz="7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404040"/>
                </a:solidFill>
                <a:ea typeface="Arial"/>
              </a:rPr>
              <a:t>Hinweis: Abbildung ist ein Beispiel für Veranschaulichungszwecke.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727C4961-423B-F23D-72C4-EA26D0B5815E}"/>
              </a:ext>
            </a:extLst>
          </p:cNvPr>
          <p:cNvSpPr txBox="1">
            <a:spLocks/>
          </p:cNvSpPr>
          <p:nvPr/>
        </p:nvSpPr>
        <p:spPr>
          <a:xfrm>
            <a:off x="363944" y="133354"/>
            <a:ext cx="8485200" cy="672166"/>
          </a:xfrm>
          <a:prstGeom prst="rect">
            <a:avLst/>
          </a:prstGeom>
          <a:ln cap="flat" algn="ctr">
            <a:miter lim="800000"/>
            <a:headEnd type="none" w="med" len="med"/>
            <a:tailEnd type="none" w="med" len="med"/>
          </a:ln>
        </p:spPr>
        <p:txBody>
          <a:bodyPr vert="horz" lIns="45720" tIns="45720" rIns="45720" bIns="45720" rtlCol="0" anchor="ctr">
            <a:noAutofit/>
          </a:bodyPr>
          <a:lstStyle>
            <a:lvl1pPr marL="0" indent="0" algn="l" defTabSz="68421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2800" b="1" i="0" u="none" kern="1200" baseline="0">
                <a:solidFill>
                  <a:schemeClr val="tx2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1pPr>
          </a:lstStyle>
          <a:p>
            <a:pPr eaLnBrk="1" hangingPunct="1"/>
            <a:r>
              <a:rPr lang="de-DE" sz="20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7030A0"/>
                </a:solidFill>
                <a:latin typeface="+mj-lt"/>
                <a:ea typeface="Arial"/>
                <a:cs typeface="Arial"/>
              </a:rPr>
              <a:t>Der Verlust der Betazellfunktion tritt über 3 Stadien der T1D-Progression auf,…</a:t>
            </a:r>
            <a:r>
              <a:rPr lang="de-DE" sz="2000" baseline="300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7030A0"/>
                </a:solidFill>
                <a:latin typeface="+mj-lt"/>
                <a:ea typeface="Arial"/>
                <a:cs typeface="Arial"/>
              </a:rPr>
              <a:t>1</a:t>
            </a:r>
            <a:endParaRPr lang="de-DE" sz="2000" baseline="30000" dirty="0">
              <a:solidFill>
                <a:srgbClr val="7030A0"/>
              </a:solidFill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64" name="insulin production text">
            <a:extLst>
              <a:ext uri="{FF2B5EF4-FFF2-40B4-BE49-F238E27FC236}">
                <a16:creationId xmlns:a16="http://schemas.microsoft.com/office/drawing/2014/main" id="{A0F4451D-9B84-DBC5-7FCE-E27962B8700E}"/>
              </a:ext>
            </a:extLst>
          </p:cNvPr>
          <p:cNvSpPr txBox="1"/>
          <p:nvPr/>
        </p:nvSpPr>
        <p:spPr>
          <a:xfrm>
            <a:off x="3861524" y="3296024"/>
            <a:ext cx="1369286" cy="334835"/>
          </a:xfrm>
          <a:prstGeom prst="rect">
            <a:avLst/>
          </a:prstGeom>
          <a:solidFill>
            <a:srgbClr val="F5F3F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>
            <a:spAutoFit/>
          </a:bodyPr>
          <a:lstStyle/>
          <a:p>
            <a:pPr algn="ctr" defTabSz="514337"/>
            <a:r>
              <a:rPr lang="de" sz="788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Potenziell reduzierte</a:t>
            </a:r>
            <a:br>
              <a:rPr sz="788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a typeface="Arial"/>
                <a:sym typeface="Wingdings"/>
              </a:rPr>
            </a:br>
            <a:r>
              <a:rPr lang="de" sz="788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Insulinsekretion</a:t>
            </a:r>
          </a:p>
        </p:txBody>
      </p:sp>
      <p:sp>
        <p:nvSpPr>
          <p:cNvPr id="2" name="TextBox 28">
            <a:extLst>
              <a:ext uri="{FF2B5EF4-FFF2-40B4-BE49-F238E27FC236}">
                <a16:creationId xmlns:a16="http://schemas.microsoft.com/office/drawing/2014/main" id="{D56DFB85-DC22-5F3C-01EA-7CE8B3DBEF23}"/>
              </a:ext>
            </a:extLst>
          </p:cNvPr>
          <p:cNvSpPr txBox="1"/>
          <p:nvPr/>
        </p:nvSpPr>
        <p:spPr>
          <a:xfrm>
            <a:off x="363945" y="4186844"/>
            <a:ext cx="6488192" cy="61555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anchor="b">
            <a:spAutoFit/>
          </a:bodyPr>
          <a:lstStyle/>
          <a:p>
            <a:pPr defTabSz="514337">
              <a:spcAft>
                <a:spcPts val="338"/>
              </a:spcAft>
            </a:pPr>
            <a:r>
              <a:rPr lang="de-DE" altLang="de-DE" sz="700" dirty="0">
                <a:solidFill>
                  <a:srgbClr val="404040"/>
                </a:solidFill>
              </a:rPr>
              <a:t>* Definiert als </a:t>
            </a:r>
            <a:r>
              <a:rPr lang="de-DE" altLang="de-DE" sz="700" dirty="0" err="1">
                <a:solidFill>
                  <a:srgbClr val="404040"/>
                </a:solidFill>
              </a:rPr>
              <a:t>Nüchternplasmaglukose</a:t>
            </a:r>
            <a:r>
              <a:rPr lang="de-DE" altLang="de-DE" sz="700" dirty="0">
                <a:solidFill>
                  <a:srgbClr val="404040"/>
                </a:solidFill>
              </a:rPr>
              <a:t> 100–125 mg/dl (5,6–6,9 mmol/l) oder 2-stündige Plasmaglukose während eines oralen Glukose-Toleranztests (OGTT) 140–199 mg/dl (7,8–11,1 mmol/l)  oder HbA</a:t>
            </a:r>
            <a:r>
              <a:rPr lang="de-DE" altLang="de-DE" sz="700" baseline="-25000" dirty="0">
                <a:solidFill>
                  <a:srgbClr val="404040"/>
                </a:solidFill>
              </a:rPr>
              <a:t>1c</a:t>
            </a:r>
            <a:r>
              <a:rPr lang="de-DE" altLang="de-DE" sz="700" dirty="0">
                <a:solidFill>
                  <a:srgbClr val="404040"/>
                </a:solidFill>
              </a:rPr>
              <a:t> 5,7 %–6,4 % (39-47 mmol/</a:t>
            </a:r>
            <a:r>
              <a:rPr lang="de-DE" altLang="de-DE" sz="700" dirty="0" err="1">
                <a:solidFill>
                  <a:srgbClr val="404040"/>
                </a:solidFill>
              </a:rPr>
              <a:t>mol</a:t>
            </a:r>
            <a:r>
              <a:rPr lang="de-DE" altLang="de-DE" sz="700" dirty="0">
                <a:solidFill>
                  <a:srgbClr val="404040"/>
                </a:solidFill>
              </a:rPr>
              <a:t>) oder ≥ 10 % Anstieg des HbA</a:t>
            </a:r>
            <a:r>
              <a:rPr lang="de-DE" altLang="de-DE" sz="700" baseline="-25000" dirty="0">
                <a:solidFill>
                  <a:srgbClr val="404040"/>
                </a:solidFill>
              </a:rPr>
              <a:t>1c</a:t>
            </a:r>
            <a:r>
              <a:rPr lang="de-DE" altLang="de-DE" sz="700" dirty="0">
                <a:solidFill>
                  <a:srgbClr val="404040"/>
                </a:solidFill>
              </a:rPr>
              <a:t>.</a:t>
            </a:r>
            <a:r>
              <a:rPr lang="de-DE" altLang="de-DE" sz="700" baseline="30000" dirty="0">
                <a:solidFill>
                  <a:srgbClr val="404040"/>
                </a:solidFill>
              </a:rPr>
              <a:t>4</a:t>
            </a:r>
          </a:p>
          <a:p>
            <a:pPr defTabSz="514337">
              <a:spcAft>
                <a:spcPts val="338"/>
              </a:spcAft>
            </a:pPr>
            <a:r>
              <a:rPr lang="de-DE" sz="7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404040"/>
                </a:solidFill>
                <a:ea typeface="Arial"/>
              </a:rPr>
              <a:t>T1D: Typ-1-Diabetes.</a:t>
            </a:r>
          </a:p>
          <a:p>
            <a:pPr defTabSz="514337">
              <a:spcAft>
                <a:spcPts val="338"/>
              </a:spcAft>
            </a:pPr>
            <a:r>
              <a:rPr lang="de-DE" sz="7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404040"/>
                </a:solidFill>
                <a:ea typeface="Arial"/>
              </a:rPr>
              <a:t>Hinweis: Abbildung ist ein Beispiel für Veranschaulichungszwecke.</a:t>
            </a:r>
          </a:p>
        </p:txBody>
      </p:sp>
      <p:sp>
        <p:nvSpPr>
          <p:cNvPr id="33794" name="Freeform 102">
            <a:extLst>
              <a:ext uri="{FF2B5EF4-FFF2-40B4-BE49-F238E27FC236}">
                <a16:creationId xmlns:a16="http://schemas.microsoft.com/office/drawing/2014/main" id="{200BC1EC-D88B-9520-417A-97E2F3D1AE57}"/>
              </a:ext>
            </a:extLst>
          </p:cNvPr>
          <p:cNvSpPr>
            <a:spLocks/>
          </p:cNvSpPr>
          <p:nvPr/>
        </p:nvSpPr>
        <p:spPr bwMode="auto">
          <a:xfrm rot="20880000">
            <a:off x="2778919" y="2149079"/>
            <a:ext cx="1481138" cy="570309"/>
          </a:xfrm>
          <a:custGeom>
            <a:avLst/>
            <a:gdLst>
              <a:gd name="T0" fmla="*/ 0 w 2336800"/>
              <a:gd name="T1" fmla="*/ 474133 h 1210733"/>
              <a:gd name="T2" fmla="*/ 2336800 w 2336800"/>
              <a:gd name="T3" fmla="*/ 0 h 1210733"/>
              <a:gd name="T4" fmla="*/ 2336800 w 2336800"/>
              <a:gd name="T5" fmla="*/ 1210733 h 1210733"/>
              <a:gd name="T6" fmla="*/ 0 w 2336800"/>
              <a:gd name="T7" fmla="*/ 474133 h 12107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36800" h="1210733">
                <a:moveTo>
                  <a:pt x="0" y="474133"/>
                </a:moveTo>
                <a:lnTo>
                  <a:pt x="2336800" y="0"/>
                </a:lnTo>
                <a:lnTo>
                  <a:pt x="2336800" y="1210733"/>
                </a:lnTo>
                <a:lnTo>
                  <a:pt x="0" y="474133"/>
                </a:lnTo>
                <a:close/>
              </a:path>
            </a:pathLst>
          </a:custGeom>
          <a:gradFill rotWithShape="1">
            <a:gsLst>
              <a:gs pos="0">
                <a:srgbClr val="E4E1F2">
                  <a:alpha val="25098"/>
                </a:srgbClr>
              </a:gs>
              <a:gs pos="100000">
                <a:srgbClr val="D1D7EE">
                  <a:alpha val="50195"/>
                </a:srgbClr>
              </a:gs>
              <a:gs pos="65999">
                <a:srgbClr val="D1D7EE">
                  <a:alpha val="41662"/>
                </a:srgbClr>
              </a:gs>
              <a:gs pos="100000">
                <a:srgbClr val="D1D7EE">
                  <a:alpha val="50195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 cap="flat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/>
          <a:p>
            <a:pPr algn="ctr" defTabSz="514337"/>
            <a:endParaRPr lang="en-US" sz="1013">
              <a:solidFill>
                <a:srgbClr val="FFFFFF"/>
              </a:solidFill>
            </a:endParaRPr>
          </a:p>
        </p:txBody>
      </p:sp>
      <p:pic>
        <p:nvPicPr>
          <p:cNvPr id="23555" name="Graphic 67">
            <a:extLst>
              <a:ext uri="{FF2B5EF4-FFF2-40B4-BE49-F238E27FC236}">
                <a16:creationId xmlns:a16="http://schemas.microsoft.com/office/drawing/2014/main" id="{42292F4B-752E-5FFA-7F31-E6B19ABFE3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451" y="1885950"/>
            <a:ext cx="889397" cy="700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6" name="Graphic 107">
            <a:extLst>
              <a:ext uri="{FF2B5EF4-FFF2-40B4-BE49-F238E27FC236}">
                <a16:creationId xmlns:a16="http://schemas.microsoft.com/office/drawing/2014/main" id="{970B6FC2-3ADF-6B8D-2C6E-947A4F72F7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2206" y="2545557"/>
            <a:ext cx="26312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7" name="Graphic 108">
            <a:extLst>
              <a:ext uri="{FF2B5EF4-FFF2-40B4-BE49-F238E27FC236}">
                <a16:creationId xmlns:a16="http://schemas.microsoft.com/office/drawing/2014/main" id="{86D72142-0B13-2B05-300A-2D677B1DA6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0807" y="2376488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8" name="Graphic 112">
            <a:extLst>
              <a:ext uri="{FF2B5EF4-FFF2-40B4-BE49-F238E27FC236}">
                <a16:creationId xmlns:a16="http://schemas.microsoft.com/office/drawing/2014/main" id="{C1478236-752B-C53D-0E78-07B8AA79D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573" y="2664619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9" name="Graphic 114">
            <a:extLst>
              <a:ext uri="{FF2B5EF4-FFF2-40B4-BE49-F238E27FC236}">
                <a16:creationId xmlns:a16="http://schemas.microsoft.com/office/drawing/2014/main" id="{0B4C45D2-01B5-5A38-12EF-DC31AFBB20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0085" y="2112169"/>
            <a:ext cx="26431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0" name="Graphic 115">
            <a:extLst>
              <a:ext uri="{FF2B5EF4-FFF2-40B4-BE49-F238E27FC236}">
                <a16:creationId xmlns:a16="http://schemas.microsoft.com/office/drawing/2014/main" id="{CD2F6E34-C9C3-0C28-D1DA-FAB2308C36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5632" y="2203847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1" name="Graphic 121">
            <a:extLst>
              <a:ext uri="{FF2B5EF4-FFF2-40B4-BE49-F238E27FC236}">
                <a16:creationId xmlns:a16="http://schemas.microsoft.com/office/drawing/2014/main" id="{EFC0E506-3977-777A-3E3C-F2D86C28F6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9888" y="2409826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2" name="Graphic 122">
            <a:extLst>
              <a:ext uri="{FF2B5EF4-FFF2-40B4-BE49-F238E27FC236}">
                <a16:creationId xmlns:a16="http://schemas.microsoft.com/office/drawing/2014/main" id="{F1A6A70F-91B1-3A7C-3B5B-42473A6016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2885" y="2607469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3" name="Graphic 123">
            <a:extLst>
              <a:ext uri="{FF2B5EF4-FFF2-40B4-BE49-F238E27FC236}">
                <a16:creationId xmlns:a16="http://schemas.microsoft.com/office/drawing/2014/main" id="{321405E1-A53A-2C5C-2BB8-2309C84E06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3860" y="2813447"/>
            <a:ext cx="26431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4" name="Graphic 124">
            <a:extLst>
              <a:ext uri="{FF2B5EF4-FFF2-40B4-BE49-F238E27FC236}">
                <a16:creationId xmlns:a16="http://schemas.microsoft.com/office/drawing/2014/main" id="{3EF54EB5-9D23-72D4-8EE0-7236F0E29F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9604" y="2953941"/>
            <a:ext cx="26431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5" name="Graphic 125">
            <a:extLst>
              <a:ext uri="{FF2B5EF4-FFF2-40B4-BE49-F238E27FC236}">
                <a16:creationId xmlns:a16="http://schemas.microsoft.com/office/drawing/2014/main" id="{99EB1506-2B4E-7512-B84C-6D91798D39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4163" y="2915841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6" name="Graphic 126">
            <a:extLst>
              <a:ext uri="{FF2B5EF4-FFF2-40B4-BE49-F238E27FC236}">
                <a16:creationId xmlns:a16="http://schemas.microsoft.com/office/drawing/2014/main" id="{0DA6E110-2A39-B7FA-82A5-73D3656EE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025" y="2146697"/>
            <a:ext cx="26312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7" name="Graphic 1855">
            <a:extLst>
              <a:ext uri="{FF2B5EF4-FFF2-40B4-BE49-F238E27FC236}">
                <a16:creationId xmlns:a16="http://schemas.microsoft.com/office/drawing/2014/main" id="{8F6EC285-2926-B69B-A291-1FADA15EC1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7754" y="2671763"/>
            <a:ext cx="263128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8" name="Graphic 1856">
            <a:extLst>
              <a:ext uri="{FF2B5EF4-FFF2-40B4-BE49-F238E27FC236}">
                <a16:creationId xmlns:a16="http://schemas.microsoft.com/office/drawing/2014/main" id="{C82E322C-311B-9062-C5C2-1CE7EEFFF2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8969" y="2463403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9" name="Graphic 1857">
            <a:extLst>
              <a:ext uri="{FF2B5EF4-FFF2-40B4-BE49-F238E27FC236}">
                <a16:creationId xmlns:a16="http://schemas.microsoft.com/office/drawing/2014/main" id="{9AE15299-3EFA-B693-6806-7EFE472FF0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9912" y="2906316"/>
            <a:ext cx="26312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70" name="Graphic 1858">
            <a:extLst>
              <a:ext uri="{FF2B5EF4-FFF2-40B4-BE49-F238E27FC236}">
                <a16:creationId xmlns:a16="http://schemas.microsoft.com/office/drawing/2014/main" id="{6933F87D-913D-5A86-1933-9327E072AC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5044" y="3087291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71" name="Graphic 1860">
            <a:extLst>
              <a:ext uri="{FF2B5EF4-FFF2-40B4-BE49-F238E27FC236}">
                <a16:creationId xmlns:a16="http://schemas.microsoft.com/office/drawing/2014/main" id="{D27E550A-E507-05AE-0B73-C3DF3B43B3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3563" y="2547938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72" name="Graphic 1861">
            <a:extLst>
              <a:ext uri="{FF2B5EF4-FFF2-40B4-BE49-F238E27FC236}">
                <a16:creationId xmlns:a16="http://schemas.microsoft.com/office/drawing/2014/main" id="{76900EFF-3F26-D16E-74F4-3D1FEB5CA3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6957" y="2016919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3573" name="Group 1863">
            <a:extLst>
              <a:ext uri="{FF2B5EF4-FFF2-40B4-BE49-F238E27FC236}">
                <a16:creationId xmlns:a16="http://schemas.microsoft.com/office/drawing/2014/main" id="{77D41167-E068-8C3D-D0D9-1F3747D53623}"/>
              </a:ext>
            </a:extLst>
          </p:cNvPr>
          <p:cNvGrpSpPr>
            <a:grpSpLocks/>
          </p:cNvGrpSpPr>
          <p:nvPr/>
        </p:nvGrpSpPr>
        <p:grpSpPr bwMode="auto">
          <a:xfrm>
            <a:off x="2027635" y="2287191"/>
            <a:ext cx="571500" cy="845344"/>
            <a:chOff x="1572846" y="2923462"/>
            <a:chExt cx="1015371" cy="1501691"/>
          </a:xfrm>
        </p:grpSpPr>
        <p:pic>
          <p:nvPicPr>
            <p:cNvPr id="23574" name="Graphic 103">
              <a:extLst>
                <a:ext uri="{FF2B5EF4-FFF2-40B4-BE49-F238E27FC236}">
                  <a16:creationId xmlns:a16="http://schemas.microsoft.com/office/drawing/2014/main" id="{BFAC25E0-89CA-3A7B-23D1-6EB7DF3680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8608" y="2923462"/>
              <a:ext cx="469609" cy="446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575" name="Graphic 1859">
              <a:extLst>
                <a:ext uri="{FF2B5EF4-FFF2-40B4-BE49-F238E27FC236}">
                  <a16:creationId xmlns:a16="http://schemas.microsoft.com/office/drawing/2014/main" id="{C40D15BE-088B-A94E-7E03-57364B6C4E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27845" y="3020755"/>
              <a:ext cx="469609" cy="446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576" name="Graphic 1862">
              <a:extLst>
                <a:ext uri="{FF2B5EF4-FFF2-40B4-BE49-F238E27FC236}">
                  <a16:creationId xmlns:a16="http://schemas.microsoft.com/office/drawing/2014/main" id="{98412740-723A-D4A8-7899-C425E06BFB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846" y="3978875"/>
              <a:ext cx="469609" cy="4462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3579" name="damaged beta cells">
            <a:extLst>
              <a:ext uri="{FF2B5EF4-FFF2-40B4-BE49-F238E27FC236}">
                <a16:creationId xmlns:a16="http://schemas.microsoft.com/office/drawing/2014/main" id="{9752E4D2-9809-A86B-17B2-02F3450CC5D6}"/>
              </a:ext>
            </a:extLst>
          </p:cNvPr>
          <p:cNvGrpSpPr>
            <a:grpSpLocks/>
          </p:cNvGrpSpPr>
          <p:nvPr/>
        </p:nvGrpSpPr>
        <p:grpSpPr bwMode="auto">
          <a:xfrm>
            <a:off x="2030017" y="2290763"/>
            <a:ext cx="564356" cy="838200"/>
            <a:chOff x="5883325" y="1893112"/>
            <a:chExt cx="1287711" cy="1892793"/>
          </a:xfrm>
        </p:grpSpPr>
        <p:grpSp>
          <p:nvGrpSpPr>
            <p:cNvPr id="23580" name="Graphic 181">
              <a:extLst>
                <a:ext uri="{FF2B5EF4-FFF2-40B4-BE49-F238E27FC236}">
                  <a16:creationId xmlns:a16="http://schemas.microsoft.com/office/drawing/2014/main" id="{94287B7A-5507-7AA4-5122-092E1B6F8EC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585051" y="1893112"/>
              <a:ext cx="585985" cy="553270"/>
              <a:chOff x="6585051" y="1893112"/>
              <a:chExt cx="585985" cy="553270"/>
            </a:xfrm>
          </p:grpSpPr>
          <p:sp>
            <p:nvSpPr>
              <p:cNvPr id="33955" name="Freeform 2">
                <a:extLst>
                  <a:ext uri="{FF2B5EF4-FFF2-40B4-BE49-F238E27FC236}">
                    <a16:creationId xmlns:a16="http://schemas.microsoft.com/office/drawing/2014/main" id="{E639EE78-9030-F4B8-FF28-6664D09D6A71}"/>
                  </a:ext>
                </a:extLst>
              </p:cNvPr>
              <p:cNvSpPr/>
              <p:nvPr/>
            </p:nvSpPr>
            <p:spPr>
              <a:xfrm>
                <a:off x="6584231" y="1893112"/>
                <a:ext cx="586805" cy="553858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3956" name="Freeform 3">
                <a:extLst>
                  <a:ext uri="{FF2B5EF4-FFF2-40B4-BE49-F238E27FC236}">
                    <a16:creationId xmlns:a16="http://schemas.microsoft.com/office/drawing/2014/main" id="{E1BF9C1F-C331-BC24-353F-1D7FF0E7CF6E}"/>
                  </a:ext>
                </a:extLst>
              </p:cNvPr>
              <p:cNvSpPr/>
              <p:nvPr/>
            </p:nvSpPr>
            <p:spPr>
              <a:xfrm>
                <a:off x="6760815" y="2070562"/>
                <a:ext cx="249935" cy="276930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3957" name="Freeform 8">
                <a:extLst>
                  <a:ext uri="{FF2B5EF4-FFF2-40B4-BE49-F238E27FC236}">
                    <a16:creationId xmlns:a16="http://schemas.microsoft.com/office/drawing/2014/main" id="{F603EDD4-489D-1D22-E4EA-D276FB0D8B2D}"/>
                  </a:ext>
                </a:extLst>
              </p:cNvPr>
              <p:cNvSpPr/>
              <p:nvPr/>
            </p:nvSpPr>
            <p:spPr>
              <a:xfrm>
                <a:off x="6978150" y="1979148"/>
                <a:ext cx="146701" cy="244666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3584" name="Graphic 182">
              <a:extLst>
                <a:ext uri="{FF2B5EF4-FFF2-40B4-BE49-F238E27FC236}">
                  <a16:creationId xmlns:a16="http://schemas.microsoft.com/office/drawing/2014/main" id="{DDE344E1-D880-2DE7-3D20-989799FFB8B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54148" y="2015806"/>
              <a:ext cx="585985" cy="553270"/>
              <a:chOff x="5954148" y="2015806"/>
              <a:chExt cx="585985" cy="553270"/>
            </a:xfrm>
          </p:grpSpPr>
          <p:sp>
            <p:nvSpPr>
              <p:cNvPr id="33952" name="Freeform 10">
                <a:extLst>
                  <a:ext uri="{FF2B5EF4-FFF2-40B4-BE49-F238E27FC236}">
                    <a16:creationId xmlns:a16="http://schemas.microsoft.com/office/drawing/2014/main" id="{59D5BCFA-088D-446B-ABFD-9DD4946FF956}"/>
                  </a:ext>
                </a:extLst>
              </p:cNvPr>
              <p:cNvSpPr/>
              <p:nvPr/>
            </p:nvSpPr>
            <p:spPr>
              <a:xfrm>
                <a:off x="5953960" y="2016788"/>
                <a:ext cx="586805" cy="551170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3953" name="Freeform 11">
                <a:extLst>
                  <a:ext uri="{FF2B5EF4-FFF2-40B4-BE49-F238E27FC236}">
                    <a16:creationId xmlns:a16="http://schemas.microsoft.com/office/drawing/2014/main" id="{6AA6BA32-2977-0B04-9BAB-265B615A7910}"/>
                  </a:ext>
                </a:extLst>
              </p:cNvPr>
              <p:cNvSpPr/>
              <p:nvPr/>
            </p:nvSpPr>
            <p:spPr>
              <a:xfrm>
                <a:off x="6130544" y="2191550"/>
                <a:ext cx="249935" cy="276928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3954" name="Freeform 12">
                <a:extLst>
                  <a:ext uri="{FF2B5EF4-FFF2-40B4-BE49-F238E27FC236}">
                    <a16:creationId xmlns:a16="http://schemas.microsoft.com/office/drawing/2014/main" id="{015449DF-E650-5004-300F-0636F21DA93B}"/>
                  </a:ext>
                </a:extLst>
              </p:cNvPr>
              <p:cNvSpPr/>
              <p:nvPr/>
            </p:nvSpPr>
            <p:spPr>
              <a:xfrm>
                <a:off x="6347879" y="2102824"/>
                <a:ext cx="146701" cy="241977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3588" name="Graphic 183">
              <a:extLst>
                <a:ext uri="{FF2B5EF4-FFF2-40B4-BE49-F238E27FC236}">
                  <a16:creationId xmlns:a16="http://schemas.microsoft.com/office/drawing/2014/main" id="{BD169DA8-637E-9989-DFC8-701FAAACAFE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83325" y="3232635"/>
              <a:ext cx="585985" cy="553270"/>
              <a:chOff x="5883325" y="3232635"/>
              <a:chExt cx="585985" cy="553270"/>
            </a:xfrm>
          </p:grpSpPr>
          <p:sp>
            <p:nvSpPr>
              <p:cNvPr id="33949" name="Freeform 15">
                <a:extLst>
                  <a:ext uri="{FF2B5EF4-FFF2-40B4-BE49-F238E27FC236}">
                    <a16:creationId xmlns:a16="http://schemas.microsoft.com/office/drawing/2014/main" id="{B9C97119-7272-1BB2-83DD-34F6711F48AE}"/>
                  </a:ext>
                </a:extLst>
              </p:cNvPr>
              <p:cNvSpPr/>
              <p:nvPr/>
            </p:nvSpPr>
            <p:spPr>
              <a:xfrm>
                <a:off x="5883325" y="3232047"/>
                <a:ext cx="586805" cy="553858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3950" name="Freeform 16">
                <a:extLst>
                  <a:ext uri="{FF2B5EF4-FFF2-40B4-BE49-F238E27FC236}">
                    <a16:creationId xmlns:a16="http://schemas.microsoft.com/office/drawing/2014/main" id="{346EAC88-153A-5CB4-5F60-0D546D1CFF21}"/>
                  </a:ext>
                </a:extLst>
              </p:cNvPr>
              <p:cNvSpPr/>
              <p:nvPr/>
            </p:nvSpPr>
            <p:spPr>
              <a:xfrm>
                <a:off x="6059909" y="3409497"/>
                <a:ext cx="249935" cy="276930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3951" name="Freeform 17">
                <a:extLst>
                  <a:ext uri="{FF2B5EF4-FFF2-40B4-BE49-F238E27FC236}">
                    <a16:creationId xmlns:a16="http://schemas.microsoft.com/office/drawing/2014/main" id="{5B9ADF91-52F3-9218-2F2E-21BAE30BCDCA}"/>
                  </a:ext>
                </a:extLst>
              </p:cNvPr>
              <p:cNvSpPr/>
              <p:nvPr/>
            </p:nvSpPr>
            <p:spPr>
              <a:xfrm>
                <a:off x="6277244" y="3318083"/>
                <a:ext cx="146701" cy="244666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</p:grpSp>
      <p:sp>
        <p:nvSpPr>
          <p:cNvPr id="23592" name="Isosceles Triangle 113">
            <a:extLst>
              <a:ext uri="{FF2B5EF4-FFF2-40B4-BE49-F238E27FC236}">
                <a16:creationId xmlns:a16="http://schemas.microsoft.com/office/drawing/2014/main" id="{28AC75EF-FC31-B4A6-979A-9099390ED791}"/>
              </a:ext>
            </a:extLst>
          </p:cNvPr>
          <p:cNvSpPr>
            <a:spLocks noChangeArrowheads="1"/>
          </p:cNvSpPr>
          <p:nvPr/>
        </p:nvSpPr>
        <p:spPr bwMode="auto">
          <a:xfrm rot="4500000">
            <a:off x="1803797" y="2843212"/>
            <a:ext cx="61913" cy="5238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3593" name="Isosceles Triangle 115">
            <a:extLst>
              <a:ext uri="{FF2B5EF4-FFF2-40B4-BE49-F238E27FC236}">
                <a16:creationId xmlns:a16="http://schemas.microsoft.com/office/drawing/2014/main" id="{35DEC1EA-5DEE-EB32-0711-B2AAEFA00F85}"/>
              </a:ext>
            </a:extLst>
          </p:cNvPr>
          <p:cNvSpPr>
            <a:spLocks noChangeArrowheads="1"/>
          </p:cNvSpPr>
          <p:nvPr/>
        </p:nvSpPr>
        <p:spPr bwMode="auto">
          <a:xfrm rot="20700000">
            <a:off x="2280047" y="1989535"/>
            <a:ext cx="60722" cy="5357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3594" name="Isosceles Triangle 99">
            <a:extLst>
              <a:ext uri="{FF2B5EF4-FFF2-40B4-BE49-F238E27FC236}">
                <a16:creationId xmlns:a16="http://schemas.microsoft.com/office/drawing/2014/main" id="{7AC5F049-3E57-609D-ECE7-E38D7763CC24}"/>
              </a:ext>
            </a:extLst>
          </p:cNvPr>
          <p:cNvSpPr>
            <a:spLocks noChangeArrowheads="1"/>
          </p:cNvSpPr>
          <p:nvPr/>
        </p:nvSpPr>
        <p:spPr bwMode="auto">
          <a:xfrm rot="18900000">
            <a:off x="1820466" y="2302669"/>
            <a:ext cx="60722" cy="53579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33820" name="Freeform 96">
            <a:extLst>
              <a:ext uri="{FF2B5EF4-FFF2-40B4-BE49-F238E27FC236}">
                <a16:creationId xmlns:a16="http://schemas.microsoft.com/office/drawing/2014/main" id="{B647DBAA-C39A-1FA7-990C-CC002084D372}"/>
              </a:ext>
            </a:extLst>
          </p:cNvPr>
          <p:cNvSpPr/>
          <p:nvPr/>
        </p:nvSpPr>
        <p:spPr>
          <a:xfrm rot="10800000">
            <a:off x="5645944" y="1858567"/>
            <a:ext cx="133350" cy="1697831"/>
          </a:xfrm>
          <a:custGeom>
            <a:avLst/>
            <a:gdLst>
              <a:gd name="connsiteX0" fmla="*/ 185980 w 185980"/>
              <a:gd name="connsiteY0" fmla="*/ 0 h 1015139"/>
              <a:gd name="connsiteX1" fmla="*/ 0 w 185980"/>
              <a:gd name="connsiteY1" fmla="*/ 0 h 1015139"/>
              <a:gd name="connsiteX2" fmla="*/ 0 w 185980"/>
              <a:gd name="connsiteY2" fmla="*/ 1015139 h 1015139"/>
              <a:gd name="connsiteX3" fmla="*/ 185980 w 185980"/>
              <a:gd name="connsiteY3" fmla="*/ 1015139 h 1015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980" h="1015139">
                <a:moveTo>
                  <a:pt x="185980" y="0"/>
                </a:moveTo>
                <a:lnTo>
                  <a:pt x="0" y="0"/>
                </a:lnTo>
                <a:lnTo>
                  <a:pt x="0" y="1015139"/>
                </a:lnTo>
                <a:lnTo>
                  <a:pt x="185980" y="1015139"/>
                </a:lnTo>
              </a:path>
            </a:pathLst>
          </a:custGeom>
          <a:noFill/>
          <a:ln w="9525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anchor="ctr"/>
          <a:lstStyle/>
          <a:p>
            <a:pPr algn="ctr" defTabSz="514337"/>
            <a:endParaRPr lang="en-US" sz="1013">
              <a:solidFill>
                <a:srgbClr val="FFFFFF"/>
              </a:solidFill>
            </a:endParaRPr>
          </a:p>
        </p:txBody>
      </p:sp>
      <p:sp>
        <p:nvSpPr>
          <p:cNvPr id="33821" name="TextBox 44">
            <a:extLst>
              <a:ext uri="{FF2B5EF4-FFF2-40B4-BE49-F238E27FC236}">
                <a16:creationId xmlns:a16="http://schemas.microsoft.com/office/drawing/2014/main" id="{7E99EDD9-BB21-7F3A-E62F-8DD3FDC801E5}"/>
              </a:ext>
            </a:extLst>
          </p:cNvPr>
          <p:cNvSpPr txBox="1"/>
          <p:nvPr/>
        </p:nvSpPr>
        <p:spPr>
          <a:xfrm>
            <a:off x="5818585" y="2013639"/>
            <a:ext cx="2046684" cy="142859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pPr marL="128585" indent="-128585">
              <a:spcBef>
                <a:spcPts val="675"/>
              </a:spcBef>
              <a:buClr>
                <a:srgbClr val="FBA329"/>
              </a:buClr>
              <a:buFont typeface="Arial" pitchFamily="34" charset="0"/>
              <a:buChar char="•"/>
            </a:pPr>
            <a:r>
              <a:rPr lang="de" sz="9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Die fortgesetzte Infiltration durch autoreaktive T-Zellen verursacht weitere Betazellschäden und -tod</a:t>
            </a:r>
            <a:r>
              <a:rPr lang="de" sz="900" baseline="300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2,3</a:t>
            </a:r>
          </a:p>
          <a:p>
            <a:pPr marL="128585" indent="-128585">
              <a:spcBef>
                <a:spcPts val="675"/>
              </a:spcBef>
              <a:buClr>
                <a:srgbClr val="FBA329"/>
              </a:buClr>
              <a:buFont typeface="Arial" pitchFamily="34" charset="0"/>
              <a:buChar char="•"/>
            </a:pPr>
            <a:r>
              <a:rPr lang="de" sz="9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Die Kapazität für eine adäquate Insulinantwort kann reduziert sein und dadurch kommt es zu einer Dysglykämie</a:t>
            </a:r>
            <a:r>
              <a:rPr lang="de" sz="900" baseline="300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1,2</a:t>
            </a:r>
          </a:p>
        </p:txBody>
      </p:sp>
      <p:grpSp>
        <p:nvGrpSpPr>
          <p:cNvPr id="23597" name="Group 127">
            <a:extLst>
              <a:ext uri="{FF2B5EF4-FFF2-40B4-BE49-F238E27FC236}">
                <a16:creationId xmlns:a16="http://schemas.microsoft.com/office/drawing/2014/main" id="{351E7738-4971-CD0B-1382-77480443FE13}"/>
              </a:ext>
            </a:extLst>
          </p:cNvPr>
          <p:cNvGrpSpPr>
            <a:grpSpLocks/>
          </p:cNvGrpSpPr>
          <p:nvPr/>
        </p:nvGrpSpPr>
        <p:grpSpPr bwMode="auto">
          <a:xfrm>
            <a:off x="2026444" y="2541985"/>
            <a:ext cx="646510" cy="592931"/>
            <a:chOff x="1570220" y="3375280"/>
            <a:chExt cx="1148933" cy="1055042"/>
          </a:xfrm>
        </p:grpSpPr>
        <p:grpSp>
          <p:nvGrpSpPr>
            <p:cNvPr id="23598" name="Graphic 182">
              <a:extLst>
                <a:ext uri="{FF2B5EF4-FFF2-40B4-BE49-F238E27FC236}">
                  <a16:creationId xmlns:a16="http://schemas.microsoft.com/office/drawing/2014/main" id="{A74038BB-C332-86CE-45AA-4F5908D46B4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43793" y="3488056"/>
              <a:ext cx="466344" cy="457200"/>
              <a:chOff x="5954148" y="2015806"/>
              <a:chExt cx="585985" cy="553270"/>
            </a:xfrm>
          </p:grpSpPr>
          <p:sp>
            <p:nvSpPr>
              <p:cNvPr id="33943" name="Freeform 10">
                <a:extLst>
                  <a:ext uri="{FF2B5EF4-FFF2-40B4-BE49-F238E27FC236}">
                    <a16:creationId xmlns:a16="http://schemas.microsoft.com/office/drawing/2014/main" id="{C5184C4B-55C1-C376-A2B8-C65953A0693D}"/>
                  </a:ext>
                </a:extLst>
              </p:cNvPr>
              <p:cNvSpPr/>
              <p:nvPr/>
            </p:nvSpPr>
            <p:spPr>
              <a:xfrm>
                <a:off x="5954061" y="2015210"/>
                <a:ext cx="584922" cy="553764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3944" name="Freeform 11">
                <a:extLst>
                  <a:ext uri="{FF2B5EF4-FFF2-40B4-BE49-F238E27FC236}">
                    <a16:creationId xmlns:a16="http://schemas.microsoft.com/office/drawing/2014/main" id="{FD8B5330-8CCB-1B2C-39D9-9F17B4A5BDD5}"/>
                  </a:ext>
                </a:extLst>
              </p:cNvPr>
              <p:cNvSpPr/>
              <p:nvPr/>
            </p:nvSpPr>
            <p:spPr>
              <a:xfrm>
                <a:off x="6129537" y="2192108"/>
                <a:ext cx="249921" cy="276882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3945" name="Freeform 12">
                <a:extLst>
                  <a:ext uri="{FF2B5EF4-FFF2-40B4-BE49-F238E27FC236}">
                    <a16:creationId xmlns:a16="http://schemas.microsoft.com/office/drawing/2014/main" id="{5947DB40-299A-7F26-CB38-0CC75C78BE1B}"/>
                  </a:ext>
                </a:extLst>
              </p:cNvPr>
              <p:cNvSpPr/>
              <p:nvPr/>
            </p:nvSpPr>
            <p:spPr>
              <a:xfrm>
                <a:off x="6347554" y="2102377"/>
                <a:ext cx="143572" cy="243554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3602" name="Graphic 182">
              <a:extLst>
                <a:ext uri="{FF2B5EF4-FFF2-40B4-BE49-F238E27FC236}">
                  <a16:creationId xmlns:a16="http://schemas.microsoft.com/office/drawing/2014/main" id="{55715FFC-31E1-FF0F-141E-0C348360489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52809" y="3375280"/>
              <a:ext cx="466344" cy="457200"/>
              <a:chOff x="5954148" y="2015806"/>
              <a:chExt cx="585985" cy="553270"/>
            </a:xfrm>
          </p:grpSpPr>
          <p:sp>
            <p:nvSpPr>
              <p:cNvPr id="33940" name="Freeform 10">
                <a:extLst>
                  <a:ext uri="{FF2B5EF4-FFF2-40B4-BE49-F238E27FC236}">
                    <a16:creationId xmlns:a16="http://schemas.microsoft.com/office/drawing/2014/main" id="{439540BC-E034-0801-2022-81A2AEBD4EAC}"/>
                  </a:ext>
                </a:extLst>
              </p:cNvPr>
              <p:cNvSpPr/>
              <p:nvPr/>
            </p:nvSpPr>
            <p:spPr>
              <a:xfrm>
                <a:off x="5955211" y="2015806"/>
                <a:ext cx="584922" cy="553764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3941" name="Freeform 11">
                <a:extLst>
                  <a:ext uri="{FF2B5EF4-FFF2-40B4-BE49-F238E27FC236}">
                    <a16:creationId xmlns:a16="http://schemas.microsoft.com/office/drawing/2014/main" id="{6A1EC7B6-C215-11DA-5EE9-4A140093887E}"/>
                  </a:ext>
                </a:extLst>
              </p:cNvPr>
              <p:cNvSpPr/>
              <p:nvPr/>
            </p:nvSpPr>
            <p:spPr>
              <a:xfrm>
                <a:off x="6130688" y="2192702"/>
                <a:ext cx="249921" cy="276882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3942" name="Freeform 12">
                <a:extLst>
                  <a:ext uri="{FF2B5EF4-FFF2-40B4-BE49-F238E27FC236}">
                    <a16:creationId xmlns:a16="http://schemas.microsoft.com/office/drawing/2014/main" id="{5316E50C-24A3-79A8-A06B-5F35C0BD2403}"/>
                  </a:ext>
                </a:extLst>
              </p:cNvPr>
              <p:cNvSpPr/>
              <p:nvPr/>
            </p:nvSpPr>
            <p:spPr>
              <a:xfrm>
                <a:off x="6348704" y="2102973"/>
                <a:ext cx="143572" cy="243553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pic>
          <p:nvPicPr>
            <p:cNvPr id="23606" name="Graphic 1893">
              <a:extLst>
                <a:ext uri="{FF2B5EF4-FFF2-40B4-BE49-F238E27FC236}">
                  <a16:creationId xmlns:a16="http://schemas.microsoft.com/office/drawing/2014/main" id="{F622E0CC-049D-E0D2-6A67-8FB898ADD8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0220" y="3989662"/>
              <a:ext cx="465497" cy="440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3607" name="Group 25">
            <a:extLst>
              <a:ext uri="{FF2B5EF4-FFF2-40B4-BE49-F238E27FC236}">
                <a16:creationId xmlns:a16="http://schemas.microsoft.com/office/drawing/2014/main" id="{44749B08-E056-9BC5-B8CA-113D474E44CC}"/>
              </a:ext>
            </a:extLst>
          </p:cNvPr>
          <p:cNvGrpSpPr>
            <a:grpSpLocks/>
          </p:cNvGrpSpPr>
          <p:nvPr/>
        </p:nvGrpSpPr>
        <p:grpSpPr bwMode="auto">
          <a:xfrm>
            <a:off x="2055019" y="2341960"/>
            <a:ext cx="623888" cy="521494"/>
            <a:chOff x="1622175" y="3021272"/>
            <a:chExt cx="1108324" cy="927003"/>
          </a:xfrm>
        </p:grpSpPr>
        <p:grpSp>
          <p:nvGrpSpPr>
            <p:cNvPr id="23608" name="Group 26">
              <a:extLst>
                <a:ext uri="{FF2B5EF4-FFF2-40B4-BE49-F238E27FC236}">
                  <a16:creationId xmlns:a16="http://schemas.microsoft.com/office/drawing/2014/main" id="{CF7A3CF8-74A5-C860-6DDA-0A746D6FC74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22175" y="3021272"/>
              <a:ext cx="1108324" cy="811308"/>
              <a:chOff x="1622175" y="3021272"/>
              <a:chExt cx="1108324" cy="811308"/>
            </a:xfrm>
          </p:grpSpPr>
          <p:pic>
            <p:nvPicPr>
              <p:cNvPr id="23609" name="Graphic 29">
                <a:extLst>
                  <a:ext uri="{FF2B5EF4-FFF2-40B4-BE49-F238E27FC236}">
                    <a16:creationId xmlns:a16="http://schemas.microsoft.com/office/drawing/2014/main" id="{BCEC2776-AFDE-F11D-F1A6-DD4D8D9D0E47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2175" y="3021272"/>
                <a:ext cx="465327" cy="4486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3610" name="Graphic 30">
                <a:extLst>
                  <a:ext uri="{FF2B5EF4-FFF2-40B4-BE49-F238E27FC236}">
                    <a16:creationId xmlns:a16="http://schemas.microsoft.com/office/drawing/2014/main" id="{D8652A6E-7C8B-5176-C294-67F4712FFE9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46137" y="3374717"/>
                <a:ext cx="484362" cy="4571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3611" name="Graphic 27">
              <a:extLst>
                <a:ext uri="{FF2B5EF4-FFF2-40B4-BE49-F238E27FC236}">
                  <a16:creationId xmlns:a16="http://schemas.microsoft.com/office/drawing/2014/main" id="{12DAD981-E202-215B-AB3C-68579A6F95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0622" y="3491123"/>
              <a:ext cx="484364" cy="457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3612" name="T-Cells infiltrate 4">
            <a:extLst>
              <a:ext uri="{FF2B5EF4-FFF2-40B4-BE49-F238E27FC236}">
                <a16:creationId xmlns:a16="http://schemas.microsoft.com/office/drawing/2014/main" id="{67F966BA-9BC4-4424-1E19-2A4E4BDCA1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8837" y="2280047"/>
            <a:ext cx="128588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13" name="T-Cells infiltrate 4">
            <a:extLst>
              <a:ext uri="{FF2B5EF4-FFF2-40B4-BE49-F238E27FC236}">
                <a16:creationId xmlns:a16="http://schemas.microsoft.com/office/drawing/2014/main" id="{215F6D6B-2D91-8089-7F4F-6FACAF947E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2687" y="2459831"/>
            <a:ext cx="129779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14" name="T-Cells infiltrate 4">
            <a:extLst>
              <a:ext uri="{FF2B5EF4-FFF2-40B4-BE49-F238E27FC236}">
                <a16:creationId xmlns:a16="http://schemas.microsoft.com/office/drawing/2014/main" id="{1C957AA6-02CC-7A18-936E-1045DE1712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9787" y="2783681"/>
            <a:ext cx="129779" cy="148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15" name="Graphic 20">
            <a:extLst>
              <a:ext uri="{FF2B5EF4-FFF2-40B4-BE49-F238E27FC236}">
                <a16:creationId xmlns:a16="http://schemas.microsoft.com/office/drawing/2014/main" id="{0FE54709-11E3-272B-B917-DA549789B74F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4316" y="1980010"/>
            <a:ext cx="132159" cy="154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23616" name="Graphic 20">
            <a:extLst>
              <a:ext uri="{FF2B5EF4-FFF2-40B4-BE49-F238E27FC236}">
                <a16:creationId xmlns:a16="http://schemas.microsoft.com/office/drawing/2014/main" id="{785D52D8-985D-7564-6D2D-8C1D5153891B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829" y="2221707"/>
            <a:ext cx="15120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</p:pic>
      <p:sp>
        <p:nvSpPr>
          <p:cNvPr id="33829" name="Freeform 664">
            <a:extLst>
              <a:ext uri="{FF2B5EF4-FFF2-40B4-BE49-F238E27FC236}">
                <a16:creationId xmlns:a16="http://schemas.microsoft.com/office/drawing/2014/main" id="{D0B1BEF0-27FA-0CF6-E4C4-45B3199A0DCD}"/>
              </a:ext>
            </a:extLst>
          </p:cNvPr>
          <p:cNvSpPr/>
          <p:nvPr/>
        </p:nvSpPr>
        <p:spPr>
          <a:xfrm rot="11760000">
            <a:off x="1587104" y="2463404"/>
            <a:ext cx="134540" cy="139303"/>
          </a:xfrm>
          <a:custGeom>
            <a:avLst/>
            <a:gdLst>
              <a:gd name="connsiteX0" fmla="*/ 547500 w 556188"/>
              <a:gd name="connsiteY0" fmla="*/ 70348 h 673345"/>
              <a:gd name="connsiteX1" fmla="*/ 322147 w 556188"/>
              <a:gd name="connsiteY1" fmla="*/ 373915 h 673345"/>
              <a:gd name="connsiteX2" fmla="*/ 322147 w 556188"/>
              <a:gd name="connsiteY2" fmla="*/ 629278 h 673345"/>
              <a:gd name="connsiteX3" fmla="*/ 278080 w 556188"/>
              <a:gd name="connsiteY3" fmla="*/ 673346 h 673345"/>
              <a:gd name="connsiteX4" fmla="*/ 234013 w 556188"/>
              <a:gd name="connsiteY4" fmla="*/ 629278 h 673345"/>
              <a:gd name="connsiteX5" fmla="*/ 234013 w 556188"/>
              <a:gd name="connsiteY5" fmla="*/ 373915 h 673345"/>
              <a:gd name="connsiteX6" fmla="*/ 8660 w 556188"/>
              <a:gd name="connsiteY6" fmla="*/ 70348 h 673345"/>
              <a:gd name="connsiteX7" fmla="*/ 17699 w 556188"/>
              <a:gd name="connsiteY7" fmla="*/ 8699 h 673345"/>
              <a:gd name="connsiteX8" fmla="*/ 79348 w 556188"/>
              <a:gd name="connsiteY8" fmla="*/ 17739 h 673345"/>
              <a:gd name="connsiteX9" fmla="*/ 277990 w 556188"/>
              <a:gd name="connsiteY9" fmla="*/ 285396 h 673345"/>
              <a:gd name="connsiteX10" fmla="*/ 476722 w 556188"/>
              <a:gd name="connsiteY10" fmla="*/ 17806 h 673345"/>
              <a:gd name="connsiteX11" fmla="*/ 538382 w 556188"/>
              <a:gd name="connsiteY11" fmla="*/ 8688 h 673345"/>
              <a:gd name="connsiteX12" fmla="*/ 547500 w 556188"/>
              <a:gd name="connsiteY12" fmla="*/ 70348 h 673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56188" h="673345">
                <a:moveTo>
                  <a:pt x="547500" y="70348"/>
                </a:moveTo>
                <a:lnTo>
                  <a:pt x="322147" y="373915"/>
                </a:lnTo>
                <a:lnTo>
                  <a:pt x="322147" y="629278"/>
                </a:lnTo>
                <a:cubicBezTo>
                  <a:pt x="322147" y="653617"/>
                  <a:pt x="302419" y="673346"/>
                  <a:pt x="278080" y="673346"/>
                </a:cubicBezTo>
                <a:cubicBezTo>
                  <a:pt x="253741" y="673346"/>
                  <a:pt x="234013" y="653617"/>
                  <a:pt x="234013" y="629278"/>
                </a:cubicBezTo>
                <a:lnTo>
                  <a:pt x="234013" y="373915"/>
                </a:lnTo>
                <a:lnTo>
                  <a:pt x="8660" y="70348"/>
                </a:lnTo>
                <a:cubicBezTo>
                  <a:pt x="-5785" y="50807"/>
                  <a:pt x="-1747" y="23271"/>
                  <a:pt x="17699" y="8699"/>
                </a:cubicBezTo>
                <a:cubicBezTo>
                  <a:pt x="37240" y="-5745"/>
                  <a:pt x="64777" y="-1708"/>
                  <a:pt x="79348" y="17739"/>
                </a:cubicBezTo>
                <a:lnTo>
                  <a:pt x="277990" y="285396"/>
                </a:lnTo>
                <a:lnTo>
                  <a:pt x="476722" y="17806"/>
                </a:lnTo>
                <a:cubicBezTo>
                  <a:pt x="491230" y="-1739"/>
                  <a:pt x="518836" y="-5821"/>
                  <a:pt x="538382" y="8688"/>
                </a:cubicBezTo>
                <a:cubicBezTo>
                  <a:pt x="557927" y="23197"/>
                  <a:pt x="562009" y="50803"/>
                  <a:pt x="547500" y="70348"/>
                </a:cubicBezTo>
                <a:close/>
              </a:path>
            </a:pathLst>
          </a:custGeom>
          <a:solidFill>
            <a:srgbClr val="FDC477"/>
          </a:solidFill>
          <a:ln w="19050" cap="flat">
            <a:noFill/>
            <a:prstDash val="solid"/>
            <a:miter/>
          </a:ln>
        </p:spPr>
        <p:txBody>
          <a:bodyPr anchor="ctr"/>
          <a:lstStyle/>
          <a:p>
            <a:pPr defTabSz="514337"/>
            <a:endParaRPr lang="en-US" sz="1013" kern="0">
              <a:latin typeface="Calibri"/>
            </a:endParaRPr>
          </a:p>
        </p:txBody>
      </p:sp>
      <p:sp>
        <p:nvSpPr>
          <p:cNvPr id="33830" name="Freeform 692">
            <a:extLst>
              <a:ext uri="{FF2B5EF4-FFF2-40B4-BE49-F238E27FC236}">
                <a16:creationId xmlns:a16="http://schemas.microsoft.com/office/drawing/2014/main" id="{FE43A20E-D62B-8D32-2F7B-521AB2A6B8C0}"/>
              </a:ext>
            </a:extLst>
          </p:cNvPr>
          <p:cNvSpPr/>
          <p:nvPr/>
        </p:nvSpPr>
        <p:spPr>
          <a:xfrm rot="8100000">
            <a:off x="1809751" y="2008585"/>
            <a:ext cx="135731" cy="139303"/>
          </a:xfrm>
          <a:custGeom>
            <a:avLst/>
            <a:gdLst>
              <a:gd name="connsiteX0" fmla="*/ 547500 w 556188"/>
              <a:gd name="connsiteY0" fmla="*/ 70348 h 673345"/>
              <a:gd name="connsiteX1" fmla="*/ 322147 w 556188"/>
              <a:gd name="connsiteY1" fmla="*/ 373915 h 673345"/>
              <a:gd name="connsiteX2" fmla="*/ 322147 w 556188"/>
              <a:gd name="connsiteY2" fmla="*/ 629278 h 673345"/>
              <a:gd name="connsiteX3" fmla="*/ 278080 w 556188"/>
              <a:gd name="connsiteY3" fmla="*/ 673346 h 673345"/>
              <a:gd name="connsiteX4" fmla="*/ 234013 w 556188"/>
              <a:gd name="connsiteY4" fmla="*/ 629278 h 673345"/>
              <a:gd name="connsiteX5" fmla="*/ 234013 w 556188"/>
              <a:gd name="connsiteY5" fmla="*/ 373915 h 673345"/>
              <a:gd name="connsiteX6" fmla="*/ 8660 w 556188"/>
              <a:gd name="connsiteY6" fmla="*/ 70348 h 673345"/>
              <a:gd name="connsiteX7" fmla="*/ 17699 w 556188"/>
              <a:gd name="connsiteY7" fmla="*/ 8699 h 673345"/>
              <a:gd name="connsiteX8" fmla="*/ 79348 w 556188"/>
              <a:gd name="connsiteY8" fmla="*/ 17739 h 673345"/>
              <a:gd name="connsiteX9" fmla="*/ 277990 w 556188"/>
              <a:gd name="connsiteY9" fmla="*/ 285396 h 673345"/>
              <a:gd name="connsiteX10" fmla="*/ 476722 w 556188"/>
              <a:gd name="connsiteY10" fmla="*/ 17806 h 673345"/>
              <a:gd name="connsiteX11" fmla="*/ 538382 w 556188"/>
              <a:gd name="connsiteY11" fmla="*/ 8688 h 673345"/>
              <a:gd name="connsiteX12" fmla="*/ 547500 w 556188"/>
              <a:gd name="connsiteY12" fmla="*/ 70348 h 673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56188" h="673345">
                <a:moveTo>
                  <a:pt x="547500" y="70348"/>
                </a:moveTo>
                <a:lnTo>
                  <a:pt x="322147" y="373915"/>
                </a:lnTo>
                <a:lnTo>
                  <a:pt x="322147" y="629278"/>
                </a:lnTo>
                <a:cubicBezTo>
                  <a:pt x="322147" y="653617"/>
                  <a:pt x="302419" y="673346"/>
                  <a:pt x="278080" y="673346"/>
                </a:cubicBezTo>
                <a:cubicBezTo>
                  <a:pt x="253741" y="673346"/>
                  <a:pt x="234013" y="653617"/>
                  <a:pt x="234013" y="629278"/>
                </a:cubicBezTo>
                <a:lnTo>
                  <a:pt x="234013" y="373915"/>
                </a:lnTo>
                <a:lnTo>
                  <a:pt x="8660" y="70348"/>
                </a:lnTo>
                <a:cubicBezTo>
                  <a:pt x="-5785" y="50807"/>
                  <a:pt x="-1747" y="23271"/>
                  <a:pt x="17699" y="8699"/>
                </a:cubicBezTo>
                <a:cubicBezTo>
                  <a:pt x="37240" y="-5745"/>
                  <a:pt x="64777" y="-1708"/>
                  <a:pt x="79348" y="17739"/>
                </a:cubicBezTo>
                <a:lnTo>
                  <a:pt x="277990" y="285396"/>
                </a:lnTo>
                <a:lnTo>
                  <a:pt x="476722" y="17806"/>
                </a:lnTo>
                <a:cubicBezTo>
                  <a:pt x="491230" y="-1739"/>
                  <a:pt x="518836" y="-5821"/>
                  <a:pt x="538382" y="8688"/>
                </a:cubicBezTo>
                <a:cubicBezTo>
                  <a:pt x="557927" y="23197"/>
                  <a:pt x="562009" y="50803"/>
                  <a:pt x="547500" y="70348"/>
                </a:cubicBezTo>
                <a:close/>
              </a:path>
            </a:pathLst>
          </a:custGeom>
          <a:solidFill>
            <a:srgbClr val="FDC477"/>
          </a:solidFill>
          <a:ln w="19050" cap="flat">
            <a:noFill/>
            <a:prstDash val="solid"/>
            <a:miter/>
          </a:ln>
        </p:spPr>
        <p:txBody>
          <a:bodyPr anchor="ctr"/>
          <a:lstStyle/>
          <a:p>
            <a:pPr defTabSz="514337"/>
            <a:endParaRPr lang="en-US" sz="1013" kern="0">
              <a:latin typeface="Calibri"/>
            </a:endParaRPr>
          </a:p>
        </p:txBody>
      </p:sp>
      <p:pic>
        <p:nvPicPr>
          <p:cNvPr id="23619" name="Graphic 20">
            <a:extLst>
              <a:ext uri="{FF2B5EF4-FFF2-40B4-BE49-F238E27FC236}">
                <a16:creationId xmlns:a16="http://schemas.microsoft.com/office/drawing/2014/main" id="{D23EBE30-FAAE-10E6-1E7D-56C239F1D09B}"/>
              </a:ext>
            </a:extLst>
          </p:cNvPr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0207" y="2812257"/>
            <a:ext cx="141685" cy="154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</p:pic>
      <p:grpSp>
        <p:nvGrpSpPr>
          <p:cNvPr id="23620" name="Group 64">
            <a:extLst>
              <a:ext uri="{FF2B5EF4-FFF2-40B4-BE49-F238E27FC236}">
                <a16:creationId xmlns:a16="http://schemas.microsoft.com/office/drawing/2014/main" id="{70B76674-7827-A3AE-293D-EFA7102D6E77}"/>
              </a:ext>
            </a:extLst>
          </p:cNvPr>
          <p:cNvGrpSpPr>
            <a:grpSpLocks/>
          </p:cNvGrpSpPr>
          <p:nvPr/>
        </p:nvGrpSpPr>
        <p:grpSpPr bwMode="auto">
          <a:xfrm>
            <a:off x="1584722" y="3452818"/>
            <a:ext cx="4842221" cy="406949"/>
            <a:chOff x="784859" y="5617965"/>
            <a:chExt cx="8607972" cy="722533"/>
          </a:xfrm>
        </p:grpSpPr>
        <p:grpSp>
          <p:nvGrpSpPr>
            <p:cNvPr id="23621" name="Group 65">
              <a:extLst>
                <a:ext uri="{FF2B5EF4-FFF2-40B4-BE49-F238E27FC236}">
                  <a16:creationId xmlns:a16="http://schemas.microsoft.com/office/drawing/2014/main" id="{B6EDE573-529B-8E77-B827-A705B38106D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610623" y="5990019"/>
              <a:ext cx="2088695" cy="348365"/>
              <a:chOff x="5531451" y="5879622"/>
              <a:chExt cx="2088695" cy="348365"/>
            </a:xfrm>
          </p:grpSpPr>
          <p:pic>
            <p:nvPicPr>
              <p:cNvPr id="23622" name="T-Cells infiltrate 4">
                <a:extLst>
                  <a:ext uri="{FF2B5EF4-FFF2-40B4-BE49-F238E27FC236}">
                    <a16:creationId xmlns:a16="http://schemas.microsoft.com/office/drawing/2014/main" id="{55AED80E-6471-62E7-7BF9-653102DFFEB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31451" y="5890193"/>
                <a:ext cx="230705" cy="2621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3932" name="TextBox 1874">
                <a:extLst>
                  <a:ext uri="{FF2B5EF4-FFF2-40B4-BE49-F238E27FC236}">
                    <a16:creationId xmlns:a16="http://schemas.microsoft.com/office/drawing/2014/main" id="{5495A837-EC61-681B-AEE9-1831A8ED8771}"/>
                  </a:ext>
                </a:extLst>
              </p:cNvPr>
              <p:cNvSpPr txBox="1"/>
              <p:nvPr/>
            </p:nvSpPr>
            <p:spPr>
              <a:xfrm>
                <a:off x="5718864" y="5879622"/>
                <a:ext cx="1901282" cy="34836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>
                <a:spAutoFit/>
              </a:bodyPr>
              <a:lstStyle/>
              <a:p>
                <a:pPr defTabSz="514337"/>
                <a:r>
                  <a:rPr lang="de" sz="675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404040"/>
                    </a:solidFill>
                    <a:ea typeface="Arial"/>
                  </a:rPr>
                  <a:t>Autoreaktive T-Zelle</a:t>
                </a:r>
              </a:p>
            </p:txBody>
          </p:sp>
        </p:grpSp>
        <p:grpSp>
          <p:nvGrpSpPr>
            <p:cNvPr id="23624" name="Group 66">
              <a:extLst>
                <a:ext uri="{FF2B5EF4-FFF2-40B4-BE49-F238E27FC236}">
                  <a16:creationId xmlns:a16="http://schemas.microsoft.com/office/drawing/2014/main" id="{2FC34824-15B1-22DC-5C56-941D35AF098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70678" y="5990019"/>
              <a:ext cx="1793707" cy="348365"/>
              <a:chOff x="5456057" y="5609252"/>
              <a:chExt cx="1793707" cy="348365"/>
            </a:xfrm>
          </p:grpSpPr>
          <p:sp>
            <p:nvSpPr>
              <p:cNvPr id="23625" name="Isosceles Triangle 85">
                <a:extLst>
                  <a:ext uri="{FF2B5EF4-FFF2-40B4-BE49-F238E27FC236}">
                    <a16:creationId xmlns:a16="http://schemas.microsoft.com/office/drawing/2014/main" id="{63E1F4BC-2388-33E7-6587-D285B8330F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9900000">
                <a:off x="5456057" y="5693810"/>
                <a:ext cx="156625" cy="133179"/>
              </a:xfrm>
              <a:prstGeom prst="triangle">
                <a:avLst>
                  <a:gd name="adj" fmla="val 50000"/>
                </a:avLst>
              </a:prstGeom>
              <a:solidFill>
                <a:srgbClr val="70A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1pPr>
                <a:lvl2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2pPr>
                <a:lvl3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3pPr>
                <a:lvl4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4pPr>
                <a:lvl5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5pPr>
                <a:lvl6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6pPr>
                <a:lvl7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7pPr>
                <a:lvl8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8pPr>
                <a:lvl9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/>
                <a:endParaRPr lang="de-DE" altLang="de-DE" sz="975">
                  <a:solidFill>
                    <a:srgbClr val="404040"/>
                  </a:solidFill>
                  <a:latin typeface="+mn-lt"/>
                </a:endParaRPr>
              </a:p>
            </p:txBody>
          </p:sp>
          <p:sp>
            <p:nvSpPr>
              <p:cNvPr id="33930" name="TextBox 1872">
                <a:extLst>
                  <a:ext uri="{FF2B5EF4-FFF2-40B4-BE49-F238E27FC236}">
                    <a16:creationId xmlns:a16="http://schemas.microsoft.com/office/drawing/2014/main" id="{366631FA-69BF-C159-2070-3A74A76E9053}"/>
                  </a:ext>
                </a:extLst>
              </p:cNvPr>
              <p:cNvSpPr txBox="1"/>
              <p:nvPr/>
            </p:nvSpPr>
            <p:spPr>
              <a:xfrm>
                <a:off x="5602100" y="5609252"/>
                <a:ext cx="1647664" cy="34836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>
                <a:spAutoFit/>
              </a:bodyPr>
              <a:lstStyle/>
              <a:p>
                <a:pPr defTabSz="514337"/>
                <a:r>
                  <a:rPr lang="de" sz="675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404040"/>
                    </a:solidFill>
                    <a:ea typeface="Arial"/>
                  </a:rPr>
                  <a:t>Betazell-Antigen </a:t>
                </a:r>
              </a:p>
            </p:txBody>
          </p:sp>
        </p:grpSp>
        <p:grpSp>
          <p:nvGrpSpPr>
            <p:cNvPr id="23627" name="Group 102">
              <a:extLst>
                <a:ext uri="{FF2B5EF4-FFF2-40B4-BE49-F238E27FC236}">
                  <a16:creationId xmlns:a16="http://schemas.microsoft.com/office/drawing/2014/main" id="{506DEB38-9392-5134-9427-B59EA86E5E3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5074" y="5617965"/>
              <a:ext cx="2392494" cy="711963"/>
              <a:chOff x="1068122" y="5622206"/>
              <a:chExt cx="2392494" cy="711963"/>
            </a:xfrm>
          </p:grpSpPr>
          <p:grpSp>
            <p:nvGrpSpPr>
              <p:cNvPr id="23628" name="Group 111">
                <a:extLst>
                  <a:ext uri="{FF2B5EF4-FFF2-40B4-BE49-F238E27FC236}">
                    <a16:creationId xmlns:a16="http://schemas.microsoft.com/office/drawing/2014/main" id="{EBA667EA-F983-4277-B4A6-C47FCFEC6B2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68122" y="5985805"/>
                <a:ext cx="1106642" cy="348364"/>
                <a:chOff x="2337779" y="5616898"/>
                <a:chExt cx="1106642" cy="348364"/>
              </a:xfrm>
            </p:grpSpPr>
            <p:pic>
              <p:nvPicPr>
                <p:cNvPr id="23629" name="Graphic 1865">
                  <a:extLst>
                    <a:ext uri="{FF2B5EF4-FFF2-40B4-BE49-F238E27FC236}">
                      <a16:creationId xmlns:a16="http://schemas.microsoft.com/office/drawing/2014/main" id="{9400DB3C-B909-7445-C660-211E46D9B8C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337779" y="5623240"/>
                  <a:ext cx="289970" cy="2748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928" name="TextBox 1870">
                  <a:extLst>
                    <a:ext uri="{FF2B5EF4-FFF2-40B4-BE49-F238E27FC236}">
                      <a16:creationId xmlns:a16="http://schemas.microsoft.com/office/drawing/2014/main" id="{095E8DE8-B165-CD9C-77AF-640A44080B8A}"/>
                    </a:ext>
                  </a:extLst>
                </p:cNvPr>
                <p:cNvSpPr txBox="1"/>
                <p:nvPr/>
              </p:nvSpPr>
              <p:spPr>
                <a:xfrm>
                  <a:off x="2534815" y="5616898"/>
                  <a:ext cx="909606" cy="34836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>
                  <a:spAutoFit/>
                </a:bodyPr>
                <a:lstStyle/>
                <a:p>
                  <a:pPr defTabSz="514337"/>
                  <a:r>
                    <a:rPr lang="de" sz="675">
                      <a:ln w="952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solidFill>
                        <a:srgbClr val="404040"/>
                      </a:solidFill>
                      <a:ea typeface="Arial"/>
                    </a:rPr>
                    <a:t>Gesund</a:t>
                  </a:r>
                </a:p>
              </p:txBody>
            </p:sp>
          </p:grpSp>
          <p:grpSp>
            <p:nvGrpSpPr>
              <p:cNvPr id="23631" name="Group 113">
                <a:extLst>
                  <a:ext uri="{FF2B5EF4-FFF2-40B4-BE49-F238E27FC236}">
                    <a16:creationId xmlns:a16="http://schemas.microsoft.com/office/drawing/2014/main" id="{817FC9C6-02DC-7FA5-A89D-1B7F5331F0D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092783" y="5985805"/>
                <a:ext cx="1367833" cy="348364"/>
                <a:chOff x="2342461" y="5976830"/>
                <a:chExt cx="1367833" cy="348364"/>
              </a:xfrm>
            </p:grpSpPr>
            <p:sp>
              <p:nvSpPr>
                <p:cNvPr id="33922" name="TextBox 117">
                  <a:extLst>
                    <a:ext uri="{FF2B5EF4-FFF2-40B4-BE49-F238E27FC236}">
                      <a16:creationId xmlns:a16="http://schemas.microsoft.com/office/drawing/2014/main" id="{609C3D69-4CFF-273D-B834-A74BB28E01D0}"/>
                    </a:ext>
                  </a:extLst>
                </p:cNvPr>
                <p:cNvSpPr txBox="1"/>
                <p:nvPr/>
              </p:nvSpPr>
              <p:spPr>
                <a:xfrm>
                  <a:off x="2541370" y="5976830"/>
                  <a:ext cx="1168924" cy="34836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>
                  <a:spAutoFit/>
                </a:bodyPr>
                <a:lstStyle/>
                <a:p>
                  <a:pPr defTabSz="514337"/>
                  <a:r>
                    <a:rPr lang="de" sz="675">
                      <a:ln w="952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solidFill>
                        <a:srgbClr val="404040"/>
                      </a:solidFill>
                      <a:ea typeface="Arial"/>
                    </a:rPr>
                    <a:t>Beschädigt</a:t>
                  </a:r>
                </a:p>
              </p:txBody>
            </p:sp>
            <p:grpSp>
              <p:nvGrpSpPr>
                <p:cNvPr id="23633" name="Graphic 305">
                  <a:extLst>
                    <a:ext uri="{FF2B5EF4-FFF2-40B4-BE49-F238E27FC236}">
                      <a16:creationId xmlns:a16="http://schemas.microsoft.com/office/drawing/2014/main" id="{8A0D9ACE-3A75-DA54-DC4B-8331AA646A52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342461" y="5985964"/>
                  <a:ext cx="283048" cy="267245"/>
                  <a:chOff x="2342461" y="5985964"/>
                  <a:chExt cx="283048" cy="267245"/>
                </a:xfrm>
              </p:grpSpPr>
              <p:sp>
                <p:nvSpPr>
                  <p:cNvPr id="33924" name="Freeform 3">
                    <a:extLst>
                      <a:ext uri="{FF2B5EF4-FFF2-40B4-BE49-F238E27FC236}">
                        <a16:creationId xmlns:a16="http://schemas.microsoft.com/office/drawing/2014/main" id="{7F9BAE12-E3A5-9E12-CB58-66FDDD9015A4}"/>
                      </a:ext>
                    </a:extLst>
                  </p:cNvPr>
                  <p:cNvSpPr/>
                  <p:nvPr/>
                </p:nvSpPr>
                <p:spPr>
                  <a:xfrm>
                    <a:off x="2342217" y="5985285"/>
                    <a:ext cx="283619" cy="268471"/>
                  </a:xfrm>
                  <a:custGeom>
                    <a:avLst/>
                    <a:gdLst>
                      <a:gd name="connsiteX0" fmla="*/ 95259 w 283048"/>
                      <a:gd name="connsiteY0" fmla="*/ 12522 h 267245"/>
                      <a:gd name="connsiteX1" fmla="*/ 111257 w 283048"/>
                      <a:gd name="connsiteY1" fmla="*/ 3061 h 267245"/>
                      <a:gd name="connsiteX2" fmla="*/ 136902 w 283048"/>
                      <a:gd name="connsiteY2" fmla="*/ 306 h 267245"/>
                      <a:gd name="connsiteX3" fmla="*/ 220287 w 283048"/>
                      <a:gd name="connsiteY3" fmla="*/ 31163 h 267245"/>
                      <a:gd name="connsiteX4" fmla="*/ 261307 w 283048"/>
                      <a:gd name="connsiteY4" fmla="*/ 53109 h 267245"/>
                      <a:gd name="connsiteX5" fmla="*/ 278404 w 283048"/>
                      <a:gd name="connsiteY5" fmla="*/ 66264 h 267245"/>
                      <a:gd name="connsiteX6" fmla="*/ 282862 w 283048"/>
                      <a:gd name="connsiteY6" fmla="*/ 92562 h 267245"/>
                      <a:gd name="connsiteX7" fmla="*/ 279125 w 283048"/>
                      <a:gd name="connsiteY7" fmla="*/ 144269 h 267245"/>
                      <a:gd name="connsiteX8" fmla="*/ 267804 w 283048"/>
                      <a:gd name="connsiteY8" fmla="*/ 200352 h 267245"/>
                      <a:gd name="connsiteX9" fmla="*/ 232145 w 283048"/>
                      <a:gd name="connsiteY9" fmla="*/ 243841 h 267245"/>
                      <a:gd name="connsiteX10" fmla="*/ 191845 w 283048"/>
                      <a:gd name="connsiteY10" fmla="*/ 255143 h 267245"/>
                      <a:gd name="connsiteX11" fmla="*/ 142715 w 283048"/>
                      <a:gd name="connsiteY11" fmla="*/ 263165 h 267245"/>
                      <a:gd name="connsiteX12" fmla="*/ 72288 w 283048"/>
                      <a:gd name="connsiteY12" fmla="*/ 261556 h 267245"/>
                      <a:gd name="connsiteX13" fmla="*/ 28593 w 283048"/>
                      <a:gd name="connsiteY13" fmla="*/ 222139 h 267245"/>
                      <a:gd name="connsiteX14" fmla="*/ 224 w 283048"/>
                      <a:gd name="connsiteY14" fmla="*/ 154498 h 267245"/>
                      <a:gd name="connsiteX15" fmla="*/ 29875 w 283048"/>
                      <a:gd name="connsiteY15" fmla="*/ 83613 h 267245"/>
                      <a:gd name="connsiteX16" fmla="*/ 95259 w 283048"/>
                      <a:gd name="connsiteY16" fmla="*/ 12522 h 2672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283048" h="267245">
                        <a:moveTo>
                          <a:pt x="95259" y="12522"/>
                        </a:moveTo>
                        <a:cubicBezTo>
                          <a:pt x="100136" y="8658"/>
                          <a:pt x="105519" y="5475"/>
                          <a:pt x="111257" y="3061"/>
                        </a:cubicBezTo>
                        <a:cubicBezTo>
                          <a:pt x="119341" y="-36"/>
                          <a:pt x="128244" y="-402"/>
                          <a:pt x="136902" y="306"/>
                        </a:cubicBezTo>
                        <a:cubicBezTo>
                          <a:pt x="166675" y="2744"/>
                          <a:pt x="193957" y="17094"/>
                          <a:pt x="220287" y="31163"/>
                        </a:cubicBezTo>
                        <a:lnTo>
                          <a:pt x="261307" y="53109"/>
                        </a:lnTo>
                        <a:cubicBezTo>
                          <a:pt x="267719" y="56535"/>
                          <a:pt x="274411" y="60205"/>
                          <a:pt x="278404" y="66264"/>
                        </a:cubicBezTo>
                        <a:cubicBezTo>
                          <a:pt x="283399" y="73811"/>
                          <a:pt x="283289" y="83528"/>
                          <a:pt x="282862" y="92562"/>
                        </a:cubicBezTo>
                        <a:cubicBezTo>
                          <a:pt x="282047" y="109826"/>
                          <a:pt x="280802" y="127062"/>
                          <a:pt x="279125" y="144269"/>
                        </a:cubicBezTo>
                        <a:cubicBezTo>
                          <a:pt x="277232" y="163300"/>
                          <a:pt x="274753" y="182515"/>
                          <a:pt x="267804" y="200352"/>
                        </a:cubicBezTo>
                        <a:cubicBezTo>
                          <a:pt x="260856" y="218189"/>
                          <a:pt x="248973" y="234709"/>
                          <a:pt x="232145" y="243841"/>
                        </a:cubicBezTo>
                        <a:cubicBezTo>
                          <a:pt x="219810" y="250534"/>
                          <a:pt x="205669" y="252887"/>
                          <a:pt x="191845" y="255143"/>
                        </a:cubicBezTo>
                        <a:lnTo>
                          <a:pt x="142715" y="263165"/>
                        </a:lnTo>
                        <a:cubicBezTo>
                          <a:pt x="119207" y="267006"/>
                          <a:pt x="94270" y="270663"/>
                          <a:pt x="72288" y="261556"/>
                        </a:cubicBezTo>
                        <a:cubicBezTo>
                          <a:pt x="53970" y="253960"/>
                          <a:pt x="40097" y="238391"/>
                          <a:pt x="28593" y="222139"/>
                        </a:cubicBezTo>
                        <a:cubicBezTo>
                          <a:pt x="14268" y="201949"/>
                          <a:pt x="2178" y="179223"/>
                          <a:pt x="224" y="154498"/>
                        </a:cubicBezTo>
                        <a:cubicBezTo>
                          <a:pt x="-2133" y="124457"/>
                          <a:pt x="14549" y="106717"/>
                          <a:pt x="29875" y="83613"/>
                        </a:cubicBezTo>
                        <a:cubicBezTo>
                          <a:pt x="48022" y="56255"/>
                          <a:pt x="68649" y="32212"/>
                          <a:pt x="95259" y="12522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 w="7204" cap="flat">
                    <a:solidFill>
                      <a:srgbClr val="585863"/>
                    </a:solidFill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33925" name="Freeform 4">
                    <a:extLst>
                      <a:ext uri="{FF2B5EF4-FFF2-40B4-BE49-F238E27FC236}">
                        <a16:creationId xmlns:a16="http://schemas.microsoft.com/office/drawing/2014/main" id="{5775F02F-F2E5-C370-97EB-377406ECDBB2}"/>
                      </a:ext>
                    </a:extLst>
                  </p:cNvPr>
                  <p:cNvSpPr/>
                  <p:nvPr/>
                </p:nvSpPr>
                <p:spPr>
                  <a:xfrm>
                    <a:off x="2426879" y="6071957"/>
                    <a:ext cx="122760" cy="133178"/>
                  </a:xfrm>
                  <a:custGeom>
                    <a:avLst/>
                    <a:gdLst>
                      <a:gd name="connsiteX0" fmla="*/ 120900 w 120900"/>
                      <a:gd name="connsiteY0" fmla="*/ 67056 h 134112"/>
                      <a:gd name="connsiteX1" fmla="*/ 60450 w 120900"/>
                      <a:gd name="connsiteY1" fmla="*/ 134112 h 134112"/>
                      <a:gd name="connsiteX2" fmla="*/ 0 w 120900"/>
                      <a:gd name="connsiteY2" fmla="*/ 67056 h 134112"/>
                      <a:gd name="connsiteX3" fmla="*/ 60450 w 120900"/>
                      <a:gd name="connsiteY3" fmla="*/ 0 h 134112"/>
                      <a:gd name="connsiteX4" fmla="*/ 120900 w 120900"/>
                      <a:gd name="connsiteY4" fmla="*/ 67056 h 1341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900" h="134112">
                        <a:moveTo>
                          <a:pt x="120900" y="67056"/>
                        </a:moveTo>
                        <a:cubicBezTo>
                          <a:pt x="120900" y="104090"/>
                          <a:pt x="93836" y="134112"/>
                          <a:pt x="60450" y="134112"/>
                        </a:cubicBezTo>
                        <a:cubicBezTo>
                          <a:pt x="27064" y="134112"/>
                          <a:pt x="0" y="104090"/>
                          <a:pt x="0" y="67056"/>
                        </a:cubicBezTo>
                        <a:cubicBezTo>
                          <a:pt x="0" y="30022"/>
                          <a:pt x="27064" y="0"/>
                          <a:pt x="60450" y="0"/>
                        </a:cubicBezTo>
                        <a:cubicBezTo>
                          <a:pt x="93836" y="0"/>
                          <a:pt x="120900" y="30022"/>
                          <a:pt x="120900" y="67056"/>
                        </a:cubicBezTo>
                        <a:close/>
                      </a:path>
                    </a:pathLst>
                  </a:custGeom>
                  <a:solidFill>
                    <a:srgbClr val="E3E7F7">
                      <a:alpha val="48000"/>
                    </a:srgbClr>
                  </a:solidFill>
                  <a:ln w="1201" cap="flat">
                    <a:noFill/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33926" name="Freeform 5">
                    <a:extLst>
                      <a:ext uri="{FF2B5EF4-FFF2-40B4-BE49-F238E27FC236}">
                        <a16:creationId xmlns:a16="http://schemas.microsoft.com/office/drawing/2014/main" id="{840BA5FD-C8D8-2DAD-47FD-3098EC92EB4F}"/>
                      </a:ext>
                    </a:extLst>
                  </p:cNvPr>
                  <p:cNvSpPr/>
                  <p:nvPr/>
                </p:nvSpPr>
                <p:spPr>
                  <a:xfrm>
                    <a:off x="2532707" y="6027564"/>
                    <a:ext cx="69847" cy="118381"/>
                  </a:xfrm>
                  <a:custGeom>
                    <a:avLst/>
                    <a:gdLst>
                      <a:gd name="connsiteX0" fmla="*/ 53880 w 69942"/>
                      <a:gd name="connsiteY0" fmla="*/ 24616 h 117152"/>
                      <a:gd name="connsiteX1" fmla="*/ 68022 w 69942"/>
                      <a:gd name="connsiteY1" fmla="*/ 36040 h 117152"/>
                      <a:gd name="connsiteX2" fmla="*/ 69707 w 69942"/>
                      <a:gd name="connsiteY2" fmla="*/ 46732 h 117152"/>
                      <a:gd name="connsiteX3" fmla="*/ 63467 w 69942"/>
                      <a:gd name="connsiteY3" fmla="*/ 117153 h 117152"/>
                      <a:gd name="connsiteX4" fmla="*/ 56872 w 69942"/>
                      <a:gd name="connsiteY4" fmla="*/ 60314 h 117152"/>
                      <a:gd name="connsiteX5" fmla="*/ 30530 w 69942"/>
                      <a:gd name="connsiteY5" fmla="*/ 29175 h 117152"/>
                      <a:gd name="connsiteX6" fmla="*/ 0 w 69942"/>
                      <a:gd name="connsiteY6" fmla="*/ 0 h 117152"/>
                      <a:gd name="connsiteX7" fmla="*/ 53880 w 69942"/>
                      <a:gd name="connsiteY7" fmla="*/ 24616 h 1171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9942" h="117152">
                        <a:moveTo>
                          <a:pt x="53880" y="24616"/>
                        </a:moveTo>
                        <a:cubicBezTo>
                          <a:pt x="59461" y="27286"/>
                          <a:pt x="65457" y="30407"/>
                          <a:pt x="68022" y="36040"/>
                        </a:cubicBezTo>
                        <a:cubicBezTo>
                          <a:pt x="69524" y="39344"/>
                          <a:pt x="69634" y="43099"/>
                          <a:pt x="69707" y="46732"/>
                        </a:cubicBezTo>
                        <a:cubicBezTo>
                          <a:pt x="70195" y="70409"/>
                          <a:pt x="70611" y="94573"/>
                          <a:pt x="63467" y="117153"/>
                        </a:cubicBezTo>
                        <a:cubicBezTo>
                          <a:pt x="57360" y="98975"/>
                          <a:pt x="63467" y="78321"/>
                          <a:pt x="56872" y="60314"/>
                        </a:cubicBezTo>
                        <a:cubicBezTo>
                          <a:pt x="52036" y="47098"/>
                          <a:pt x="41240" y="37710"/>
                          <a:pt x="30530" y="29175"/>
                        </a:cubicBezTo>
                        <a:cubicBezTo>
                          <a:pt x="21139" y="21702"/>
                          <a:pt x="3664" y="11875"/>
                          <a:pt x="0" y="0"/>
                        </a:cubicBezTo>
                        <a:cubicBezTo>
                          <a:pt x="18147" y="4487"/>
                          <a:pt x="36930" y="16471"/>
                          <a:pt x="53880" y="246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201" cap="flat">
                    <a:noFill/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p:grpSp>
          </p:grpSp>
          <p:sp>
            <p:nvSpPr>
              <p:cNvPr id="33921" name="TextBox 116">
                <a:extLst>
                  <a:ext uri="{FF2B5EF4-FFF2-40B4-BE49-F238E27FC236}">
                    <a16:creationId xmlns:a16="http://schemas.microsoft.com/office/drawing/2014/main" id="{02A88B79-2C98-F71B-595C-4CC912F095B2}"/>
                  </a:ext>
                </a:extLst>
              </p:cNvPr>
              <p:cNvSpPr txBox="1"/>
              <p:nvPr/>
            </p:nvSpPr>
            <p:spPr>
              <a:xfrm>
                <a:off x="2113704" y="5622206"/>
                <a:ext cx="1228766" cy="34836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>
                <a:spAutoFit/>
              </a:bodyPr>
              <a:lstStyle/>
              <a:p>
                <a:pPr defTabSz="514337"/>
                <a:r>
                  <a:rPr lang="de" sz="675" b="1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404040"/>
                    </a:solidFill>
                    <a:ea typeface="Arial"/>
                  </a:rPr>
                  <a:t>Betazellen</a:t>
                </a:r>
              </a:p>
            </p:txBody>
          </p:sp>
        </p:grpSp>
        <p:sp>
          <p:nvSpPr>
            <p:cNvPr id="33914" name="Freeform 310">
              <a:extLst>
                <a:ext uri="{FF2B5EF4-FFF2-40B4-BE49-F238E27FC236}">
                  <a16:creationId xmlns:a16="http://schemas.microsoft.com/office/drawing/2014/main" id="{5AE2B4A9-0594-4FFE-4D95-98727CA927A0}"/>
                </a:ext>
              </a:extLst>
            </p:cNvPr>
            <p:cNvSpPr/>
            <p:nvPr/>
          </p:nvSpPr>
          <p:spPr>
            <a:xfrm rot="5400000">
              <a:off x="2260142" y="4411155"/>
              <a:ext cx="61304" cy="3011869"/>
            </a:xfrm>
            <a:custGeom>
              <a:avLst/>
              <a:gdLst>
                <a:gd name="connsiteX0" fmla="*/ 185980 w 185980"/>
                <a:gd name="connsiteY0" fmla="*/ 0 h 1015139"/>
                <a:gd name="connsiteX1" fmla="*/ 0 w 185980"/>
                <a:gd name="connsiteY1" fmla="*/ 0 h 1015139"/>
                <a:gd name="connsiteX2" fmla="*/ 0 w 185980"/>
                <a:gd name="connsiteY2" fmla="*/ 1015139 h 1015139"/>
                <a:gd name="connsiteX3" fmla="*/ 185980 w 185980"/>
                <a:gd name="connsiteY3" fmla="*/ 1015139 h 1015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980" h="1015139">
                  <a:moveTo>
                    <a:pt x="185980" y="0"/>
                  </a:moveTo>
                  <a:lnTo>
                    <a:pt x="0" y="0"/>
                  </a:lnTo>
                  <a:lnTo>
                    <a:pt x="0" y="1015139"/>
                  </a:lnTo>
                  <a:lnTo>
                    <a:pt x="185980" y="1015139"/>
                  </a:lnTo>
                </a:path>
              </a:pathLst>
            </a:custGeom>
            <a:noFill/>
            <a:ln w="9525" cap="flat" cmpd="sng" algn="ctr">
              <a:solidFill>
                <a:srgbClr val="BFBFB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 defTabSz="514337"/>
              <a:endParaRPr lang="en-US" sz="1013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23639" name="Graphic 105">
              <a:extLst>
                <a:ext uri="{FF2B5EF4-FFF2-40B4-BE49-F238E27FC236}">
                  <a16:creationId xmlns:a16="http://schemas.microsoft.com/office/drawing/2014/main" id="{369F05B9-7B36-D325-6BF5-7BAA537A62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4346" y="5987906"/>
              <a:ext cx="289968" cy="2748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916" name="TextBox 106">
              <a:extLst>
                <a:ext uri="{FF2B5EF4-FFF2-40B4-BE49-F238E27FC236}">
                  <a16:creationId xmlns:a16="http://schemas.microsoft.com/office/drawing/2014/main" id="{DEE8B7C6-52B2-0491-6BF8-6B99FB50E767}"/>
                </a:ext>
              </a:extLst>
            </p:cNvPr>
            <p:cNvSpPr txBox="1"/>
            <p:nvPr/>
          </p:nvSpPr>
          <p:spPr>
            <a:xfrm>
              <a:off x="3301452" y="5992133"/>
              <a:ext cx="576199" cy="34836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none">
              <a:spAutoFit/>
            </a:bodyPr>
            <a:lstStyle/>
            <a:p>
              <a:pPr defTabSz="514337"/>
              <a:r>
                <a:rPr lang="de" sz="675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404040"/>
                  </a:solidFill>
                  <a:ea typeface="Arial"/>
                </a:rPr>
                <a:t>Tot</a:t>
              </a:r>
            </a:p>
          </p:txBody>
        </p:sp>
        <p:sp>
          <p:nvSpPr>
            <p:cNvPr id="33917" name="Freeform 676">
              <a:extLst>
                <a:ext uri="{FF2B5EF4-FFF2-40B4-BE49-F238E27FC236}">
                  <a16:creationId xmlns:a16="http://schemas.microsoft.com/office/drawing/2014/main" id="{FC49F304-B03A-1E9E-7DC5-ABAA13F77970}"/>
                </a:ext>
              </a:extLst>
            </p:cNvPr>
            <p:cNvSpPr/>
            <p:nvPr/>
          </p:nvSpPr>
          <p:spPr>
            <a:xfrm rot="960000">
              <a:off x="7473199" y="6087261"/>
              <a:ext cx="31748" cy="42279"/>
            </a:xfrm>
            <a:custGeom>
              <a:avLst/>
              <a:gdLst>
                <a:gd name="connsiteX0" fmla="*/ 0 w 96767"/>
                <a:gd name="connsiteY0" fmla="*/ 150303 h 150303"/>
                <a:gd name="connsiteX1" fmla="*/ 70960 w 96767"/>
                <a:gd name="connsiteY1" fmla="*/ 66010 h 150303"/>
                <a:gd name="connsiteX2" fmla="*/ 96767 w 96767"/>
                <a:gd name="connsiteY2" fmla="*/ 0 h 150303"/>
                <a:gd name="connsiteX3" fmla="*/ 47276 w 96767"/>
                <a:gd name="connsiteY3" fmla="*/ 73536 h 150303"/>
                <a:gd name="connsiteX4" fmla="*/ 23277 w 96767"/>
                <a:gd name="connsiteY4" fmla="*/ 111682 h 150303"/>
                <a:gd name="connsiteX5" fmla="*/ 0 w 96767"/>
                <a:gd name="connsiteY5" fmla="*/ 150303 h 15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767" h="150303">
                  <a:moveTo>
                    <a:pt x="0" y="150303"/>
                  </a:moveTo>
                  <a:cubicBezTo>
                    <a:pt x="27276" y="125445"/>
                    <a:pt x="55163" y="99434"/>
                    <a:pt x="70960" y="66010"/>
                  </a:cubicBezTo>
                  <a:cubicBezTo>
                    <a:pt x="80587" y="45672"/>
                    <a:pt x="91095" y="21695"/>
                    <a:pt x="96767" y="0"/>
                  </a:cubicBezTo>
                  <a:cubicBezTo>
                    <a:pt x="78688" y="23051"/>
                    <a:pt x="63095" y="48971"/>
                    <a:pt x="47276" y="73536"/>
                  </a:cubicBezTo>
                  <a:cubicBezTo>
                    <a:pt x="39170" y="86191"/>
                    <a:pt x="31170" y="98906"/>
                    <a:pt x="23277" y="111682"/>
                  </a:cubicBezTo>
                  <a:cubicBezTo>
                    <a:pt x="16474" y="122733"/>
                    <a:pt x="9446" y="141625"/>
                    <a:pt x="0" y="150303"/>
                  </a:cubicBezTo>
                  <a:close/>
                </a:path>
              </a:pathLst>
            </a:custGeom>
            <a:solidFill>
              <a:srgbClr val="FFFFFF"/>
            </a:solidFill>
            <a:ln w="2228" cap="flat">
              <a:noFill/>
              <a:prstDash val="solid"/>
              <a:miter/>
            </a:ln>
          </p:spPr>
          <p:txBody>
            <a:bodyPr anchor="ctr"/>
            <a:lstStyle/>
            <a:p>
              <a:pPr defTabSz="514337"/>
              <a:endParaRPr lang="en-US" sz="1013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3918" name="TextBox 110">
              <a:extLst>
                <a:ext uri="{FF2B5EF4-FFF2-40B4-BE49-F238E27FC236}">
                  <a16:creationId xmlns:a16="http://schemas.microsoft.com/office/drawing/2014/main" id="{2CB8470A-DB25-6FE3-C42B-45F822811063}"/>
                </a:ext>
              </a:extLst>
            </p:cNvPr>
            <p:cNvSpPr txBox="1"/>
            <p:nvPr/>
          </p:nvSpPr>
          <p:spPr>
            <a:xfrm>
              <a:off x="7913296" y="5990018"/>
              <a:ext cx="1479535" cy="34836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none">
              <a:spAutoFit/>
            </a:bodyPr>
            <a:lstStyle/>
            <a:p>
              <a:pPr defTabSz="514337"/>
              <a:r>
                <a:rPr lang="de" sz="675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404040"/>
                  </a:solidFill>
                  <a:ea typeface="Arial"/>
                </a:rPr>
                <a:t>Autoantikörper</a:t>
              </a:r>
            </a:p>
          </p:txBody>
        </p:sp>
      </p:grpSp>
      <p:grpSp>
        <p:nvGrpSpPr>
          <p:cNvPr id="23643" name="Group 1875">
            <a:extLst>
              <a:ext uri="{FF2B5EF4-FFF2-40B4-BE49-F238E27FC236}">
                <a16:creationId xmlns:a16="http://schemas.microsoft.com/office/drawing/2014/main" id="{3AC6C676-036D-7E2C-1AB1-B7F0A2711382}"/>
              </a:ext>
            </a:extLst>
          </p:cNvPr>
          <p:cNvGrpSpPr>
            <a:grpSpLocks/>
          </p:cNvGrpSpPr>
          <p:nvPr/>
        </p:nvGrpSpPr>
        <p:grpSpPr bwMode="auto">
          <a:xfrm>
            <a:off x="5449786" y="3673079"/>
            <a:ext cx="176213" cy="129778"/>
            <a:chOff x="4838046" y="5925384"/>
            <a:chExt cx="313545" cy="230188"/>
          </a:xfrm>
        </p:grpSpPr>
        <p:pic>
          <p:nvPicPr>
            <p:cNvPr id="23644" name="Graphic 1876">
              <a:extLst>
                <a:ext uri="{FF2B5EF4-FFF2-40B4-BE49-F238E27FC236}">
                  <a16:creationId xmlns:a16="http://schemas.microsoft.com/office/drawing/2014/main" id="{96CAB9D4-3234-80B0-5052-207D8DDB3E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4820000">
              <a:off x="4844614" y="6003289"/>
              <a:ext cx="133044" cy="1461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645" name="Graphic 1877">
              <a:extLst>
                <a:ext uri="{FF2B5EF4-FFF2-40B4-BE49-F238E27FC236}">
                  <a16:creationId xmlns:a16="http://schemas.microsoft.com/office/drawing/2014/main" id="{8BB36E18-2D7B-D9D1-3DBC-3C64BC0287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1400000">
              <a:off x="4973633" y="5925384"/>
              <a:ext cx="146180" cy="1330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646" name="Graphic 1878">
              <a:extLst>
                <a:ext uri="{FF2B5EF4-FFF2-40B4-BE49-F238E27FC236}">
                  <a16:creationId xmlns:a16="http://schemas.microsoft.com/office/drawing/2014/main" id="{DEC71250-C796-B58B-3A24-D43538BEF2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740000">
              <a:off x="5005412" y="6022528"/>
              <a:ext cx="146179" cy="1330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23647" name="Straight Connector 4">
            <a:extLst>
              <a:ext uri="{FF2B5EF4-FFF2-40B4-BE49-F238E27FC236}">
                <a16:creationId xmlns:a16="http://schemas.microsoft.com/office/drawing/2014/main" id="{586D1670-622A-7C8E-D119-B4E230A51B7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534716" y="1478756"/>
            <a:ext cx="6096000" cy="0"/>
          </a:xfrm>
          <a:prstGeom prst="line">
            <a:avLst/>
          </a:prstGeom>
          <a:noFill/>
          <a:ln w="28575" algn="ctr">
            <a:solidFill>
              <a:srgbClr val="7B9AE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3835" name="TextBox 5">
            <a:extLst>
              <a:ext uri="{FF2B5EF4-FFF2-40B4-BE49-F238E27FC236}">
                <a16:creationId xmlns:a16="http://schemas.microsoft.com/office/drawing/2014/main" id="{63105F91-92C0-2AA2-DCE3-4D52B5B0EFB1}"/>
              </a:ext>
            </a:extLst>
          </p:cNvPr>
          <p:cNvSpPr txBox="1"/>
          <p:nvPr/>
        </p:nvSpPr>
        <p:spPr>
          <a:xfrm>
            <a:off x="1940719" y="1628775"/>
            <a:ext cx="1460897" cy="1212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>
            <a:spAutoFit/>
          </a:bodyPr>
          <a:lstStyle/>
          <a:p>
            <a:pPr algn="ctr" defTabSz="514337">
              <a:spcBef>
                <a:spcPts val="113"/>
              </a:spcBef>
            </a:pPr>
            <a:r>
              <a:rPr lang="de" sz="788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D9D9D9"/>
                </a:solidFill>
                <a:ea typeface="Arial"/>
              </a:rPr>
              <a:t>NORMOGLYKÄMIE</a:t>
            </a:r>
          </a:p>
        </p:txBody>
      </p:sp>
      <p:sp>
        <p:nvSpPr>
          <p:cNvPr id="33836" name="Rectangle: Rounded Corners 2">
            <a:extLst>
              <a:ext uri="{FF2B5EF4-FFF2-40B4-BE49-F238E27FC236}">
                <a16:creationId xmlns:a16="http://schemas.microsoft.com/office/drawing/2014/main" id="{352C2B47-AA34-F8C4-4871-FC0FE1F4ED3F}"/>
              </a:ext>
            </a:extLst>
          </p:cNvPr>
          <p:cNvSpPr/>
          <p:nvPr/>
        </p:nvSpPr>
        <p:spPr>
          <a:xfrm>
            <a:off x="1771650" y="1394223"/>
            <a:ext cx="1800225" cy="169069"/>
          </a:xfrm>
          <a:prstGeom prst="round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514337"/>
            <a:r>
              <a:rPr lang="de" sz="900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FFFFFF"/>
                </a:solidFill>
                <a:ea typeface="Arial"/>
              </a:rPr>
              <a:t>STADIUM 1</a:t>
            </a:r>
          </a:p>
        </p:txBody>
      </p:sp>
      <p:sp>
        <p:nvSpPr>
          <p:cNvPr id="33837" name="Rectangle: Rounded Corners 93">
            <a:extLst>
              <a:ext uri="{FF2B5EF4-FFF2-40B4-BE49-F238E27FC236}">
                <a16:creationId xmlns:a16="http://schemas.microsoft.com/office/drawing/2014/main" id="{7BE5E7EC-7E9B-09DE-70B9-76087ED101A6}"/>
              </a:ext>
            </a:extLst>
          </p:cNvPr>
          <p:cNvSpPr/>
          <p:nvPr/>
        </p:nvSpPr>
        <p:spPr>
          <a:xfrm>
            <a:off x="3679031" y="1394223"/>
            <a:ext cx="1800225" cy="169069"/>
          </a:xfrm>
          <a:prstGeom prst="roundRect">
            <a:avLst/>
          </a:prstGeom>
          <a:solidFill>
            <a:srgbClr val="FF99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514337"/>
            <a:r>
              <a:rPr lang="de" sz="900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FFFFFF"/>
                </a:solidFill>
                <a:ea typeface="Arial"/>
              </a:rPr>
              <a:t>STADIUM 2</a:t>
            </a:r>
          </a:p>
        </p:txBody>
      </p:sp>
      <p:sp>
        <p:nvSpPr>
          <p:cNvPr id="33838" name="Rectangle: Rounded Corners 94">
            <a:extLst>
              <a:ext uri="{FF2B5EF4-FFF2-40B4-BE49-F238E27FC236}">
                <a16:creationId xmlns:a16="http://schemas.microsoft.com/office/drawing/2014/main" id="{0AECEE0D-7C40-5B24-7885-7878E3ED8C23}"/>
              </a:ext>
            </a:extLst>
          </p:cNvPr>
          <p:cNvSpPr/>
          <p:nvPr/>
        </p:nvSpPr>
        <p:spPr>
          <a:xfrm>
            <a:off x="5587604" y="1394223"/>
            <a:ext cx="1800225" cy="169069"/>
          </a:xfrm>
          <a:prstGeom prst="roundRect">
            <a:avLst/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514337"/>
            <a:endParaRPr lang="en-US" sz="1013" ker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3839" name="TextBox 23">
            <a:extLst>
              <a:ext uri="{FF2B5EF4-FFF2-40B4-BE49-F238E27FC236}">
                <a16:creationId xmlns:a16="http://schemas.microsoft.com/office/drawing/2014/main" id="{96B737FF-C267-2DD0-539C-A8CBE8C6ECE6}"/>
              </a:ext>
            </a:extLst>
          </p:cNvPr>
          <p:cNvSpPr txBox="1"/>
          <p:nvPr/>
        </p:nvSpPr>
        <p:spPr>
          <a:xfrm>
            <a:off x="3845719" y="1628775"/>
            <a:ext cx="1460897" cy="1212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>
            <a:spAutoFit/>
          </a:bodyPr>
          <a:lstStyle/>
          <a:p>
            <a:pPr algn="ctr" defTabSz="514337">
              <a:spcBef>
                <a:spcPts val="113"/>
              </a:spcBef>
            </a:pPr>
            <a:r>
              <a:rPr lang="de" sz="788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DYSGLYKÄMIE*</a:t>
            </a:r>
          </a:p>
        </p:txBody>
      </p:sp>
      <p:grpSp>
        <p:nvGrpSpPr>
          <p:cNvPr id="23654" name="Group 1901">
            <a:extLst>
              <a:ext uri="{FF2B5EF4-FFF2-40B4-BE49-F238E27FC236}">
                <a16:creationId xmlns:a16="http://schemas.microsoft.com/office/drawing/2014/main" id="{84E64C56-8BB4-2B3A-2529-D471C27CFBEE}"/>
              </a:ext>
            </a:extLst>
          </p:cNvPr>
          <p:cNvGrpSpPr>
            <a:grpSpLocks/>
          </p:cNvGrpSpPr>
          <p:nvPr/>
        </p:nvGrpSpPr>
        <p:grpSpPr bwMode="auto">
          <a:xfrm>
            <a:off x="2582466" y="2116932"/>
            <a:ext cx="784622" cy="1037035"/>
            <a:chOff x="2559939" y="2621153"/>
            <a:chExt cx="1393327" cy="1843752"/>
          </a:xfrm>
        </p:grpSpPr>
        <p:grpSp>
          <p:nvGrpSpPr>
            <p:cNvPr id="23655" name="Group 38">
              <a:extLst>
                <a:ext uri="{FF2B5EF4-FFF2-40B4-BE49-F238E27FC236}">
                  <a16:creationId xmlns:a16="http://schemas.microsoft.com/office/drawing/2014/main" id="{D09671CA-D2E7-B599-D102-DE8877506FB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566771" y="2621363"/>
              <a:ext cx="1386495" cy="1843542"/>
              <a:chOff x="2566771" y="2621363"/>
              <a:chExt cx="1386495" cy="1843542"/>
            </a:xfrm>
          </p:grpSpPr>
          <p:grpSp>
            <p:nvGrpSpPr>
              <p:cNvPr id="23656" name="Graphic 158">
                <a:extLst>
                  <a:ext uri="{FF2B5EF4-FFF2-40B4-BE49-F238E27FC236}">
                    <a16:creationId xmlns:a16="http://schemas.microsoft.com/office/drawing/2014/main" id="{8F10DA36-E1E3-B659-9DD9-F3A15D9800F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566771" y="2621363"/>
                <a:ext cx="457210" cy="435449"/>
                <a:chOff x="2566771" y="2621363"/>
                <a:chExt cx="457210" cy="435449"/>
              </a:xfrm>
            </p:grpSpPr>
            <p:sp>
              <p:nvSpPr>
                <p:cNvPr id="33905" name="Freeform 8">
                  <a:extLst>
                    <a:ext uri="{FF2B5EF4-FFF2-40B4-BE49-F238E27FC236}">
                      <a16:creationId xmlns:a16="http://schemas.microsoft.com/office/drawing/2014/main" id="{56140ADE-0BF8-A815-F6BE-6CA9BB3E2B66}"/>
                    </a:ext>
                  </a:extLst>
                </p:cNvPr>
                <p:cNvSpPr/>
                <p:nvPr/>
              </p:nvSpPr>
              <p:spPr>
                <a:xfrm>
                  <a:off x="2566281" y="2621154"/>
                  <a:ext cx="456691" cy="436065"/>
                </a:xfrm>
                <a:custGeom>
                  <a:avLst/>
                  <a:gdLst>
                    <a:gd name="connsiteX0" fmla="*/ 153872 w 457210"/>
                    <a:gd name="connsiteY0" fmla="*/ 20403 h 435449"/>
                    <a:gd name="connsiteX1" fmla="*/ 179714 w 457210"/>
                    <a:gd name="connsiteY1" fmla="*/ 4987 h 435449"/>
                    <a:gd name="connsiteX2" fmla="*/ 221139 w 457210"/>
                    <a:gd name="connsiteY2" fmla="*/ 498 h 435449"/>
                    <a:gd name="connsiteX3" fmla="*/ 355831 w 457210"/>
                    <a:gd name="connsiteY3" fmla="*/ 50778 h 435449"/>
                    <a:gd name="connsiteX4" fmla="*/ 422092 w 457210"/>
                    <a:gd name="connsiteY4" fmla="*/ 86536 h 435449"/>
                    <a:gd name="connsiteX5" fmla="*/ 449709 w 457210"/>
                    <a:gd name="connsiteY5" fmla="*/ 107971 h 435449"/>
                    <a:gd name="connsiteX6" fmla="*/ 456909 w 457210"/>
                    <a:gd name="connsiteY6" fmla="*/ 150821 h 435449"/>
                    <a:gd name="connsiteX7" fmla="*/ 450873 w 457210"/>
                    <a:gd name="connsiteY7" fmla="*/ 235071 h 435449"/>
                    <a:gd name="connsiteX8" fmla="*/ 432587 w 457210"/>
                    <a:gd name="connsiteY8" fmla="*/ 326453 h 435449"/>
                    <a:gd name="connsiteX9" fmla="*/ 374986 w 457210"/>
                    <a:gd name="connsiteY9" fmla="*/ 397314 h 435449"/>
                    <a:gd name="connsiteX10" fmla="*/ 309888 w 457210"/>
                    <a:gd name="connsiteY10" fmla="*/ 415730 h 435449"/>
                    <a:gd name="connsiteX11" fmla="*/ 230529 w 457210"/>
                    <a:gd name="connsiteY11" fmla="*/ 428801 h 435449"/>
                    <a:gd name="connsiteX12" fmla="*/ 116767 w 457210"/>
                    <a:gd name="connsiteY12" fmla="*/ 426179 h 435449"/>
                    <a:gd name="connsiteX13" fmla="*/ 46186 w 457210"/>
                    <a:gd name="connsiteY13" fmla="*/ 361953 h 435449"/>
                    <a:gd name="connsiteX14" fmla="*/ 362 w 457210"/>
                    <a:gd name="connsiteY14" fmla="*/ 251739 h 435449"/>
                    <a:gd name="connsiteX15" fmla="*/ 48257 w 457210"/>
                    <a:gd name="connsiteY15" fmla="*/ 136240 h 435449"/>
                    <a:gd name="connsiteX16" fmla="*/ 153872 w 457210"/>
                    <a:gd name="connsiteY16" fmla="*/ 20403 h 4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57210" h="435449">
                      <a:moveTo>
                        <a:pt x="153872" y="20403"/>
                      </a:moveTo>
                      <a:cubicBezTo>
                        <a:pt x="161751" y="14107"/>
                        <a:pt x="170445" y="8921"/>
                        <a:pt x="179714" y="4987"/>
                      </a:cubicBezTo>
                      <a:cubicBezTo>
                        <a:pt x="192773" y="-58"/>
                        <a:pt x="207153" y="-654"/>
                        <a:pt x="221139" y="498"/>
                      </a:cubicBezTo>
                      <a:cubicBezTo>
                        <a:pt x="269232" y="4471"/>
                        <a:pt x="313301" y="27853"/>
                        <a:pt x="355831" y="50778"/>
                      </a:cubicBezTo>
                      <a:lnTo>
                        <a:pt x="422092" y="86536"/>
                      </a:lnTo>
                      <a:cubicBezTo>
                        <a:pt x="432449" y="92118"/>
                        <a:pt x="443259" y="98098"/>
                        <a:pt x="449709" y="107971"/>
                      </a:cubicBezTo>
                      <a:cubicBezTo>
                        <a:pt x="457777" y="120268"/>
                        <a:pt x="457600" y="136101"/>
                        <a:pt x="456909" y="150821"/>
                      </a:cubicBezTo>
                      <a:cubicBezTo>
                        <a:pt x="455593" y="178951"/>
                        <a:pt x="453581" y="207035"/>
                        <a:pt x="450873" y="235071"/>
                      </a:cubicBezTo>
                      <a:cubicBezTo>
                        <a:pt x="447815" y="266082"/>
                        <a:pt x="443811" y="297390"/>
                        <a:pt x="432587" y="326453"/>
                      </a:cubicBezTo>
                      <a:cubicBezTo>
                        <a:pt x="421362" y="355517"/>
                        <a:pt x="402168" y="382435"/>
                        <a:pt x="374986" y="397314"/>
                      </a:cubicBezTo>
                      <a:cubicBezTo>
                        <a:pt x="355062" y="408220"/>
                        <a:pt x="332219" y="412054"/>
                        <a:pt x="309888" y="415730"/>
                      </a:cubicBezTo>
                      <a:lnTo>
                        <a:pt x="230529" y="428801"/>
                      </a:lnTo>
                      <a:cubicBezTo>
                        <a:pt x="192556" y="435059"/>
                        <a:pt x="152275" y="441019"/>
                        <a:pt x="116767" y="426179"/>
                      </a:cubicBezTo>
                      <a:cubicBezTo>
                        <a:pt x="87178" y="413803"/>
                        <a:pt x="64768" y="388434"/>
                        <a:pt x="46186" y="361953"/>
                      </a:cubicBezTo>
                      <a:cubicBezTo>
                        <a:pt x="23047" y="329056"/>
                        <a:pt x="3518" y="292026"/>
                        <a:pt x="362" y="251739"/>
                      </a:cubicBezTo>
                      <a:cubicBezTo>
                        <a:pt x="-3445" y="202790"/>
                        <a:pt x="23501" y="173885"/>
                        <a:pt x="48257" y="136240"/>
                      </a:cubicBezTo>
                      <a:cubicBezTo>
                        <a:pt x="77571" y="91661"/>
                        <a:pt x="110889" y="52486"/>
                        <a:pt x="153872" y="2040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11766" cap="flat">
                  <a:solidFill>
                    <a:srgbClr val="585863"/>
                  </a:solidFill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3906" name="Freeform 9">
                  <a:extLst>
                    <a:ext uri="{FF2B5EF4-FFF2-40B4-BE49-F238E27FC236}">
                      <a16:creationId xmlns:a16="http://schemas.microsoft.com/office/drawing/2014/main" id="{3A8B25A1-6890-DFAE-BBB2-168534580362}"/>
                    </a:ext>
                  </a:extLst>
                </p:cNvPr>
                <p:cNvSpPr/>
                <p:nvPr/>
              </p:nvSpPr>
              <p:spPr>
                <a:xfrm>
                  <a:off x="2703712" y="2760864"/>
                  <a:ext cx="194516" cy="218033"/>
                </a:xfrm>
                <a:custGeom>
                  <a:avLst/>
                  <a:gdLst>
                    <a:gd name="connsiteX0" fmla="*/ 195291 w 195291"/>
                    <a:gd name="connsiteY0" fmla="*/ 109261 h 218522"/>
                    <a:gd name="connsiteX1" fmla="*/ 97646 w 195291"/>
                    <a:gd name="connsiteY1" fmla="*/ 218522 h 218522"/>
                    <a:gd name="connsiteX2" fmla="*/ 0 w 195291"/>
                    <a:gd name="connsiteY2" fmla="*/ 109261 h 218522"/>
                    <a:gd name="connsiteX3" fmla="*/ 97646 w 195291"/>
                    <a:gd name="connsiteY3" fmla="*/ 0 h 218522"/>
                    <a:gd name="connsiteX4" fmla="*/ 195291 w 195291"/>
                    <a:gd name="connsiteY4" fmla="*/ 109261 h 218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5291" h="218521">
                      <a:moveTo>
                        <a:pt x="195291" y="109261"/>
                      </a:moveTo>
                      <a:cubicBezTo>
                        <a:pt x="195291" y="169604"/>
                        <a:pt x="151574" y="218522"/>
                        <a:pt x="97646" y="218522"/>
                      </a:cubicBezTo>
                      <a:cubicBezTo>
                        <a:pt x="43717" y="218522"/>
                        <a:pt x="0" y="169604"/>
                        <a:pt x="0" y="109261"/>
                      </a:cubicBezTo>
                      <a:cubicBezTo>
                        <a:pt x="0" y="48918"/>
                        <a:pt x="43717" y="0"/>
                        <a:pt x="97646" y="0"/>
                      </a:cubicBezTo>
                      <a:cubicBezTo>
                        <a:pt x="151574" y="0"/>
                        <a:pt x="195291" y="48918"/>
                        <a:pt x="195291" y="109261"/>
                      </a:cubicBezTo>
                      <a:close/>
                    </a:path>
                  </a:pathLst>
                </a:custGeom>
                <a:solidFill>
                  <a:srgbClr val="E3E7F7">
                    <a:alpha val="48000"/>
                  </a:srgbClr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3907" name="Freeform 10">
                  <a:extLst>
                    <a:ext uri="{FF2B5EF4-FFF2-40B4-BE49-F238E27FC236}">
                      <a16:creationId xmlns:a16="http://schemas.microsoft.com/office/drawing/2014/main" id="{7DAA795C-459A-05DC-68CB-91C9E7174166}"/>
                    </a:ext>
                  </a:extLst>
                </p:cNvPr>
                <p:cNvSpPr/>
                <p:nvPr/>
              </p:nvSpPr>
              <p:spPr>
                <a:xfrm>
                  <a:off x="2872856" y="2688892"/>
                  <a:ext cx="114173" cy="192631"/>
                </a:xfrm>
                <a:custGeom>
                  <a:avLst/>
                  <a:gdLst>
                    <a:gd name="connsiteX0" fmla="*/ 87033 w 112979"/>
                    <a:gd name="connsiteY0" fmla="*/ 40109 h 190888"/>
                    <a:gd name="connsiteX1" fmla="*/ 109876 w 112979"/>
                    <a:gd name="connsiteY1" fmla="*/ 58723 h 190888"/>
                    <a:gd name="connsiteX2" fmla="*/ 112598 w 112979"/>
                    <a:gd name="connsiteY2" fmla="*/ 76145 h 190888"/>
                    <a:gd name="connsiteX3" fmla="*/ 102518 w 112979"/>
                    <a:gd name="connsiteY3" fmla="*/ 190889 h 190888"/>
                    <a:gd name="connsiteX4" fmla="*/ 91866 w 112979"/>
                    <a:gd name="connsiteY4" fmla="*/ 98275 h 190888"/>
                    <a:gd name="connsiteX5" fmla="*/ 49316 w 112979"/>
                    <a:gd name="connsiteY5" fmla="*/ 47538 h 190888"/>
                    <a:gd name="connsiteX6" fmla="*/ 0 w 112979"/>
                    <a:gd name="connsiteY6" fmla="*/ 0 h 190888"/>
                    <a:gd name="connsiteX7" fmla="*/ 87033 w 112979"/>
                    <a:gd name="connsiteY7" fmla="*/ 40109 h 190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2978" h="190888">
                      <a:moveTo>
                        <a:pt x="87033" y="40109"/>
                      </a:moveTo>
                      <a:cubicBezTo>
                        <a:pt x="96048" y="44459"/>
                        <a:pt x="105733" y="49545"/>
                        <a:pt x="109876" y="58723"/>
                      </a:cubicBezTo>
                      <a:cubicBezTo>
                        <a:pt x="112302" y="64106"/>
                        <a:pt x="112480" y="70225"/>
                        <a:pt x="112598" y="76145"/>
                      </a:cubicBezTo>
                      <a:cubicBezTo>
                        <a:pt x="113387" y="114724"/>
                        <a:pt x="114058" y="154098"/>
                        <a:pt x="102518" y="190889"/>
                      </a:cubicBezTo>
                      <a:cubicBezTo>
                        <a:pt x="92655" y="161269"/>
                        <a:pt x="102518" y="127617"/>
                        <a:pt x="91866" y="98275"/>
                      </a:cubicBezTo>
                      <a:cubicBezTo>
                        <a:pt x="84054" y="76741"/>
                        <a:pt x="66616" y="61444"/>
                        <a:pt x="49316" y="47538"/>
                      </a:cubicBezTo>
                      <a:cubicBezTo>
                        <a:pt x="34146" y="35361"/>
                        <a:pt x="5918" y="19349"/>
                        <a:pt x="0" y="0"/>
                      </a:cubicBezTo>
                      <a:cubicBezTo>
                        <a:pt x="29313" y="7311"/>
                        <a:pt x="59653" y="26838"/>
                        <a:pt x="87033" y="401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</p:grpSp>
          <p:grpSp>
            <p:nvGrpSpPr>
              <p:cNvPr id="23660" name="Graphic 157">
                <a:extLst>
                  <a:ext uri="{FF2B5EF4-FFF2-40B4-BE49-F238E27FC236}">
                    <a16:creationId xmlns:a16="http://schemas.microsoft.com/office/drawing/2014/main" id="{75331CE6-91EC-8CC0-1EC7-6C4EE77789E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69081" y="2680998"/>
                <a:ext cx="457210" cy="435449"/>
                <a:chOff x="3069081" y="2680998"/>
                <a:chExt cx="457210" cy="435449"/>
              </a:xfrm>
            </p:grpSpPr>
            <p:sp>
              <p:nvSpPr>
                <p:cNvPr id="33902" name="Freeform 12">
                  <a:extLst>
                    <a:ext uri="{FF2B5EF4-FFF2-40B4-BE49-F238E27FC236}">
                      <a16:creationId xmlns:a16="http://schemas.microsoft.com/office/drawing/2014/main" id="{9777CA74-BCF9-5C9D-AD34-4833C4D5D40A}"/>
                    </a:ext>
                  </a:extLst>
                </p:cNvPr>
                <p:cNvSpPr/>
                <p:nvPr/>
              </p:nvSpPr>
              <p:spPr>
                <a:xfrm>
                  <a:off x="3069486" y="2680425"/>
                  <a:ext cx="456691" cy="436065"/>
                </a:xfrm>
                <a:custGeom>
                  <a:avLst/>
                  <a:gdLst>
                    <a:gd name="connsiteX0" fmla="*/ 153872 w 457210"/>
                    <a:gd name="connsiteY0" fmla="*/ 20403 h 435449"/>
                    <a:gd name="connsiteX1" fmla="*/ 179714 w 457210"/>
                    <a:gd name="connsiteY1" fmla="*/ 4987 h 435449"/>
                    <a:gd name="connsiteX2" fmla="*/ 221139 w 457210"/>
                    <a:gd name="connsiteY2" fmla="*/ 498 h 435449"/>
                    <a:gd name="connsiteX3" fmla="*/ 355831 w 457210"/>
                    <a:gd name="connsiteY3" fmla="*/ 50778 h 435449"/>
                    <a:gd name="connsiteX4" fmla="*/ 422092 w 457210"/>
                    <a:gd name="connsiteY4" fmla="*/ 86536 h 435449"/>
                    <a:gd name="connsiteX5" fmla="*/ 449709 w 457210"/>
                    <a:gd name="connsiteY5" fmla="*/ 107971 h 435449"/>
                    <a:gd name="connsiteX6" fmla="*/ 456909 w 457210"/>
                    <a:gd name="connsiteY6" fmla="*/ 150821 h 435449"/>
                    <a:gd name="connsiteX7" fmla="*/ 450873 w 457210"/>
                    <a:gd name="connsiteY7" fmla="*/ 235071 h 435449"/>
                    <a:gd name="connsiteX8" fmla="*/ 432587 w 457210"/>
                    <a:gd name="connsiteY8" fmla="*/ 326453 h 435449"/>
                    <a:gd name="connsiteX9" fmla="*/ 374986 w 457210"/>
                    <a:gd name="connsiteY9" fmla="*/ 397314 h 435449"/>
                    <a:gd name="connsiteX10" fmla="*/ 309888 w 457210"/>
                    <a:gd name="connsiteY10" fmla="*/ 415730 h 435449"/>
                    <a:gd name="connsiteX11" fmla="*/ 230529 w 457210"/>
                    <a:gd name="connsiteY11" fmla="*/ 428801 h 435449"/>
                    <a:gd name="connsiteX12" fmla="*/ 116767 w 457210"/>
                    <a:gd name="connsiteY12" fmla="*/ 426179 h 435449"/>
                    <a:gd name="connsiteX13" fmla="*/ 46186 w 457210"/>
                    <a:gd name="connsiteY13" fmla="*/ 361953 h 435449"/>
                    <a:gd name="connsiteX14" fmla="*/ 362 w 457210"/>
                    <a:gd name="connsiteY14" fmla="*/ 251739 h 435449"/>
                    <a:gd name="connsiteX15" fmla="*/ 48257 w 457210"/>
                    <a:gd name="connsiteY15" fmla="*/ 136240 h 435449"/>
                    <a:gd name="connsiteX16" fmla="*/ 153872 w 457210"/>
                    <a:gd name="connsiteY16" fmla="*/ 20403 h 4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57210" h="435449">
                      <a:moveTo>
                        <a:pt x="153872" y="20403"/>
                      </a:moveTo>
                      <a:cubicBezTo>
                        <a:pt x="161751" y="14107"/>
                        <a:pt x="170445" y="8921"/>
                        <a:pt x="179714" y="4987"/>
                      </a:cubicBezTo>
                      <a:cubicBezTo>
                        <a:pt x="192773" y="-58"/>
                        <a:pt x="207153" y="-654"/>
                        <a:pt x="221139" y="498"/>
                      </a:cubicBezTo>
                      <a:cubicBezTo>
                        <a:pt x="269232" y="4471"/>
                        <a:pt x="313301" y="27853"/>
                        <a:pt x="355831" y="50778"/>
                      </a:cubicBezTo>
                      <a:lnTo>
                        <a:pt x="422092" y="86536"/>
                      </a:lnTo>
                      <a:cubicBezTo>
                        <a:pt x="432449" y="92118"/>
                        <a:pt x="443259" y="98098"/>
                        <a:pt x="449709" y="107971"/>
                      </a:cubicBezTo>
                      <a:cubicBezTo>
                        <a:pt x="457777" y="120268"/>
                        <a:pt x="457600" y="136101"/>
                        <a:pt x="456909" y="150821"/>
                      </a:cubicBezTo>
                      <a:cubicBezTo>
                        <a:pt x="455593" y="178951"/>
                        <a:pt x="453581" y="207035"/>
                        <a:pt x="450873" y="235071"/>
                      </a:cubicBezTo>
                      <a:cubicBezTo>
                        <a:pt x="447815" y="266082"/>
                        <a:pt x="443811" y="297390"/>
                        <a:pt x="432587" y="326453"/>
                      </a:cubicBezTo>
                      <a:cubicBezTo>
                        <a:pt x="421362" y="355517"/>
                        <a:pt x="402168" y="382435"/>
                        <a:pt x="374986" y="397314"/>
                      </a:cubicBezTo>
                      <a:cubicBezTo>
                        <a:pt x="355062" y="408220"/>
                        <a:pt x="332219" y="412054"/>
                        <a:pt x="309888" y="415730"/>
                      </a:cubicBezTo>
                      <a:lnTo>
                        <a:pt x="230529" y="428801"/>
                      </a:lnTo>
                      <a:cubicBezTo>
                        <a:pt x="192556" y="435059"/>
                        <a:pt x="152275" y="441019"/>
                        <a:pt x="116767" y="426179"/>
                      </a:cubicBezTo>
                      <a:cubicBezTo>
                        <a:pt x="87178" y="413803"/>
                        <a:pt x="64768" y="388434"/>
                        <a:pt x="46186" y="361953"/>
                      </a:cubicBezTo>
                      <a:cubicBezTo>
                        <a:pt x="23047" y="329056"/>
                        <a:pt x="3518" y="292026"/>
                        <a:pt x="362" y="251739"/>
                      </a:cubicBezTo>
                      <a:cubicBezTo>
                        <a:pt x="-3445" y="202790"/>
                        <a:pt x="23501" y="173885"/>
                        <a:pt x="48257" y="136240"/>
                      </a:cubicBezTo>
                      <a:cubicBezTo>
                        <a:pt x="77571" y="91661"/>
                        <a:pt x="110889" y="52486"/>
                        <a:pt x="153872" y="2040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11766" cap="flat">
                  <a:solidFill>
                    <a:srgbClr val="585863"/>
                  </a:solidFill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3903" name="Freeform 13">
                  <a:extLst>
                    <a:ext uri="{FF2B5EF4-FFF2-40B4-BE49-F238E27FC236}">
                      <a16:creationId xmlns:a16="http://schemas.microsoft.com/office/drawing/2014/main" id="{602A3561-3F25-1441-35D7-6B6B393859EA}"/>
                    </a:ext>
                  </a:extLst>
                </p:cNvPr>
                <p:cNvSpPr/>
                <p:nvPr/>
              </p:nvSpPr>
              <p:spPr>
                <a:xfrm>
                  <a:off x="3206917" y="2820135"/>
                  <a:ext cx="194516" cy="218033"/>
                </a:xfrm>
                <a:custGeom>
                  <a:avLst/>
                  <a:gdLst>
                    <a:gd name="connsiteX0" fmla="*/ 195291 w 195291"/>
                    <a:gd name="connsiteY0" fmla="*/ 109261 h 218522"/>
                    <a:gd name="connsiteX1" fmla="*/ 97646 w 195291"/>
                    <a:gd name="connsiteY1" fmla="*/ 218522 h 218522"/>
                    <a:gd name="connsiteX2" fmla="*/ 0 w 195291"/>
                    <a:gd name="connsiteY2" fmla="*/ 109261 h 218522"/>
                    <a:gd name="connsiteX3" fmla="*/ 97646 w 195291"/>
                    <a:gd name="connsiteY3" fmla="*/ 0 h 218522"/>
                    <a:gd name="connsiteX4" fmla="*/ 195291 w 195291"/>
                    <a:gd name="connsiteY4" fmla="*/ 109261 h 218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5291" h="218521">
                      <a:moveTo>
                        <a:pt x="195291" y="109261"/>
                      </a:moveTo>
                      <a:cubicBezTo>
                        <a:pt x="195291" y="169604"/>
                        <a:pt x="151574" y="218522"/>
                        <a:pt x="97646" y="218522"/>
                      </a:cubicBezTo>
                      <a:cubicBezTo>
                        <a:pt x="43717" y="218522"/>
                        <a:pt x="0" y="169604"/>
                        <a:pt x="0" y="109261"/>
                      </a:cubicBezTo>
                      <a:cubicBezTo>
                        <a:pt x="0" y="48918"/>
                        <a:pt x="43717" y="0"/>
                        <a:pt x="97646" y="0"/>
                      </a:cubicBezTo>
                      <a:cubicBezTo>
                        <a:pt x="151574" y="0"/>
                        <a:pt x="195291" y="48918"/>
                        <a:pt x="195291" y="109261"/>
                      </a:cubicBezTo>
                      <a:close/>
                    </a:path>
                  </a:pathLst>
                </a:custGeom>
                <a:solidFill>
                  <a:srgbClr val="E3E7F7">
                    <a:alpha val="48000"/>
                  </a:srgbClr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3904" name="Freeform 14">
                  <a:extLst>
                    <a:ext uri="{FF2B5EF4-FFF2-40B4-BE49-F238E27FC236}">
                      <a16:creationId xmlns:a16="http://schemas.microsoft.com/office/drawing/2014/main" id="{2C03FB02-9D67-CFAE-8B9E-E360B1919106}"/>
                    </a:ext>
                  </a:extLst>
                </p:cNvPr>
                <p:cNvSpPr/>
                <p:nvPr/>
              </p:nvSpPr>
              <p:spPr>
                <a:xfrm>
                  <a:off x="3376061" y="2748163"/>
                  <a:ext cx="114173" cy="192631"/>
                </a:xfrm>
                <a:custGeom>
                  <a:avLst/>
                  <a:gdLst>
                    <a:gd name="connsiteX0" fmla="*/ 87033 w 112979"/>
                    <a:gd name="connsiteY0" fmla="*/ 40109 h 190888"/>
                    <a:gd name="connsiteX1" fmla="*/ 109876 w 112979"/>
                    <a:gd name="connsiteY1" fmla="*/ 58723 h 190888"/>
                    <a:gd name="connsiteX2" fmla="*/ 112598 w 112979"/>
                    <a:gd name="connsiteY2" fmla="*/ 76145 h 190888"/>
                    <a:gd name="connsiteX3" fmla="*/ 102518 w 112979"/>
                    <a:gd name="connsiteY3" fmla="*/ 190889 h 190888"/>
                    <a:gd name="connsiteX4" fmla="*/ 91866 w 112979"/>
                    <a:gd name="connsiteY4" fmla="*/ 98275 h 190888"/>
                    <a:gd name="connsiteX5" fmla="*/ 49316 w 112979"/>
                    <a:gd name="connsiteY5" fmla="*/ 47538 h 190888"/>
                    <a:gd name="connsiteX6" fmla="*/ 0 w 112979"/>
                    <a:gd name="connsiteY6" fmla="*/ 0 h 190888"/>
                    <a:gd name="connsiteX7" fmla="*/ 87033 w 112979"/>
                    <a:gd name="connsiteY7" fmla="*/ 40109 h 190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2978" h="190888">
                      <a:moveTo>
                        <a:pt x="87033" y="40109"/>
                      </a:moveTo>
                      <a:cubicBezTo>
                        <a:pt x="96048" y="44459"/>
                        <a:pt x="105733" y="49545"/>
                        <a:pt x="109876" y="58723"/>
                      </a:cubicBezTo>
                      <a:cubicBezTo>
                        <a:pt x="112302" y="64106"/>
                        <a:pt x="112480" y="70225"/>
                        <a:pt x="112598" y="76145"/>
                      </a:cubicBezTo>
                      <a:cubicBezTo>
                        <a:pt x="113387" y="114724"/>
                        <a:pt x="114058" y="154098"/>
                        <a:pt x="102518" y="190889"/>
                      </a:cubicBezTo>
                      <a:cubicBezTo>
                        <a:pt x="92655" y="161269"/>
                        <a:pt x="102518" y="127617"/>
                        <a:pt x="91866" y="98275"/>
                      </a:cubicBezTo>
                      <a:cubicBezTo>
                        <a:pt x="84054" y="76741"/>
                        <a:pt x="66616" y="61444"/>
                        <a:pt x="49316" y="47538"/>
                      </a:cubicBezTo>
                      <a:cubicBezTo>
                        <a:pt x="34146" y="35361"/>
                        <a:pt x="5918" y="19349"/>
                        <a:pt x="0" y="0"/>
                      </a:cubicBezTo>
                      <a:cubicBezTo>
                        <a:pt x="29313" y="7311"/>
                        <a:pt x="59653" y="26838"/>
                        <a:pt x="87033" y="401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</p:grpSp>
          <p:grpSp>
            <p:nvGrpSpPr>
              <p:cNvPr id="23664" name="Graphic 590">
                <a:extLst>
                  <a:ext uri="{FF2B5EF4-FFF2-40B4-BE49-F238E27FC236}">
                    <a16:creationId xmlns:a16="http://schemas.microsoft.com/office/drawing/2014/main" id="{5D240E48-5390-E906-9693-D2802C4F030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665023" y="3077884"/>
                <a:ext cx="1288243" cy="1387021"/>
                <a:chOff x="2665023" y="3077884"/>
                <a:chExt cx="1288243" cy="1387021"/>
              </a:xfrm>
            </p:grpSpPr>
            <p:sp>
              <p:nvSpPr>
                <p:cNvPr id="33893" name="Freeform 16">
                  <a:extLst>
                    <a:ext uri="{FF2B5EF4-FFF2-40B4-BE49-F238E27FC236}">
                      <a16:creationId xmlns:a16="http://schemas.microsoft.com/office/drawing/2014/main" id="{8E0DFD70-55C5-49C4-4D9F-70E3A7E10049}"/>
                    </a:ext>
                  </a:extLst>
                </p:cNvPr>
                <p:cNvSpPr/>
                <p:nvPr/>
              </p:nvSpPr>
              <p:spPr>
                <a:xfrm>
                  <a:off x="2659311" y="3078387"/>
                  <a:ext cx="471491" cy="448766"/>
                </a:xfrm>
                <a:custGeom>
                  <a:avLst/>
                  <a:gdLst>
                    <a:gd name="connsiteX0" fmla="*/ 153872 w 457210"/>
                    <a:gd name="connsiteY0" fmla="*/ 20403 h 435449"/>
                    <a:gd name="connsiteX1" fmla="*/ 179714 w 457210"/>
                    <a:gd name="connsiteY1" fmla="*/ 4987 h 435449"/>
                    <a:gd name="connsiteX2" fmla="*/ 221139 w 457210"/>
                    <a:gd name="connsiteY2" fmla="*/ 498 h 435449"/>
                    <a:gd name="connsiteX3" fmla="*/ 355831 w 457210"/>
                    <a:gd name="connsiteY3" fmla="*/ 50778 h 435449"/>
                    <a:gd name="connsiteX4" fmla="*/ 422092 w 457210"/>
                    <a:gd name="connsiteY4" fmla="*/ 86536 h 435449"/>
                    <a:gd name="connsiteX5" fmla="*/ 449709 w 457210"/>
                    <a:gd name="connsiteY5" fmla="*/ 107971 h 435449"/>
                    <a:gd name="connsiteX6" fmla="*/ 456909 w 457210"/>
                    <a:gd name="connsiteY6" fmla="*/ 150821 h 435449"/>
                    <a:gd name="connsiteX7" fmla="*/ 450873 w 457210"/>
                    <a:gd name="connsiteY7" fmla="*/ 235071 h 435449"/>
                    <a:gd name="connsiteX8" fmla="*/ 432587 w 457210"/>
                    <a:gd name="connsiteY8" fmla="*/ 326453 h 435449"/>
                    <a:gd name="connsiteX9" fmla="*/ 374986 w 457210"/>
                    <a:gd name="connsiteY9" fmla="*/ 397314 h 435449"/>
                    <a:gd name="connsiteX10" fmla="*/ 309888 w 457210"/>
                    <a:gd name="connsiteY10" fmla="*/ 415730 h 435449"/>
                    <a:gd name="connsiteX11" fmla="*/ 230529 w 457210"/>
                    <a:gd name="connsiteY11" fmla="*/ 428801 h 435449"/>
                    <a:gd name="connsiteX12" fmla="*/ 116767 w 457210"/>
                    <a:gd name="connsiteY12" fmla="*/ 426179 h 435449"/>
                    <a:gd name="connsiteX13" fmla="*/ 46186 w 457210"/>
                    <a:gd name="connsiteY13" fmla="*/ 361953 h 435449"/>
                    <a:gd name="connsiteX14" fmla="*/ 362 w 457210"/>
                    <a:gd name="connsiteY14" fmla="*/ 251739 h 435449"/>
                    <a:gd name="connsiteX15" fmla="*/ 48257 w 457210"/>
                    <a:gd name="connsiteY15" fmla="*/ 136240 h 435449"/>
                    <a:gd name="connsiteX16" fmla="*/ 153872 w 457210"/>
                    <a:gd name="connsiteY16" fmla="*/ 20403 h 4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57210" h="435449">
                      <a:moveTo>
                        <a:pt x="153872" y="20403"/>
                      </a:moveTo>
                      <a:cubicBezTo>
                        <a:pt x="161751" y="14107"/>
                        <a:pt x="170445" y="8921"/>
                        <a:pt x="179714" y="4987"/>
                      </a:cubicBezTo>
                      <a:cubicBezTo>
                        <a:pt x="192773" y="-58"/>
                        <a:pt x="207153" y="-654"/>
                        <a:pt x="221139" y="498"/>
                      </a:cubicBezTo>
                      <a:cubicBezTo>
                        <a:pt x="269232" y="4471"/>
                        <a:pt x="313301" y="27853"/>
                        <a:pt x="355831" y="50778"/>
                      </a:cubicBezTo>
                      <a:lnTo>
                        <a:pt x="422092" y="86536"/>
                      </a:lnTo>
                      <a:cubicBezTo>
                        <a:pt x="432449" y="92118"/>
                        <a:pt x="443259" y="98098"/>
                        <a:pt x="449709" y="107971"/>
                      </a:cubicBezTo>
                      <a:cubicBezTo>
                        <a:pt x="457777" y="120268"/>
                        <a:pt x="457600" y="136101"/>
                        <a:pt x="456909" y="150821"/>
                      </a:cubicBezTo>
                      <a:cubicBezTo>
                        <a:pt x="455593" y="178951"/>
                        <a:pt x="453581" y="207035"/>
                        <a:pt x="450873" y="235071"/>
                      </a:cubicBezTo>
                      <a:cubicBezTo>
                        <a:pt x="447815" y="266082"/>
                        <a:pt x="443811" y="297390"/>
                        <a:pt x="432587" y="326453"/>
                      </a:cubicBezTo>
                      <a:cubicBezTo>
                        <a:pt x="421362" y="355517"/>
                        <a:pt x="402168" y="382435"/>
                        <a:pt x="374986" y="397314"/>
                      </a:cubicBezTo>
                      <a:cubicBezTo>
                        <a:pt x="355062" y="408220"/>
                        <a:pt x="332219" y="412054"/>
                        <a:pt x="309888" y="415730"/>
                      </a:cubicBezTo>
                      <a:lnTo>
                        <a:pt x="230529" y="428801"/>
                      </a:lnTo>
                      <a:cubicBezTo>
                        <a:pt x="192556" y="435059"/>
                        <a:pt x="152275" y="441019"/>
                        <a:pt x="116767" y="426179"/>
                      </a:cubicBezTo>
                      <a:cubicBezTo>
                        <a:pt x="87178" y="413803"/>
                        <a:pt x="64768" y="388434"/>
                        <a:pt x="46186" y="361953"/>
                      </a:cubicBezTo>
                      <a:cubicBezTo>
                        <a:pt x="23047" y="329056"/>
                        <a:pt x="3518" y="292026"/>
                        <a:pt x="362" y="251739"/>
                      </a:cubicBezTo>
                      <a:cubicBezTo>
                        <a:pt x="-3445" y="202790"/>
                        <a:pt x="23501" y="173885"/>
                        <a:pt x="48257" y="136240"/>
                      </a:cubicBezTo>
                      <a:cubicBezTo>
                        <a:pt x="77571" y="91661"/>
                        <a:pt x="110889" y="52486"/>
                        <a:pt x="153872" y="2040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11766" cap="flat">
                  <a:solidFill>
                    <a:srgbClr val="585863"/>
                  </a:solidFill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3894" name="Freeform 17">
                  <a:extLst>
                    <a:ext uri="{FF2B5EF4-FFF2-40B4-BE49-F238E27FC236}">
                      <a16:creationId xmlns:a16="http://schemas.microsoft.com/office/drawing/2014/main" id="{6D600EE1-5356-7AD0-F6A4-B6643CD17A90}"/>
                    </a:ext>
                  </a:extLst>
                </p:cNvPr>
                <p:cNvSpPr/>
                <p:nvPr/>
              </p:nvSpPr>
              <p:spPr>
                <a:xfrm>
                  <a:off x="2803084" y="3230798"/>
                  <a:ext cx="196631" cy="218033"/>
                </a:xfrm>
                <a:custGeom>
                  <a:avLst/>
                  <a:gdLst>
                    <a:gd name="connsiteX0" fmla="*/ 195291 w 195291"/>
                    <a:gd name="connsiteY0" fmla="*/ 109261 h 218522"/>
                    <a:gd name="connsiteX1" fmla="*/ 97646 w 195291"/>
                    <a:gd name="connsiteY1" fmla="*/ 218522 h 218522"/>
                    <a:gd name="connsiteX2" fmla="*/ 0 w 195291"/>
                    <a:gd name="connsiteY2" fmla="*/ 109261 h 218522"/>
                    <a:gd name="connsiteX3" fmla="*/ 97646 w 195291"/>
                    <a:gd name="connsiteY3" fmla="*/ 0 h 218522"/>
                    <a:gd name="connsiteX4" fmla="*/ 195291 w 195291"/>
                    <a:gd name="connsiteY4" fmla="*/ 109261 h 218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5291" h="218521">
                      <a:moveTo>
                        <a:pt x="195291" y="109261"/>
                      </a:moveTo>
                      <a:cubicBezTo>
                        <a:pt x="195291" y="169604"/>
                        <a:pt x="151574" y="218522"/>
                        <a:pt x="97646" y="218522"/>
                      </a:cubicBezTo>
                      <a:cubicBezTo>
                        <a:pt x="43717" y="218522"/>
                        <a:pt x="0" y="169604"/>
                        <a:pt x="0" y="109261"/>
                      </a:cubicBezTo>
                      <a:cubicBezTo>
                        <a:pt x="0" y="48918"/>
                        <a:pt x="43717" y="0"/>
                        <a:pt x="97646" y="0"/>
                      </a:cubicBezTo>
                      <a:cubicBezTo>
                        <a:pt x="151574" y="0"/>
                        <a:pt x="195291" y="48918"/>
                        <a:pt x="195291" y="109261"/>
                      </a:cubicBezTo>
                      <a:close/>
                    </a:path>
                  </a:pathLst>
                </a:custGeom>
                <a:solidFill>
                  <a:srgbClr val="E3E7F7">
                    <a:alpha val="48000"/>
                  </a:srgbClr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3895" name="Freeform 18">
                  <a:extLst>
                    <a:ext uri="{FF2B5EF4-FFF2-40B4-BE49-F238E27FC236}">
                      <a16:creationId xmlns:a16="http://schemas.microsoft.com/office/drawing/2014/main" id="{342F1337-960A-AFDD-9694-30FC4E91E219}"/>
                    </a:ext>
                  </a:extLst>
                </p:cNvPr>
                <p:cNvSpPr/>
                <p:nvPr/>
              </p:nvSpPr>
              <p:spPr>
                <a:xfrm>
                  <a:off x="2974343" y="3158826"/>
                  <a:ext cx="116286" cy="190514"/>
                </a:xfrm>
                <a:custGeom>
                  <a:avLst/>
                  <a:gdLst>
                    <a:gd name="connsiteX0" fmla="*/ 87033 w 112979"/>
                    <a:gd name="connsiteY0" fmla="*/ 40109 h 190888"/>
                    <a:gd name="connsiteX1" fmla="*/ 109876 w 112979"/>
                    <a:gd name="connsiteY1" fmla="*/ 58723 h 190888"/>
                    <a:gd name="connsiteX2" fmla="*/ 112598 w 112979"/>
                    <a:gd name="connsiteY2" fmla="*/ 76145 h 190888"/>
                    <a:gd name="connsiteX3" fmla="*/ 102518 w 112979"/>
                    <a:gd name="connsiteY3" fmla="*/ 190889 h 190888"/>
                    <a:gd name="connsiteX4" fmla="*/ 91866 w 112979"/>
                    <a:gd name="connsiteY4" fmla="*/ 98275 h 190888"/>
                    <a:gd name="connsiteX5" fmla="*/ 49316 w 112979"/>
                    <a:gd name="connsiteY5" fmla="*/ 47538 h 190888"/>
                    <a:gd name="connsiteX6" fmla="*/ 0 w 112979"/>
                    <a:gd name="connsiteY6" fmla="*/ 0 h 190888"/>
                    <a:gd name="connsiteX7" fmla="*/ 87033 w 112979"/>
                    <a:gd name="connsiteY7" fmla="*/ 40109 h 190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2978" h="190888">
                      <a:moveTo>
                        <a:pt x="87033" y="40109"/>
                      </a:moveTo>
                      <a:cubicBezTo>
                        <a:pt x="96048" y="44459"/>
                        <a:pt x="105733" y="49545"/>
                        <a:pt x="109876" y="58723"/>
                      </a:cubicBezTo>
                      <a:cubicBezTo>
                        <a:pt x="112302" y="64106"/>
                        <a:pt x="112480" y="70225"/>
                        <a:pt x="112598" y="76145"/>
                      </a:cubicBezTo>
                      <a:cubicBezTo>
                        <a:pt x="113387" y="114724"/>
                        <a:pt x="114058" y="154098"/>
                        <a:pt x="102518" y="190889"/>
                      </a:cubicBezTo>
                      <a:cubicBezTo>
                        <a:pt x="92655" y="161269"/>
                        <a:pt x="102518" y="127617"/>
                        <a:pt x="91866" y="98275"/>
                      </a:cubicBezTo>
                      <a:cubicBezTo>
                        <a:pt x="84054" y="76741"/>
                        <a:pt x="66616" y="61444"/>
                        <a:pt x="49316" y="47538"/>
                      </a:cubicBezTo>
                      <a:cubicBezTo>
                        <a:pt x="34146" y="35361"/>
                        <a:pt x="5918" y="19349"/>
                        <a:pt x="0" y="0"/>
                      </a:cubicBezTo>
                      <a:cubicBezTo>
                        <a:pt x="29313" y="7311"/>
                        <a:pt x="59653" y="26838"/>
                        <a:pt x="87033" y="401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3896" name="Freeform 192">
                  <a:extLst>
                    <a:ext uri="{FF2B5EF4-FFF2-40B4-BE49-F238E27FC236}">
                      <a16:creationId xmlns:a16="http://schemas.microsoft.com/office/drawing/2014/main" id="{70E1AAC0-CCA9-7500-6492-3A305DFA7808}"/>
                    </a:ext>
                  </a:extLst>
                </p:cNvPr>
                <p:cNvSpPr/>
                <p:nvPr/>
              </p:nvSpPr>
              <p:spPr>
                <a:xfrm>
                  <a:off x="3266117" y="3613943"/>
                  <a:ext cx="458804" cy="433948"/>
                </a:xfrm>
                <a:custGeom>
                  <a:avLst/>
                  <a:gdLst>
                    <a:gd name="connsiteX0" fmla="*/ 153872 w 457210"/>
                    <a:gd name="connsiteY0" fmla="*/ 20403 h 435449"/>
                    <a:gd name="connsiteX1" fmla="*/ 179714 w 457210"/>
                    <a:gd name="connsiteY1" fmla="*/ 4987 h 435449"/>
                    <a:gd name="connsiteX2" fmla="*/ 221139 w 457210"/>
                    <a:gd name="connsiteY2" fmla="*/ 498 h 435449"/>
                    <a:gd name="connsiteX3" fmla="*/ 355831 w 457210"/>
                    <a:gd name="connsiteY3" fmla="*/ 50778 h 435449"/>
                    <a:gd name="connsiteX4" fmla="*/ 422092 w 457210"/>
                    <a:gd name="connsiteY4" fmla="*/ 86536 h 435449"/>
                    <a:gd name="connsiteX5" fmla="*/ 449709 w 457210"/>
                    <a:gd name="connsiteY5" fmla="*/ 107971 h 435449"/>
                    <a:gd name="connsiteX6" fmla="*/ 456909 w 457210"/>
                    <a:gd name="connsiteY6" fmla="*/ 150821 h 435449"/>
                    <a:gd name="connsiteX7" fmla="*/ 450873 w 457210"/>
                    <a:gd name="connsiteY7" fmla="*/ 235071 h 435449"/>
                    <a:gd name="connsiteX8" fmla="*/ 432587 w 457210"/>
                    <a:gd name="connsiteY8" fmla="*/ 326453 h 435449"/>
                    <a:gd name="connsiteX9" fmla="*/ 374986 w 457210"/>
                    <a:gd name="connsiteY9" fmla="*/ 397314 h 435449"/>
                    <a:gd name="connsiteX10" fmla="*/ 309888 w 457210"/>
                    <a:gd name="connsiteY10" fmla="*/ 415730 h 435449"/>
                    <a:gd name="connsiteX11" fmla="*/ 230529 w 457210"/>
                    <a:gd name="connsiteY11" fmla="*/ 428801 h 435449"/>
                    <a:gd name="connsiteX12" fmla="*/ 116767 w 457210"/>
                    <a:gd name="connsiteY12" fmla="*/ 426179 h 435449"/>
                    <a:gd name="connsiteX13" fmla="*/ 46186 w 457210"/>
                    <a:gd name="connsiteY13" fmla="*/ 361953 h 435449"/>
                    <a:gd name="connsiteX14" fmla="*/ 362 w 457210"/>
                    <a:gd name="connsiteY14" fmla="*/ 251739 h 435449"/>
                    <a:gd name="connsiteX15" fmla="*/ 48257 w 457210"/>
                    <a:gd name="connsiteY15" fmla="*/ 136240 h 435449"/>
                    <a:gd name="connsiteX16" fmla="*/ 153872 w 457210"/>
                    <a:gd name="connsiteY16" fmla="*/ 20403 h 4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57210" h="435449">
                      <a:moveTo>
                        <a:pt x="153872" y="20403"/>
                      </a:moveTo>
                      <a:cubicBezTo>
                        <a:pt x="161751" y="14107"/>
                        <a:pt x="170445" y="8921"/>
                        <a:pt x="179714" y="4987"/>
                      </a:cubicBezTo>
                      <a:cubicBezTo>
                        <a:pt x="192773" y="-58"/>
                        <a:pt x="207153" y="-654"/>
                        <a:pt x="221139" y="498"/>
                      </a:cubicBezTo>
                      <a:cubicBezTo>
                        <a:pt x="269232" y="4471"/>
                        <a:pt x="313301" y="27853"/>
                        <a:pt x="355831" y="50778"/>
                      </a:cubicBezTo>
                      <a:lnTo>
                        <a:pt x="422092" y="86536"/>
                      </a:lnTo>
                      <a:cubicBezTo>
                        <a:pt x="432449" y="92118"/>
                        <a:pt x="443259" y="98098"/>
                        <a:pt x="449709" y="107971"/>
                      </a:cubicBezTo>
                      <a:cubicBezTo>
                        <a:pt x="457777" y="120268"/>
                        <a:pt x="457600" y="136101"/>
                        <a:pt x="456909" y="150821"/>
                      </a:cubicBezTo>
                      <a:cubicBezTo>
                        <a:pt x="455593" y="178951"/>
                        <a:pt x="453581" y="207035"/>
                        <a:pt x="450873" y="235071"/>
                      </a:cubicBezTo>
                      <a:cubicBezTo>
                        <a:pt x="447815" y="266082"/>
                        <a:pt x="443811" y="297390"/>
                        <a:pt x="432587" y="326453"/>
                      </a:cubicBezTo>
                      <a:cubicBezTo>
                        <a:pt x="421362" y="355517"/>
                        <a:pt x="402168" y="382435"/>
                        <a:pt x="374986" y="397314"/>
                      </a:cubicBezTo>
                      <a:cubicBezTo>
                        <a:pt x="355062" y="408220"/>
                        <a:pt x="332219" y="412054"/>
                        <a:pt x="309888" y="415730"/>
                      </a:cubicBezTo>
                      <a:lnTo>
                        <a:pt x="230529" y="428801"/>
                      </a:lnTo>
                      <a:cubicBezTo>
                        <a:pt x="192556" y="435059"/>
                        <a:pt x="152275" y="441019"/>
                        <a:pt x="116767" y="426179"/>
                      </a:cubicBezTo>
                      <a:cubicBezTo>
                        <a:pt x="87178" y="413803"/>
                        <a:pt x="64768" y="388434"/>
                        <a:pt x="46186" y="361953"/>
                      </a:cubicBezTo>
                      <a:cubicBezTo>
                        <a:pt x="23047" y="329056"/>
                        <a:pt x="3518" y="292026"/>
                        <a:pt x="362" y="251739"/>
                      </a:cubicBezTo>
                      <a:cubicBezTo>
                        <a:pt x="-3445" y="202790"/>
                        <a:pt x="23501" y="173885"/>
                        <a:pt x="48257" y="136240"/>
                      </a:cubicBezTo>
                      <a:cubicBezTo>
                        <a:pt x="77571" y="91661"/>
                        <a:pt x="110889" y="52486"/>
                        <a:pt x="153872" y="2040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11766" cap="flat">
                  <a:solidFill>
                    <a:srgbClr val="585863"/>
                  </a:solidFill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3897" name="Freeform 193">
                  <a:extLst>
                    <a:ext uri="{FF2B5EF4-FFF2-40B4-BE49-F238E27FC236}">
                      <a16:creationId xmlns:a16="http://schemas.microsoft.com/office/drawing/2014/main" id="{5C2DA71E-0FD3-52BC-044F-ADECF1CEFA54}"/>
                    </a:ext>
                  </a:extLst>
                </p:cNvPr>
                <p:cNvSpPr/>
                <p:nvPr/>
              </p:nvSpPr>
              <p:spPr>
                <a:xfrm>
                  <a:off x="3403546" y="3751536"/>
                  <a:ext cx="196631" cy="220149"/>
                </a:xfrm>
                <a:custGeom>
                  <a:avLst/>
                  <a:gdLst>
                    <a:gd name="connsiteX0" fmla="*/ 195291 w 195291"/>
                    <a:gd name="connsiteY0" fmla="*/ 109261 h 218522"/>
                    <a:gd name="connsiteX1" fmla="*/ 97646 w 195291"/>
                    <a:gd name="connsiteY1" fmla="*/ 218522 h 218522"/>
                    <a:gd name="connsiteX2" fmla="*/ 0 w 195291"/>
                    <a:gd name="connsiteY2" fmla="*/ 109261 h 218522"/>
                    <a:gd name="connsiteX3" fmla="*/ 97646 w 195291"/>
                    <a:gd name="connsiteY3" fmla="*/ 0 h 218522"/>
                    <a:gd name="connsiteX4" fmla="*/ 195291 w 195291"/>
                    <a:gd name="connsiteY4" fmla="*/ 109261 h 218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5291" h="218521">
                      <a:moveTo>
                        <a:pt x="195291" y="109261"/>
                      </a:moveTo>
                      <a:cubicBezTo>
                        <a:pt x="195291" y="169604"/>
                        <a:pt x="151574" y="218522"/>
                        <a:pt x="97646" y="218522"/>
                      </a:cubicBezTo>
                      <a:cubicBezTo>
                        <a:pt x="43717" y="218522"/>
                        <a:pt x="0" y="169604"/>
                        <a:pt x="0" y="109261"/>
                      </a:cubicBezTo>
                      <a:cubicBezTo>
                        <a:pt x="0" y="48918"/>
                        <a:pt x="43717" y="0"/>
                        <a:pt x="97646" y="0"/>
                      </a:cubicBezTo>
                      <a:cubicBezTo>
                        <a:pt x="151574" y="0"/>
                        <a:pt x="195291" y="48918"/>
                        <a:pt x="195291" y="109261"/>
                      </a:cubicBezTo>
                      <a:close/>
                    </a:path>
                  </a:pathLst>
                </a:custGeom>
                <a:solidFill>
                  <a:srgbClr val="E3E7F7">
                    <a:alpha val="48000"/>
                  </a:srgbClr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3898" name="Freeform 194">
                  <a:extLst>
                    <a:ext uri="{FF2B5EF4-FFF2-40B4-BE49-F238E27FC236}">
                      <a16:creationId xmlns:a16="http://schemas.microsoft.com/office/drawing/2014/main" id="{6F2A0209-1F90-80C4-C8F4-A3D6961FBCD8}"/>
                    </a:ext>
                  </a:extLst>
                </p:cNvPr>
                <p:cNvSpPr/>
                <p:nvPr/>
              </p:nvSpPr>
              <p:spPr>
                <a:xfrm>
                  <a:off x="3574806" y="3681681"/>
                  <a:ext cx="112058" cy="190514"/>
                </a:xfrm>
                <a:custGeom>
                  <a:avLst/>
                  <a:gdLst>
                    <a:gd name="connsiteX0" fmla="*/ 87033 w 112979"/>
                    <a:gd name="connsiteY0" fmla="*/ 40109 h 190888"/>
                    <a:gd name="connsiteX1" fmla="*/ 109876 w 112979"/>
                    <a:gd name="connsiteY1" fmla="*/ 58723 h 190888"/>
                    <a:gd name="connsiteX2" fmla="*/ 112598 w 112979"/>
                    <a:gd name="connsiteY2" fmla="*/ 76145 h 190888"/>
                    <a:gd name="connsiteX3" fmla="*/ 102518 w 112979"/>
                    <a:gd name="connsiteY3" fmla="*/ 190889 h 190888"/>
                    <a:gd name="connsiteX4" fmla="*/ 91866 w 112979"/>
                    <a:gd name="connsiteY4" fmla="*/ 98275 h 190888"/>
                    <a:gd name="connsiteX5" fmla="*/ 49316 w 112979"/>
                    <a:gd name="connsiteY5" fmla="*/ 47538 h 190888"/>
                    <a:gd name="connsiteX6" fmla="*/ 0 w 112979"/>
                    <a:gd name="connsiteY6" fmla="*/ 0 h 190888"/>
                    <a:gd name="connsiteX7" fmla="*/ 87033 w 112979"/>
                    <a:gd name="connsiteY7" fmla="*/ 40109 h 190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2978" h="190888">
                      <a:moveTo>
                        <a:pt x="87033" y="40109"/>
                      </a:moveTo>
                      <a:cubicBezTo>
                        <a:pt x="96048" y="44459"/>
                        <a:pt x="105733" y="49545"/>
                        <a:pt x="109876" y="58723"/>
                      </a:cubicBezTo>
                      <a:cubicBezTo>
                        <a:pt x="112302" y="64106"/>
                        <a:pt x="112480" y="70225"/>
                        <a:pt x="112598" y="76145"/>
                      </a:cubicBezTo>
                      <a:cubicBezTo>
                        <a:pt x="113387" y="114724"/>
                        <a:pt x="114058" y="154098"/>
                        <a:pt x="102518" y="190889"/>
                      </a:cubicBezTo>
                      <a:cubicBezTo>
                        <a:pt x="92655" y="161269"/>
                        <a:pt x="102518" y="127617"/>
                        <a:pt x="91866" y="98275"/>
                      </a:cubicBezTo>
                      <a:cubicBezTo>
                        <a:pt x="84054" y="76741"/>
                        <a:pt x="66616" y="61444"/>
                        <a:pt x="49316" y="47538"/>
                      </a:cubicBezTo>
                      <a:cubicBezTo>
                        <a:pt x="34146" y="35361"/>
                        <a:pt x="5918" y="19349"/>
                        <a:pt x="0" y="0"/>
                      </a:cubicBezTo>
                      <a:cubicBezTo>
                        <a:pt x="29313" y="7311"/>
                        <a:pt x="59653" y="26838"/>
                        <a:pt x="87033" y="401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3899" name="Freeform 195">
                  <a:extLst>
                    <a:ext uri="{FF2B5EF4-FFF2-40B4-BE49-F238E27FC236}">
                      <a16:creationId xmlns:a16="http://schemas.microsoft.com/office/drawing/2014/main" id="{C0E84F45-2EFE-4522-E581-937460DBC62D}"/>
                    </a:ext>
                  </a:extLst>
                </p:cNvPr>
                <p:cNvSpPr/>
                <p:nvPr/>
              </p:nvSpPr>
              <p:spPr>
                <a:xfrm>
                  <a:off x="3496576" y="4028840"/>
                  <a:ext cx="456690" cy="436065"/>
                </a:xfrm>
                <a:custGeom>
                  <a:avLst/>
                  <a:gdLst>
                    <a:gd name="connsiteX0" fmla="*/ 153872 w 457210"/>
                    <a:gd name="connsiteY0" fmla="*/ 20403 h 435449"/>
                    <a:gd name="connsiteX1" fmla="*/ 179714 w 457210"/>
                    <a:gd name="connsiteY1" fmla="*/ 4987 h 435449"/>
                    <a:gd name="connsiteX2" fmla="*/ 221139 w 457210"/>
                    <a:gd name="connsiteY2" fmla="*/ 498 h 435449"/>
                    <a:gd name="connsiteX3" fmla="*/ 355831 w 457210"/>
                    <a:gd name="connsiteY3" fmla="*/ 50778 h 435449"/>
                    <a:gd name="connsiteX4" fmla="*/ 422092 w 457210"/>
                    <a:gd name="connsiteY4" fmla="*/ 86536 h 435449"/>
                    <a:gd name="connsiteX5" fmla="*/ 449709 w 457210"/>
                    <a:gd name="connsiteY5" fmla="*/ 107971 h 435449"/>
                    <a:gd name="connsiteX6" fmla="*/ 456909 w 457210"/>
                    <a:gd name="connsiteY6" fmla="*/ 150821 h 435449"/>
                    <a:gd name="connsiteX7" fmla="*/ 450873 w 457210"/>
                    <a:gd name="connsiteY7" fmla="*/ 235071 h 435449"/>
                    <a:gd name="connsiteX8" fmla="*/ 432587 w 457210"/>
                    <a:gd name="connsiteY8" fmla="*/ 326453 h 435449"/>
                    <a:gd name="connsiteX9" fmla="*/ 374986 w 457210"/>
                    <a:gd name="connsiteY9" fmla="*/ 397314 h 435449"/>
                    <a:gd name="connsiteX10" fmla="*/ 309888 w 457210"/>
                    <a:gd name="connsiteY10" fmla="*/ 415730 h 435449"/>
                    <a:gd name="connsiteX11" fmla="*/ 230529 w 457210"/>
                    <a:gd name="connsiteY11" fmla="*/ 428801 h 435449"/>
                    <a:gd name="connsiteX12" fmla="*/ 116767 w 457210"/>
                    <a:gd name="connsiteY12" fmla="*/ 426179 h 435449"/>
                    <a:gd name="connsiteX13" fmla="*/ 46186 w 457210"/>
                    <a:gd name="connsiteY13" fmla="*/ 361953 h 435449"/>
                    <a:gd name="connsiteX14" fmla="*/ 362 w 457210"/>
                    <a:gd name="connsiteY14" fmla="*/ 251739 h 435449"/>
                    <a:gd name="connsiteX15" fmla="*/ 48257 w 457210"/>
                    <a:gd name="connsiteY15" fmla="*/ 136240 h 435449"/>
                    <a:gd name="connsiteX16" fmla="*/ 153872 w 457210"/>
                    <a:gd name="connsiteY16" fmla="*/ 20403 h 4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57210" h="435449">
                      <a:moveTo>
                        <a:pt x="153872" y="20403"/>
                      </a:moveTo>
                      <a:cubicBezTo>
                        <a:pt x="161751" y="14107"/>
                        <a:pt x="170445" y="8921"/>
                        <a:pt x="179714" y="4987"/>
                      </a:cubicBezTo>
                      <a:cubicBezTo>
                        <a:pt x="192773" y="-58"/>
                        <a:pt x="207153" y="-654"/>
                        <a:pt x="221139" y="498"/>
                      </a:cubicBezTo>
                      <a:cubicBezTo>
                        <a:pt x="269232" y="4471"/>
                        <a:pt x="313301" y="27853"/>
                        <a:pt x="355831" y="50778"/>
                      </a:cubicBezTo>
                      <a:lnTo>
                        <a:pt x="422092" y="86536"/>
                      </a:lnTo>
                      <a:cubicBezTo>
                        <a:pt x="432449" y="92118"/>
                        <a:pt x="443259" y="98098"/>
                        <a:pt x="449709" y="107971"/>
                      </a:cubicBezTo>
                      <a:cubicBezTo>
                        <a:pt x="457777" y="120268"/>
                        <a:pt x="457600" y="136101"/>
                        <a:pt x="456909" y="150821"/>
                      </a:cubicBezTo>
                      <a:cubicBezTo>
                        <a:pt x="455593" y="178951"/>
                        <a:pt x="453581" y="207035"/>
                        <a:pt x="450873" y="235071"/>
                      </a:cubicBezTo>
                      <a:cubicBezTo>
                        <a:pt x="447815" y="266082"/>
                        <a:pt x="443811" y="297390"/>
                        <a:pt x="432587" y="326453"/>
                      </a:cubicBezTo>
                      <a:cubicBezTo>
                        <a:pt x="421362" y="355517"/>
                        <a:pt x="402168" y="382435"/>
                        <a:pt x="374986" y="397314"/>
                      </a:cubicBezTo>
                      <a:cubicBezTo>
                        <a:pt x="355062" y="408220"/>
                        <a:pt x="332219" y="412054"/>
                        <a:pt x="309888" y="415730"/>
                      </a:cubicBezTo>
                      <a:lnTo>
                        <a:pt x="230529" y="428801"/>
                      </a:lnTo>
                      <a:cubicBezTo>
                        <a:pt x="192556" y="435059"/>
                        <a:pt x="152275" y="441019"/>
                        <a:pt x="116767" y="426179"/>
                      </a:cubicBezTo>
                      <a:cubicBezTo>
                        <a:pt x="87178" y="413803"/>
                        <a:pt x="64768" y="388434"/>
                        <a:pt x="46186" y="361953"/>
                      </a:cubicBezTo>
                      <a:cubicBezTo>
                        <a:pt x="23047" y="329056"/>
                        <a:pt x="3518" y="292026"/>
                        <a:pt x="362" y="251739"/>
                      </a:cubicBezTo>
                      <a:cubicBezTo>
                        <a:pt x="-3445" y="202790"/>
                        <a:pt x="23501" y="173885"/>
                        <a:pt x="48257" y="136240"/>
                      </a:cubicBezTo>
                      <a:cubicBezTo>
                        <a:pt x="77571" y="91661"/>
                        <a:pt x="110889" y="52486"/>
                        <a:pt x="153872" y="2040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11766" cap="flat">
                  <a:solidFill>
                    <a:srgbClr val="585863"/>
                  </a:solidFill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3900" name="Freeform 196">
                  <a:extLst>
                    <a:ext uri="{FF2B5EF4-FFF2-40B4-BE49-F238E27FC236}">
                      <a16:creationId xmlns:a16="http://schemas.microsoft.com/office/drawing/2014/main" id="{975AD06E-E987-EE4C-A83E-E275E70A14C7}"/>
                    </a:ext>
                  </a:extLst>
                </p:cNvPr>
                <p:cNvSpPr/>
                <p:nvPr/>
              </p:nvSpPr>
              <p:spPr>
                <a:xfrm>
                  <a:off x="3636120" y="4170666"/>
                  <a:ext cx="196631" cy="220149"/>
                </a:xfrm>
                <a:custGeom>
                  <a:avLst/>
                  <a:gdLst>
                    <a:gd name="connsiteX0" fmla="*/ 195291 w 195291"/>
                    <a:gd name="connsiteY0" fmla="*/ 109261 h 218522"/>
                    <a:gd name="connsiteX1" fmla="*/ 97646 w 195291"/>
                    <a:gd name="connsiteY1" fmla="*/ 218522 h 218522"/>
                    <a:gd name="connsiteX2" fmla="*/ 0 w 195291"/>
                    <a:gd name="connsiteY2" fmla="*/ 109261 h 218522"/>
                    <a:gd name="connsiteX3" fmla="*/ 97646 w 195291"/>
                    <a:gd name="connsiteY3" fmla="*/ 0 h 218522"/>
                    <a:gd name="connsiteX4" fmla="*/ 195291 w 195291"/>
                    <a:gd name="connsiteY4" fmla="*/ 109261 h 218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5291" h="218521">
                      <a:moveTo>
                        <a:pt x="195291" y="109261"/>
                      </a:moveTo>
                      <a:cubicBezTo>
                        <a:pt x="195291" y="169604"/>
                        <a:pt x="151574" y="218522"/>
                        <a:pt x="97646" y="218522"/>
                      </a:cubicBezTo>
                      <a:cubicBezTo>
                        <a:pt x="43717" y="218522"/>
                        <a:pt x="0" y="169604"/>
                        <a:pt x="0" y="109261"/>
                      </a:cubicBezTo>
                      <a:cubicBezTo>
                        <a:pt x="0" y="48918"/>
                        <a:pt x="43717" y="0"/>
                        <a:pt x="97646" y="0"/>
                      </a:cubicBezTo>
                      <a:cubicBezTo>
                        <a:pt x="151574" y="0"/>
                        <a:pt x="195291" y="48918"/>
                        <a:pt x="195291" y="109261"/>
                      </a:cubicBezTo>
                      <a:close/>
                    </a:path>
                  </a:pathLst>
                </a:custGeom>
                <a:solidFill>
                  <a:srgbClr val="E3E7F7">
                    <a:alpha val="48000"/>
                  </a:srgbClr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3901" name="Freeform 197">
                  <a:extLst>
                    <a:ext uri="{FF2B5EF4-FFF2-40B4-BE49-F238E27FC236}">
                      <a16:creationId xmlns:a16="http://schemas.microsoft.com/office/drawing/2014/main" id="{20CAC295-0AB8-F3A4-65FD-50E34C2DA564}"/>
                    </a:ext>
                  </a:extLst>
                </p:cNvPr>
                <p:cNvSpPr/>
                <p:nvPr/>
              </p:nvSpPr>
              <p:spPr>
                <a:xfrm>
                  <a:off x="3807380" y="4100812"/>
                  <a:ext cx="112058" cy="190514"/>
                </a:xfrm>
                <a:custGeom>
                  <a:avLst/>
                  <a:gdLst>
                    <a:gd name="connsiteX0" fmla="*/ 87033 w 112979"/>
                    <a:gd name="connsiteY0" fmla="*/ 40109 h 190888"/>
                    <a:gd name="connsiteX1" fmla="*/ 109876 w 112979"/>
                    <a:gd name="connsiteY1" fmla="*/ 58723 h 190888"/>
                    <a:gd name="connsiteX2" fmla="*/ 112598 w 112979"/>
                    <a:gd name="connsiteY2" fmla="*/ 76145 h 190888"/>
                    <a:gd name="connsiteX3" fmla="*/ 102518 w 112979"/>
                    <a:gd name="connsiteY3" fmla="*/ 190889 h 190888"/>
                    <a:gd name="connsiteX4" fmla="*/ 91866 w 112979"/>
                    <a:gd name="connsiteY4" fmla="*/ 98275 h 190888"/>
                    <a:gd name="connsiteX5" fmla="*/ 49316 w 112979"/>
                    <a:gd name="connsiteY5" fmla="*/ 47538 h 190888"/>
                    <a:gd name="connsiteX6" fmla="*/ 0 w 112979"/>
                    <a:gd name="connsiteY6" fmla="*/ 0 h 190888"/>
                    <a:gd name="connsiteX7" fmla="*/ 87033 w 112979"/>
                    <a:gd name="connsiteY7" fmla="*/ 40109 h 190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2978" h="190888">
                      <a:moveTo>
                        <a:pt x="87033" y="40109"/>
                      </a:moveTo>
                      <a:cubicBezTo>
                        <a:pt x="96048" y="44459"/>
                        <a:pt x="105733" y="49545"/>
                        <a:pt x="109876" y="58723"/>
                      </a:cubicBezTo>
                      <a:cubicBezTo>
                        <a:pt x="112302" y="64106"/>
                        <a:pt x="112480" y="70225"/>
                        <a:pt x="112598" y="76145"/>
                      </a:cubicBezTo>
                      <a:cubicBezTo>
                        <a:pt x="113387" y="114724"/>
                        <a:pt x="114058" y="154098"/>
                        <a:pt x="102518" y="190889"/>
                      </a:cubicBezTo>
                      <a:cubicBezTo>
                        <a:pt x="92655" y="161269"/>
                        <a:pt x="102518" y="127617"/>
                        <a:pt x="91866" y="98275"/>
                      </a:cubicBezTo>
                      <a:cubicBezTo>
                        <a:pt x="84054" y="76741"/>
                        <a:pt x="66616" y="61444"/>
                        <a:pt x="49316" y="47538"/>
                      </a:cubicBezTo>
                      <a:cubicBezTo>
                        <a:pt x="34146" y="35361"/>
                        <a:pt x="5918" y="19349"/>
                        <a:pt x="0" y="0"/>
                      </a:cubicBezTo>
                      <a:cubicBezTo>
                        <a:pt x="29313" y="7311"/>
                        <a:pt x="59653" y="26838"/>
                        <a:pt x="87033" y="401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</p:grpSp>
        </p:grpSp>
        <p:pic>
          <p:nvPicPr>
            <p:cNvPr id="23674" name="Graphic 1898">
              <a:extLst>
                <a:ext uri="{FF2B5EF4-FFF2-40B4-BE49-F238E27FC236}">
                  <a16:creationId xmlns:a16="http://schemas.microsoft.com/office/drawing/2014/main" id="{896FB866-C0CC-4EC9-F391-06CBAFBF3E1A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5257" y="2671957"/>
              <a:ext cx="467262" cy="44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675" name="Graphic 1899">
              <a:extLst>
                <a:ext uri="{FF2B5EF4-FFF2-40B4-BE49-F238E27FC236}">
                  <a16:creationId xmlns:a16="http://schemas.microsoft.com/office/drawing/2014/main" id="{6C416B2B-0512-8AFD-70C1-D65C6DD06177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59939" y="2621153"/>
              <a:ext cx="467261" cy="44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3676" name="T-Cells infiltrate 4">
            <a:extLst>
              <a:ext uri="{FF2B5EF4-FFF2-40B4-BE49-F238E27FC236}">
                <a16:creationId xmlns:a16="http://schemas.microsoft.com/office/drawing/2014/main" id="{1C833D6B-F9A6-E9F8-78C0-25EE583068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5804" y="1815704"/>
            <a:ext cx="129778" cy="148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77" name="T-Cells infiltrate 4">
            <a:extLst>
              <a:ext uri="{FF2B5EF4-FFF2-40B4-BE49-F238E27FC236}">
                <a16:creationId xmlns:a16="http://schemas.microsoft.com/office/drawing/2014/main" id="{659D6CDE-3EB4-CFB6-01AC-AEFBF5DB52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7987" y="1905000"/>
            <a:ext cx="128588" cy="148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78" name="T-Cells infiltrate 4">
            <a:extLst>
              <a:ext uri="{FF2B5EF4-FFF2-40B4-BE49-F238E27FC236}">
                <a16:creationId xmlns:a16="http://schemas.microsoft.com/office/drawing/2014/main" id="{33E08AF3-D3E2-ABE3-6698-F0C49D9BD3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4941" y="1864519"/>
            <a:ext cx="129778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79" name="T-Cells infiltrate 4">
            <a:extLst>
              <a:ext uri="{FF2B5EF4-FFF2-40B4-BE49-F238E27FC236}">
                <a16:creationId xmlns:a16="http://schemas.microsoft.com/office/drawing/2014/main" id="{FED5B10E-28B8-E2F0-C776-12C329B636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531" y="3295650"/>
            <a:ext cx="128588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80" name="T-Cells infiltrate 4">
            <a:extLst>
              <a:ext uri="{FF2B5EF4-FFF2-40B4-BE49-F238E27FC236}">
                <a16:creationId xmlns:a16="http://schemas.microsoft.com/office/drawing/2014/main" id="{0D03E071-F95A-F59A-E18A-7DEAF37989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1997" y="3271837"/>
            <a:ext cx="128588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3681" name="Graphic 130">
            <a:extLst>
              <a:ext uri="{FF2B5EF4-FFF2-40B4-BE49-F238E27FC236}">
                <a16:creationId xmlns:a16="http://schemas.microsoft.com/office/drawing/2014/main" id="{00567CA6-2A56-28A7-5843-CC45961CB174}"/>
              </a:ext>
            </a:extLst>
          </p:cNvPr>
          <p:cNvGrpSpPr>
            <a:grpSpLocks/>
          </p:cNvGrpSpPr>
          <p:nvPr/>
        </p:nvGrpSpPr>
        <p:grpSpPr bwMode="auto">
          <a:xfrm>
            <a:off x="3976688" y="1885950"/>
            <a:ext cx="889397" cy="700088"/>
            <a:chOff x="5090414" y="2222373"/>
            <a:chExt cx="1542161" cy="1216422"/>
          </a:xfrm>
        </p:grpSpPr>
        <p:sp>
          <p:nvSpPr>
            <p:cNvPr id="33884" name="Freeform 3">
              <a:extLst>
                <a:ext uri="{FF2B5EF4-FFF2-40B4-BE49-F238E27FC236}">
                  <a16:creationId xmlns:a16="http://schemas.microsoft.com/office/drawing/2014/main" id="{9D61B2B0-DDE8-B2EE-5F5E-BCE2C03A06A9}"/>
                </a:ext>
              </a:extLst>
            </p:cNvPr>
            <p:cNvSpPr/>
            <p:nvPr/>
          </p:nvSpPr>
          <p:spPr>
            <a:xfrm>
              <a:off x="5090414" y="2222373"/>
              <a:ext cx="1542161" cy="1216422"/>
            </a:xfrm>
            <a:custGeom>
              <a:avLst/>
              <a:gdLst>
                <a:gd name="connsiteX0" fmla="*/ 524276 w 1557813"/>
                <a:gd name="connsiteY0" fmla="*/ 57229 h 1221401"/>
                <a:gd name="connsiteX1" fmla="*/ 612324 w 1557813"/>
                <a:gd name="connsiteY1" fmla="*/ 13989 h 1221401"/>
                <a:gd name="connsiteX2" fmla="*/ 753469 w 1557813"/>
                <a:gd name="connsiteY2" fmla="*/ 1396 h 1221401"/>
                <a:gd name="connsiteX3" fmla="*/ 1212392 w 1557813"/>
                <a:gd name="connsiteY3" fmla="*/ 142427 h 1221401"/>
                <a:gd name="connsiteX4" fmla="*/ 1438157 w 1557813"/>
                <a:gd name="connsiteY4" fmla="*/ 242726 h 1221401"/>
                <a:gd name="connsiteX5" fmla="*/ 1532254 w 1557813"/>
                <a:gd name="connsiteY5" fmla="*/ 302850 h 1221401"/>
                <a:gd name="connsiteX6" fmla="*/ 1556786 w 1557813"/>
                <a:gd name="connsiteY6" fmla="*/ 423041 h 1221401"/>
                <a:gd name="connsiteX7" fmla="*/ 1536220 w 1557813"/>
                <a:gd name="connsiteY7" fmla="*/ 659356 h 1221401"/>
                <a:gd name="connsiteX8" fmla="*/ 1473914 w 1557813"/>
                <a:gd name="connsiteY8" fmla="*/ 915675 h 1221401"/>
                <a:gd name="connsiteX9" fmla="*/ 1277655 w 1557813"/>
                <a:gd name="connsiteY9" fmla="*/ 1114434 h 1221401"/>
                <a:gd name="connsiteX10" fmla="*/ 1055856 w 1557813"/>
                <a:gd name="connsiteY10" fmla="*/ 1166087 h 1221401"/>
                <a:gd name="connsiteX11" fmla="*/ 785462 w 1557813"/>
                <a:gd name="connsiteY11" fmla="*/ 1202752 h 1221401"/>
                <a:gd name="connsiteX12" fmla="*/ 397850 w 1557813"/>
                <a:gd name="connsiteY12" fmla="*/ 1195397 h 1221401"/>
                <a:gd name="connsiteX13" fmla="*/ 157366 w 1557813"/>
                <a:gd name="connsiteY13" fmla="*/ 1015249 h 1221401"/>
                <a:gd name="connsiteX14" fmla="*/ 1232 w 1557813"/>
                <a:gd name="connsiteY14" fmla="*/ 706106 h 1221401"/>
                <a:gd name="connsiteX15" fmla="*/ 164423 w 1557813"/>
                <a:gd name="connsiteY15" fmla="*/ 382141 h 1221401"/>
                <a:gd name="connsiteX16" fmla="*/ 524276 w 1557813"/>
                <a:gd name="connsiteY16" fmla="*/ 57229 h 1221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57813" h="1221401">
                  <a:moveTo>
                    <a:pt x="524276" y="57229"/>
                  </a:moveTo>
                  <a:cubicBezTo>
                    <a:pt x="551121" y="39568"/>
                    <a:pt x="580743" y="25022"/>
                    <a:pt x="612324" y="13989"/>
                  </a:cubicBezTo>
                  <a:cubicBezTo>
                    <a:pt x="656818" y="-164"/>
                    <a:pt x="705816" y="-1835"/>
                    <a:pt x="753469" y="1396"/>
                  </a:cubicBezTo>
                  <a:cubicBezTo>
                    <a:pt x="917332" y="12541"/>
                    <a:pt x="1067483" y="78125"/>
                    <a:pt x="1212392" y="142427"/>
                  </a:cubicBezTo>
                  <a:lnTo>
                    <a:pt x="1438157" y="242726"/>
                  </a:lnTo>
                  <a:cubicBezTo>
                    <a:pt x="1473444" y="258384"/>
                    <a:pt x="1510276" y="275156"/>
                    <a:pt x="1532254" y="302850"/>
                  </a:cubicBezTo>
                  <a:cubicBezTo>
                    <a:pt x="1559744" y="337341"/>
                    <a:pt x="1559139" y="381751"/>
                    <a:pt x="1556786" y="423041"/>
                  </a:cubicBezTo>
                  <a:cubicBezTo>
                    <a:pt x="1552303" y="501943"/>
                    <a:pt x="1545448" y="580716"/>
                    <a:pt x="1536220" y="659356"/>
                  </a:cubicBezTo>
                  <a:cubicBezTo>
                    <a:pt x="1525802" y="746337"/>
                    <a:pt x="1512158" y="834154"/>
                    <a:pt x="1473914" y="915675"/>
                  </a:cubicBezTo>
                  <a:cubicBezTo>
                    <a:pt x="1435671" y="997196"/>
                    <a:pt x="1370273" y="1072698"/>
                    <a:pt x="1277655" y="1114434"/>
                  </a:cubicBezTo>
                  <a:cubicBezTo>
                    <a:pt x="1209771" y="1145025"/>
                    <a:pt x="1131940" y="1155779"/>
                    <a:pt x="1055856" y="1166087"/>
                  </a:cubicBezTo>
                  <a:lnTo>
                    <a:pt x="785462" y="1202752"/>
                  </a:lnTo>
                  <a:cubicBezTo>
                    <a:pt x="656079" y="1220304"/>
                    <a:pt x="518832" y="1237021"/>
                    <a:pt x="397850" y="1195397"/>
                  </a:cubicBezTo>
                  <a:cubicBezTo>
                    <a:pt x="297032" y="1160682"/>
                    <a:pt x="220680" y="1089526"/>
                    <a:pt x="157366" y="1015249"/>
                  </a:cubicBezTo>
                  <a:cubicBezTo>
                    <a:pt x="78526" y="922974"/>
                    <a:pt x="11986" y="819110"/>
                    <a:pt x="1232" y="706106"/>
                  </a:cubicBezTo>
                  <a:cubicBezTo>
                    <a:pt x="-11739" y="568809"/>
                    <a:pt x="80072" y="487734"/>
                    <a:pt x="164423" y="382141"/>
                  </a:cubicBezTo>
                  <a:cubicBezTo>
                    <a:pt x="264300" y="257102"/>
                    <a:pt x="377821" y="147220"/>
                    <a:pt x="524276" y="57229"/>
                  </a:cubicBezTo>
                  <a:close/>
                </a:path>
              </a:pathLst>
            </a:custGeom>
            <a:solidFill>
              <a:schemeClr val="tx2"/>
            </a:solidFill>
            <a:ln w="34925" cap="flat">
              <a:solidFill>
                <a:srgbClr val="585863"/>
              </a:solidFill>
              <a:prstDash val="solid"/>
              <a:miter/>
            </a:ln>
          </p:spPr>
          <p:txBody>
            <a:bodyPr anchor="ctr"/>
            <a:lstStyle/>
            <a:p>
              <a:pPr fontAlgn="auto">
                <a:buSzTx/>
              </a:pPr>
              <a:endParaRPr lang="en-US" sz="1013"/>
            </a:p>
          </p:txBody>
        </p:sp>
        <p:sp>
          <p:nvSpPr>
            <p:cNvPr id="33885" name="Freeform 4">
              <a:extLst>
                <a:ext uri="{FF2B5EF4-FFF2-40B4-BE49-F238E27FC236}">
                  <a16:creationId xmlns:a16="http://schemas.microsoft.com/office/drawing/2014/main" id="{E24EB41F-04A6-36B8-AEF0-65FF7A8D8B90}"/>
                </a:ext>
              </a:extLst>
            </p:cNvPr>
            <p:cNvSpPr/>
            <p:nvPr/>
          </p:nvSpPr>
          <p:spPr>
            <a:xfrm>
              <a:off x="5565242" y="2619572"/>
              <a:ext cx="664760" cy="612348"/>
            </a:xfrm>
            <a:custGeom>
              <a:avLst/>
              <a:gdLst>
                <a:gd name="connsiteX0" fmla="*/ 665399 w 665398"/>
                <a:gd name="connsiteY0" fmla="*/ 306468 h 612936"/>
                <a:gd name="connsiteX1" fmla="*/ 332699 w 665398"/>
                <a:gd name="connsiteY1" fmla="*/ 612937 h 612936"/>
                <a:gd name="connsiteX2" fmla="*/ 0 w 665398"/>
                <a:gd name="connsiteY2" fmla="*/ 306468 h 612936"/>
                <a:gd name="connsiteX3" fmla="*/ 332699 w 665398"/>
                <a:gd name="connsiteY3" fmla="*/ 0 h 612936"/>
                <a:gd name="connsiteX4" fmla="*/ 665399 w 665398"/>
                <a:gd name="connsiteY4" fmla="*/ 306468 h 6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5398" h="612936">
                  <a:moveTo>
                    <a:pt x="665399" y="306468"/>
                  </a:moveTo>
                  <a:cubicBezTo>
                    <a:pt x="665399" y="475726"/>
                    <a:pt x="516444" y="612937"/>
                    <a:pt x="332699" y="612937"/>
                  </a:cubicBezTo>
                  <a:cubicBezTo>
                    <a:pt x="148955" y="612937"/>
                    <a:pt x="0" y="475726"/>
                    <a:pt x="0" y="306468"/>
                  </a:cubicBezTo>
                  <a:cubicBezTo>
                    <a:pt x="0" y="137211"/>
                    <a:pt x="148955" y="0"/>
                    <a:pt x="332699" y="0"/>
                  </a:cubicBezTo>
                  <a:cubicBezTo>
                    <a:pt x="516444" y="0"/>
                    <a:pt x="665399" y="137211"/>
                    <a:pt x="665399" y="306468"/>
                  </a:cubicBezTo>
                  <a:close/>
                </a:path>
              </a:pathLst>
            </a:custGeom>
            <a:solidFill>
              <a:srgbClr val="E3E7F7">
                <a:alpha val="48000"/>
              </a:srgbClr>
            </a:solidFill>
            <a:ln w="6684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buSzTx/>
              </a:pPr>
              <a:endParaRPr lang="en-US" sz="1013"/>
            </a:p>
          </p:txBody>
        </p:sp>
        <p:sp>
          <p:nvSpPr>
            <p:cNvPr id="33886" name="Freeform 6">
              <a:extLst>
                <a:ext uri="{FF2B5EF4-FFF2-40B4-BE49-F238E27FC236}">
                  <a16:creationId xmlns:a16="http://schemas.microsoft.com/office/drawing/2014/main" id="{A9E64F74-D3F2-DC89-3A19-7D009CF9ECCD}"/>
                </a:ext>
              </a:extLst>
            </p:cNvPr>
            <p:cNvSpPr/>
            <p:nvPr/>
          </p:nvSpPr>
          <p:spPr>
            <a:xfrm>
              <a:off x="6143295" y="2420973"/>
              <a:ext cx="386057" cy="535806"/>
            </a:xfrm>
            <a:custGeom>
              <a:avLst/>
              <a:gdLst>
                <a:gd name="connsiteX0" fmla="*/ 296539 w 384943"/>
                <a:gd name="connsiteY0" fmla="*/ 112502 h 535428"/>
                <a:gd name="connsiteX1" fmla="*/ 374371 w 384943"/>
                <a:gd name="connsiteY1" fmla="*/ 164713 h 535428"/>
                <a:gd name="connsiteX2" fmla="*/ 383646 w 384943"/>
                <a:gd name="connsiteY2" fmla="*/ 213581 h 535428"/>
                <a:gd name="connsiteX3" fmla="*/ 349301 w 384943"/>
                <a:gd name="connsiteY3" fmla="*/ 535428 h 535428"/>
                <a:gd name="connsiteX4" fmla="*/ 313006 w 384943"/>
                <a:gd name="connsiteY4" fmla="*/ 275654 h 535428"/>
                <a:gd name="connsiteX5" fmla="*/ 168030 w 384943"/>
                <a:gd name="connsiteY5" fmla="*/ 133342 h 535428"/>
                <a:gd name="connsiteX6" fmla="*/ 0 w 384943"/>
                <a:gd name="connsiteY6" fmla="*/ 0 h 535428"/>
                <a:gd name="connsiteX7" fmla="*/ 296539 w 384943"/>
                <a:gd name="connsiteY7" fmla="*/ 112502 h 5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943" h="535428">
                  <a:moveTo>
                    <a:pt x="296539" y="112502"/>
                  </a:moveTo>
                  <a:cubicBezTo>
                    <a:pt x="327255" y="124705"/>
                    <a:pt x="360256" y="138969"/>
                    <a:pt x="374371" y="164713"/>
                  </a:cubicBezTo>
                  <a:cubicBezTo>
                    <a:pt x="382638" y="179813"/>
                    <a:pt x="383243" y="196976"/>
                    <a:pt x="383646" y="213581"/>
                  </a:cubicBezTo>
                  <a:cubicBezTo>
                    <a:pt x="386334" y="321792"/>
                    <a:pt x="388620" y="432232"/>
                    <a:pt x="349301" y="535428"/>
                  </a:cubicBezTo>
                  <a:cubicBezTo>
                    <a:pt x="315695" y="452347"/>
                    <a:pt x="349301" y="357955"/>
                    <a:pt x="313006" y="275654"/>
                  </a:cubicBezTo>
                  <a:cubicBezTo>
                    <a:pt x="286390" y="215252"/>
                    <a:pt x="226975" y="172347"/>
                    <a:pt x="168030" y="133342"/>
                  </a:cubicBezTo>
                  <a:cubicBezTo>
                    <a:pt x="116344" y="99184"/>
                    <a:pt x="20164" y="54273"/>
                    <a:pt x="0" y="0"/>
                  </a:cubicBezTo>
                  <a:cubicBezTo>
                    <a:pt x="99877" y="20506"/>
                    <a:pt x="203249" y="75280"/>
                    <a:pt x="296539" y="112502"/>
                  </a:cubicBezTo>
                  <a:close/>
                </a:path>
              </a:pathLst>
            </a:custGeom>
            <a:solidFill>
              <a:srgbClr val="FFFFFF"/>
            </a:solidFill>
            <a:ln w="6684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buSzTx/>
              </a:pPr>
              <a:endParaRPr lang="en-US" sz="1013"/>
            </a:p>
          </p:txBody>
        </p:sp>
      </p:grpSp>
      <p:sp>
        <p:nvSpPr>
          <p:cNvPr id="33848" name="insulin production text">
            <a:extLst>
              <a:ext uri="{FF2B5EF4-FFF2-40B4-BE49-F238E27FC236}">
                <a16:creationId xmlns:a16="http://schemas.microsoft.com/office/drawing/2014/main" id="{3F72BDE5-3848-C668-7301-8F628D2B7FCB}"/>
              </a:ext>
            </a:extLst>
          </p:cNvPr>
          <p:cNvSpPr txBox="1"/>
          <p:nvPr/>
        </p:nvSpPr>
        <p:spPr>
          <a:xfrm>
            <a:off x="3988349" y="3298656"/>
            <a:ext cx="1119217" cy="334835"/>
          </a:xfrm>
          <a:prstGeom prst="rect">
            <a:avLst/>
          </a:prstGeom>
          <a:solidFill>
            <a:srgbClr val="F5F3F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>
            <a:spAutoFit/>
          </a:bodyPr>
          <a:lstStyle/>
          <a:p>
            <a:pPr algn="ctr" defTabSz="514337"/>
            <a:r>
              <a:rPr lang="de" sz="788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Normale</a:t>
            </a:r>
            <a:br>
              <a:rPr sz="788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a typeface="Arial"/>
                <a:sym typeface="Wingdings"/>
              </a:rPr>
            </a:br>
            <a:r>
              <a:rPr lang="de" sz="788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Insulinsekretion</a:t>
            </a:r>
          </a:p>
        </p:txBody>
      </p:sp>
      <p:pic>
        <p:nvPicPr>
          <p:cNvPr id="23686" name="Graphic 1899">
            <a:extLst>
              <a:ext uri="{FF2B5EF4-FFF2-40B4-BE49-F238E27FC236}">
                <a16:creationId xmlns:a16="http://schemas.microsoft.com/office/drawing/2014/main" id="{1774D0B3-BF2B-A487-C5FD-BC6A563182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300000">
            <a:off x="4636294" y="2645569"/>
            <a:ext cx="205979" cy="158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87" name="Graphic 1900">
            <a:extLst>
              <a:ext uri="{FF2B5EF4-FFF2-40B4-BE49-F238E27FC236}">
                <a16:creationId xmlns:a16="http://schemas.microsoft.com/office/drawing/2014/main" id="{3A4AACDC-1594-49A7-D616-891FC7D9D4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740000">
            <a:off x="4486275" y="2534841"/>
            <a:ext cx="205978" cy="158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88" name="Graphic 1906">
            <a:extLst>
              <a:ext uri="{FF2B5EF4-FFF2-40B4-BE49-F238E27FC236}">
                <a16:creationId xmlns:a16="http://schemas.microsoft.com/office/drawing/2014/main" id="{2EE23473-DB5F-DA78-2B01-59F4D7346C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40000">
            <a:off x="4395787" y="2884885"/>
            <a:ext cx="205979" cy="158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89" name="Graphic 1908">
            <a:extLst>
              <a:ext uri="{FF2B5EF4-FFF2-40B4-BE49-F238E27FC236}">
                <a16:creationId xmlns:a16="http://schemas.microsoft.com/office/drawing/2014/main" id="{BA2A1729-23F7-B637-83DF-1FB19DB8F8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20000">
            <a:off x="4567237" y="3026569"/>
            <a:ext cx="205979" cy="158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90" name="Graphic 1910">
            <a:extLst>
              <a:ext uri="{FF2B5EF4-FFF2-40B4-BE49-F238E27FC236}">
                <a16:creationId xmlns:a16="http://schemas.microsoft.com/office/drawing/2014/main" id="{196478CC-3613-24D1-22C1-B40B35C2BA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440000">
            <a:off x="4537473" y="2827735"/>
            <a:ext cx="205978" cy="158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91" name="Graphic 1912">
            <a:extLst>
              <a:ext uri="{FF2B5EF4-FFF2-40B4-BE49-F238E27FC236}">
                <a16:creationId xmlns:a16="http://schemas.microsoft.com/office/drawing/2014/main" id="{E7846ADF-6E5B-5118-F970-3F3A8A89CE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2494" y="2783681"/>
            <a:ext cx="205979" cy="158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92" name="Graphic 1913">
            <a:extLst>
              <a:ext uri="{FF2B5EF4-FFF2-40B4-BE49-F238E27FC236}">
                <a16:creationId xmlns:a16="http://schemas.microsoft.com/office/drawing/2014/main" id="{C5160D89-56A5-6FFF-6850-1C304EA1AD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9720000">
            <a:off x="4663679" y="2932510"/>
            <a:ext cx="205978" cy="158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93" name="Graphic 1917">
            <a:extLst>
              <a:ext uri="{FF2B5EF4-FFF2-40B4-BE49-F238E27FC236}">
                <a16:creationId xmlns:a16="http://schemas.microsoft.com/office/drawing/2014/main" id="{F8952DBC-73F5-27F3-2A15-ABB82085AE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5369" y="2851548"/>
            <a:ext cx="205979" cy="158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94" name="Graphic 1918">
            <a:extLst>
              <a:ext uri="{FF2B5EF4-FFF2-40B4-BE49-F238E27FC236}">
                <a16:creationId xmlns:a16="http://schemas.microsoft.com/office/drawing/2014/main" id="{852259D8-B0BF-7FED-45C3-D600AC9DAB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0000">
            <a:off x="4763691" y="3045619"/>
            <a:ext cx="205978" cy="158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95" name="Graphic 1921">
            <a:extLst>
              <a:ext uri="{FF2B5EF4-FFF2-40B4-BE49-F238E27FC236}">
                <a16:creationId xmlns:a16="http://schemas.microsoft.com/office/drawing/2014/main" id="{7DA9654B-D70E-46C4-56AE-C9313E326C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80000">
            <a:off x="4825603" y="2668191"/>
            <a:ext cx="204788" cy="158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96" name="Graphic 1922">
            <a:extLst>
              <a:ext uri="{FF2B5EF4-FFF2-40B4-BE49-F238E27FC236}">
                <a16:creationId xmlns:a16="http://schemas.microsoft.com/office/drawing/2014/main" id="{AA4C1B29-51B2-BAB6-5AA8-14AB381E02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740000">
            <a:off x="4310062" y="2600325"/>
            <a:ext cx="205979" cy="158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97" name="Graphic 116">
            <a:extLst>
              <a:ext uri="{FF2B5EF4-FFF2-40B4-BE49-F238E27FC236}">
                <a16:creationId xmlns:a16="http://schemas.microsoft.com/office/drawing/2014/main" id="{D605D5A2-E2E2-4F43-93EC-090522E30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120000">
            <a:off x="4764881" y="2538412"/>
            <a:ext cx="205979" cy="158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98" name="Graphic 117">
            <a:extLst>
              <a:ext uri="{FF2B5EF4-FFF2-40B4-BE49-F238E27FC236}">
                <a16:creationId xmlns:a16="http://schemas.microsoft.com/office/drawing/2014/main" id="{8EB5F099-78A0-4342-4857-0138986F97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40000">
            <a:off x="4057650" y="2321719"/>
            <a:ext cx="204788" cy="158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714" name="Graphic 106">
            <a:extLst>
              <a:ext uri="{FF2B5EF4-FFF2-40B4-BE49-F238E27FC236}">
                <a16:creationId xmlns:a16="http://schemas.microsoft.com/office/drawing/2014/main" id="{2B93A4FA-B363-6C28-FAD2-0E97FF53F9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2450" y="2447925"/>
            <a:ext cx="205979" cy="158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716" name="Isosceles Triangle 115">
            <a:extLst>
              <a:ext uri="{FF2B5EF4-FFF2-40B4-BE49-F238E27FC236}">
                <a16:creationId xmlns:a16="http://schemas.microsoft.com/office/drawing/2014/main" id="{EB4BB8A5-7388-C4B4-52EB-DEAD827D0A48}"/>
              </a:ext>
            </a:extLst>
          </p:cNvPr>
          <p:cNvSpPr>
            <a:spLocks noChangeArrowheads="1"/>
          </p:cNvSpPr>
          <p:nvPr/>
        </p:nvSpPr>
        <p:spPr bwMode="auto">
          <a:xfrm rot="20700000">
            <a:off x="2787253" y="2412206"/>
            <a:ext cx="60722" cy="5238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3717" name="Isosceles Triangle 115">
            <a:extLst>
              <a:ext uri="{FF2B5EF4-FFF2-40B4-BE49-F238E27FC236}">
                <a16:creationId xmlns:a16="http://schemas.microsoft.com/office/drawing/2014/main" id="{2F8E267C-7B7F-AD1B-B765-938763D0E0FB}"/>
              </a:ext>
            </a:extLst>
          </p:cNvPr>
          <p:cNvSpPr>
            <a:spLocks noChangeArrowheads="1"/>
          </p:cNvSpPr>
          <p:nvPr/>
        </p:nvSpPr>
        <p:spPr bwMode="auto">
          <a:xfrm rot="20700000">
            <a:off x="2728912" y="2162175"/>
            <a:ext cx="61913" cy="53579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3718" name="Isosceles Triangle 115">
            <a:extLst>
              <a:ext uri="{FF2B5EF4-FFF2-40B4-BE49-F238E27FC236}">
                <a16:creationId xmlns:a16="http://schemas.microsoft.com/office/drawing/2014/main" id="{8EC5C142-0098-F37F-2C8D-FF47317B2931}"/>
              </a:ext>
            </a:extLst>
          </p:cNvPr>
          <p:cNvSpPr>
            <a:spLocks noChangeArrowheads="1"/>
          </p:cNvSpPr>
          <p:nvPr/>
        </p:nvSpPr>
        <p:spPr bwMode="auto">
          <a:xfrm rot="20700000">
            <a:off x="3026569" y="2205037"/>
            <a:ext cx="60722" cy="5238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3719" name="Isosceles Triangle 115">
            <a:extLst>
              <a:ext uri="{FF2B5EF4-FFF2-40B4-BE49-F238E27FC236}">
                <a16:creationId xmlns:a16="http://schemas.microsoft.com/office/drawing/2014/main" id="{6ED17A00-B819-A066-CB03-344A286AE52D}"/>
              </a:ext>
            </a:extLst>
          </p:cNvPr>
          <p:cNvSpPr>
            <a:spLocks noChangeArrowheads="1"/>
          </p:cNvSpPr>
          <p:nvPr/>
        </p:nvSpPr>
        <p:spPr bwMode="auto">
          <a:xfrm rot="20700000">
            <a:off x="3124201" y="2796778"/>
            <a:ext cx="60722" cy="5238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3720" name="Isosceles Triangle 115">
            <a:extLst>
              <a:ext uri="{FF2B5EF4-FFF2-40B4-BE49-F238E27FC236}">
                <a16:creationId xmlns:a16="http://schemas.microsoft.com/office/drawing/2014/main" id="{D772DD53-DD7A-3B02-3461-515CE640147D}"/>
              </a:ext>
            </a:extLst>
          </p:cNvPr>
          <p:cNvSpPr>
            <a:spLocks noChangeArrowheads="1"/>
          </p:cNvSpPr>
          <p:nvPr/>
        </p:nvSpPr>
        <p:spPr bwMode="auto">
          <a:xfrm rot="20700000">
            <a:off x="3245644" y="3045619"/>
            <a:ext cx="60722" cy="5238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3037">
            <a:extLst>
              <a:ext uri="{FF2B5EF4-FFF2-40B4-BE49-F238E27FC236}">
                <a16:creationId xmlns:a16="http://schemas.microsoft.com/office/drawing/2014/main" id="{C2DDAD88-8F6A-B0F6-073D-7689781C051E}"/>
              </a:ext>
            </a:extLst>
          </p:cNvPr>
          <p:cNvSpPr txBox="1"/>
          <p:nvPr/>
        </p:nvSpPr>
        <p:spPr>
          <a:xfrm>
            <a:off x="363944" y="4833652"/>
            <a:ext cx="8542308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685766">
              <a:buClr>
                <a:srgbClr val="2F4B95"/>
              </a:buClr>
              <a:defRPr/>
            </a:pP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1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Insel RA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et al. Diabetes Care 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2015; 38: 1964–74. </a:t>
            </a: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2. 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Pugliese A.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J Clin Invest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2017; 127: 2881–91. </a:t>
            </a: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3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Burrack AL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et al. Endocrinol Front (Lausanne) 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2017; 8: 343. </a:t>
            </a: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4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American Diabetes </a:t>
            </a:r>
            <a:r>
              <a:rPr lang="de-DE" sz="600" dirty="0" err="1">
                <a:solidFill>
                  <a:srgbClr val="404040"/>
                </a:solidFill>
                <a:ea typeface="Arial"/>
                <a:cs typeface="Arial"/>
              </a:rPr>
              <a:t>Association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 Professional Practice Committee. </a:t>
            </a:r>
            <a:r>
              <a:rPr lang="de-DE" sz="600" i="1" dirty="0">
                <a:solidFill>
                  <a:srgbClr val="404040"/>
                </a:solidFill>
                <a:ea typeface="Arial"/>
                <a:cs typeface="Arial"/>
              </a:rPr>
              <a:t>Diabetes Care 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2026; 49 (</a:t>
            </a:r>
            <a:r>
              <a:rPr lang="de-DE" sz="600" dirty="0" err="1">
                <a:solidFill>
                  <a:srgbClr val="404040"/>
                </a:solidFill>
                <a:ea typeface="Arial"/>
                <a:cs typeface="Arial"/>
              </a:rPr>
              <a:t>Suppl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. 1): S27–S49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.</a:t>
            </a:r>
            <a:endParaRPr lang="en-US" sz="600" dirty="0">
              <a:solidFill>
                <a:srgbClr val="404040"/>
              </a:solidFill>
            </a:endParaRPr>
          </a:p>
        </p:txBody>
      </p:sp>
      <p:grpSp>
        <p:nvGrpSpPr>
          <p:cNvPr id="4" name="Group 1906">
            <a:extLst>
              <a:ext uri="{FF2B5EF4-FFF2-40B4-BE49-F238E27FC236}">
                <a16:creationId xmlns:a16="http://schemas.microsoft.com/office/drawing/2014/main" id="{83DB183D-6FC7-1B42-757D-089662747E7A}"/>
              </a:ext>
            </a:extLst>
          </p:cNvPr>
          <p:cNvGrpSpPr>
            <a:grpSpLocks/>
          </p:cNvGrpSpPr>
          <p:nvPr/>
        </p:nvGrpSpPr>
        <p:grpSpPr bwMode="auto">
          <a:xfrm>
            <a:off x="4006454" y="2197894"/>
            <a:ext cx="1333500" cy="1108472"/>
            <a:chOff x="5089645" y="2763871"/>
            <a:chExt cx="2372028" cy="1971105"/>
          </a:xfrm>
        </p:grpSpPr>
        <p:pic>
          <p:nvPicPr>
            <p:cNvPr id="5" name="Graphic 1901">
              <a:extLst>
                <a:ext uri="{FF2B5EF4-FFF2-40B4-BE49-F238E27FC236}">
                  <a16:creationId xmlns:a16="http://schemas.microsoft.com/office/drawing/2014/main" id="{77730806-115D-C600-7901-DEA302E72E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3740000">
              <a:off x="6822198" y="3499200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Graphic 1902">
              <a:extLst>
                <a:ext uri="{FF2B5EF4-FFF2-40B4-BE49-F238E27FC236}">
                  <a16:creationId xmlns:a16="http://schemas.microsoft.com/office/drawing/2014/main" id="{EC1D8308-14E0-C37C-6D2C-DEE754CDEB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3740000">
              <a:off x="6790084" y="3786115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Graphic 1905">
              <a:extLst>
                <a:ext uri="{FF2B5EF4-FFF2-40B4-BE49-F238E27FC236}">
                  <a16:creationId xmlns:a16="http://schemas.microsoft.com/office/drawing/2014/main" id="{1A684DEC-5725-B2F8-C07A-8F0A66A938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800000">
              <a:off x="5547118" y="4180847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Graphic 1907">
              <a:extLst>
                <a:ext uri="{FF2B5EF4-FFF2-40B4-BE49-F238E27FC236}">
                  <a16:creationId xmlns:a16="http://schemas.microsoft.com/office/drawing/2014/main" id="{813567EC-7CB3-6E61-4FE2-E3F48377C9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180000">
              <a:off x="5811334" y="4284435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Graphic 1911">
              <a:extLst>
                <a:ext uri="{FF2B5EF4-FFF2-40B4-BE49-F238E27FC236}">
                  <a16:creationId xmlns:a16="http://schemas.microsoft.com/office/drawing/2014/main" id="{4CA22B8D-7120-1B88-06F7-BAF51D698E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3082" y="3681230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Graphic 1914">
              <a:extLst>
                <a:ext uri="{FF2B5EF4-FFF2-40B4-BE49-F238E27FC236}">
                  <a16:creationId xmlns:a16="http://schemas.microsoft.com/office/drawing/2014/main" id="{CB70E1CF-5D3E-121B-75A2-31E337F844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">
              <a:off x="6278172" y="4453798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Graphic 1919">
              <a:extLst>
                <a:ext uri="{FF2B5EF4-FFF2-40B4-BE49-F238E27FC236}">
                  <a16:creationId xmlns:a16="http://schemas.microsoft.com/office/drawing/2014/main" id="{9590B257-C383-B9AB-876E-F4FD14D142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1280000">
              <a:off x="6674154" y="4169212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Graphic 1920">
              <a:extLst>
                <a:ext uri="{FF2B5EF4-FFF2-40B4-BE49-F238E27FC236}">
                  <a16:creationId xmlns:a16="http://schemas.microsoft.com/office/drawing/2014/main" id="{2F334F0B-15B8-26F1-7B4D-09C066C746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8480000">
              <a:off x="5549786" y="3765991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Graphic 118">
              <a:extLst>
                <a:ext uri="{FF2B5EF4-FFF2-40B4-BE49-F238E27FC236}">
                  <a16:creationId xmlns:a16="http://schemas.microsoft.com/office/drawing/2014/main" id="{C06B6A06-FF5E-5B2B-0A52-A5DB6E81AF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440000">
              <a:off x="6141642" y="3130021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Graphic 119">
              <a:extLst>
                <a:ext uri="{FF2B5EF4-FFF2-40B4-BE49-F238E27FC236}">
                  <a16:creationId xmlns:a16="http://schemas.microsoft.com/office/drawing/2014/main" id="{772F476A-D2AD-39C8-91C6-C0E874B5D6A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5386744" y="3215147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Graphic 120">
              <a:extLst>
                <a:ext uri="{FF2B5EF4-FFF2-40B4-BE49-F238E27FC236}">
                  <a16:creationId xmlns:a16="http://schemas.microsoft.com/office/drawing/2014/main" id="{32869EDE-E0BF-5010-13E0-CBDB9B5748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600000">
              <a:off x="5089645" y="2763871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Graphic 109">
              <a:extLst>
                <a:ext uri="{FF2B5EF4-FFF2-40B4-BE49-F238E27FC236}">
                  <a16:creationId xmlns:a16="http://schemas.microsoft.com/office/drawing/2014/main" id="{A7E9693B-221D-9843-2173-44F7C4B1A4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80000">
              <a:off x="7095913" y="3183027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Graphic 110">
              <a:extLst>
                <a:ext uri="{FF2B5EF4-FFF2-40B4-BE49-F238E27FC236}">
                  <a16:creationId xmlns:a16="http://schemas.microsoft.com/office/drawing/2014/main" id="{1D22473B-A84F-4D7E-2241-D17983414E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440000">
              <a:off x="7095913" y="3425809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Graphic 111">
              <a:extLst>
                <a:ext uri="{FF2B5EF4-FFF2-40B4-BE49-F238E27FC236}">
                  <a16:creationId xmlns:a16="http://schemas.microsoft.com/office/drawing/2014/main" id="{FF6E912D-B202-1BFD-B0C6-D89FB99064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140000">
              <a:off x="6692832" y="3239997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0" name="Title 3">
            <a:extLst>
              <a:ext uri="{FF2B5EF4-FFF2-40B4-BE49-F238E27FC236}">
                <a16:creationId xmlns:a16="http://schemas.microsoft.com/office/drawing/2014/main" id="{5C696D46-AC61-5DDC-5EFC-4F6A990E2AC0}"/>
              </a:ext>
            </a:extLst>
          </p:cNvPr>
          <p:cNvSpPr txBox="1">
            <a:spLocks/>
          </p:cNvSpPr>
          <p:nvPr/>
        </p:nvSpPr>
        <p:spPr>
          <a:xfrm>
            <a:off x="363944" y="133354"/>
            <a:ext cx="8485200" cy="672166"/>
          </a:xfrm>
          <a:prstGeom prst="rect">
            <a:avLst/>
          </a:prstGeom>
          <a:ln cap="flat" algn="ctr">
            <a:miter lim="800000"/>
            <a:headEnd type="none" w="med" len="med"/>
            <a:tailEnd type="none" w="med" len="med"/>
          </a:ln>
        </p:spPr>
        <p:txBody>
          <a:bodyPr vert="horz" lIns="45720" tIns="45720" rIns="45720" bIns="45720" rtlCol="0" anchor="ctr">
            <a:noAutofit/>
          </a:bodyPr>
          <a:lstStyle>
            <a:lvl1pPr marL="0" indent="0" algn="l" defTabSz="68421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2800" b="1" i="0" u="none" kern="1200" baseline="0">
                <a:solidFill>
                  <a:schemeClr val="tx2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1pPr>
          </a:lstStyle>
          <a:p>
            <a:pPr eaLnBrk="1" hangingPunct="1"/>
            <a:r>
              <a:rPr lang="de-DE" sz="20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7030A0"/>
                </a:solidFill>
                <a:latin typeface="+mj-lt"/>
                <a:ea typeface="Arial"/>
                <a:cs typeface="Arial"/>
              </a:rPr>
              <a:t>Der Verlust der Betazellfunktion tritt über 3 Stadien der T1D-Progression auf,…</a:t>
            </a:r>
            <a:r>
              <a:rPr lang="de-DE" sz="2000" baseline="300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7030A0"/>
                </a:solidFill>
                <a:latin typeface="+mj-lt"/>
                <a:ea typeface="Arial"/>
                <a:cs typeface="Arial"/>
              </a:rPr>
              <a:t>1</a:t>
            </a:r>
            <a:endParaRPr lang="de-DE" sz="2000" baseline="30000" dirty="0">
              <a:solidFill>
                <a:srgbClr val="7030A0"/>
              </a:solidFill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36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with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" presetClass="exit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25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28">
            <a:extLst>
              <a:ext uri="{FF2B5EF4-FFF2-40B4-BE49-F238E27FC236}">
                <a16:creationId xmlns:a16="http://schemas.microsoft.com/office/drawing/2014/main" id="{651C7D84-D4D7-F34E-2A61-FD0AD5BDF232}"/>
              </a:ext>
            </a:extLst>
          </p:cNvPr>
          <p:cNvSpPr txBox="1"/>
          <p:nvPr/>
        </p:nvSpPr>
        <p:spPr>
          <a:xfrm>
            <a:off x="363945" y="4231960"/>
            <a:ext cx="6765176" cy="49244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anchor="b">
            <a:spAutoFit/>
          </a:bodyPr>
          <a:lstStyle/>
          <a:p>
            <a:pPr defTabSz="514337">
              <a:spcAft>
                <a:spcPts val="338"/>
              </a:spcAft>
            </a:pPr>
            <a:r>
              <a:rPr lang="en-US" altLang="de-DE" sz="700" dirty="0">
                <a:solidFill>
                  <a:srgbClr val="404040"/>
                </a:solidFill>
              </a:rPr>
              <a:t>* </a:t>
            </a:r>
            <a:r>
              <a:rPr lang="de-DE" altLang="de-DE" sz="700" dirty="0">
                <a:solidFill>
                  <a:srgbClr val="404040"/>
                </a:solidFill>
              </a:rPr>
              <a:t>Klassische Symptome von T1D umfassen Polydipsie, Polyurie, Hunger, extreme Müdigkeit, verschwommenes Sehen und Gewichtsverlust.</a:t>
            </a:r>
            <a:r>
              <a:rPr lang="de-DE" altLang="de-DE" sz="700" baseline="30000" dirty="0">
                <a:solidFill>
                  <a:srgbClr val="404040"/>
                </a:solidFill>
              </a:rPr>
              <a:t>1,5</a:t>
            </a:r>
            <a:endParaRPr lang="de" sz="100" baseline="30000" dirty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404040"/>
              </a:solidFill>
              <a:ea typeface="Arial"/>
            </a:endParaRPr>
          </a:p>
          <a:p>
            <a:pPr defTabSz="514337">
              <a:spcAft>
                <a:spcPts val="338"/>
              </a:spcAft>
            </a:pPr>
            <a:r>
              <a:rPr lang="de" sz="7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404040"/>
                </a:solidFill>
                <a:ea typeface="Arial"/>
              </a:rPr>
              <a:t>T1D: Typ-1-Diabetes.</a:t>
            </a:r>
          </a:p>
          <a:p>
            <a:pPr defTabSz="514337">
              <a:spcAft>
                <a:spcPts val="338"/>
              </a:spcAft>
            </a:pPr>
            <a:r>
              <a:rPr lang="de" sz="7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404040"/>
                </a:solidFill>
                <a:ea typeface="Arial"/>
              </a:rPr>
              <a:t>Hinweis: Abbildung ist ein Beispiel für Veranschaulichungszwecke.</a:t>
            </a:r>
          </a:p>
        </p:txBody>
      </p:sp>
      <p:sp>
        <p:nvSpPr>
          <p:cNvPr id="35843" name="Freeform 102">
            <a:extLst>
              <a:ext uri="{FF2B5EF4-FFF2-40B4-BE49-F238E27FC236}">
                <a16:creationId xmlns:a16="http://schemas.microsoft.com/office/drawing/2014/main" id="{037AC368-0C15-4F33-718D-289F7A4375A3}"/>
              </a:ext>
            </a:extLst>
          </p:cNvPr>
          <p:cNvSpPr>
            <a:spLocks/>
          </p:cNvSpPr>
          <p:nvPr/>
        </p:nvSpPr>
        <p:spPr bwMode="auto">
          <a:xfrm rot="20700000">
            <a:off x="3030141" y="2124075"/>
            <a:ext cx="1227534" cy="570310"/>
          </a:xfrm>
          <a:custGeom>
            <a:avLst/>
            <a:gdLst>
              <a:gd name="T0" fmla="*/ 0 w 2336800"/>
              <a:gd name="T1" fmla="*/ 474133 h 1210733"/>
              <a:gd name="T2" fmla="*/ 2336800 w 2336800"/>
              <a:gd name="T3" fmla="*/ 0 h 1210733"/>
              <a:gd name="T4" fmla="*/ 2336800 w 2336800"/>
              <a:gd name="T5" fmla="*/ 1210733 h 1210733"/>
              <a:gd name="T6" fmla="*/ 0 w 2336800"/>
              <a:gd name="T7" fmla="*/ 474133 h 12107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36800" h="1210733">
                <a:moveTo>
                  <a:pt x="0" y="474133"/>
                </a:moveTo>
                <a:lnTo>
                  <a:pt x="2336800" y="0"/>
                </a:lnTo>
                <a:lnTo>
                  <a:pt x="2336800" y="1210733"/>
                </a:lnTo>
                <a:lnTo>
                  <a:pt x="0" y="474133"/>
                </a:lnTo>
                <a:close/>
              </a:path>
            </a:pathLst>
          </a:custGeom>
          <a:gradFill rotWithShape="1">
            <a:gsLst>
              <a:gs pos="0">
                <a:srgbClr val="E4E1F2">
                  <a:alpha val="25098"/>
                </a:srgbClr>
              </a:gs>
              <a:gs pos="100000">
                <a:srgbClr val="D1D7EE">
                  <a:alpha val="50195"/>
                </a:srgbClr>
              </a:gs>
              <a:gs pos="65999">
                <a:srgbClr val="D1D7EE">
                  <a:alpha val="41662"/>
                </a:srgbClr>
              </a:gs>
              <a:gs pos="100000">
                <a:srgbClr val="D1D7EE">
                  <a:alpha val="50195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 cap="flat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/>
          <a:p>
            <a:pPr algn="ctr" defTabSz="514337"/>
            <a:endParaRPr lang="en-US" sz="1013">
              <a:solidFill>
                <a:srgbClr val="FFFFFF"/>
              </a:solidFill>
            </a:endParaRPr>
          </a:p>
        </p:txBody>
      </p:sp>
      <p:pic>
        <p:nvPicPr>
          <p:cNvPr id="24580" name="Graphic 67">
            <a:extLst>
              <a:ext uri="{FF2B5EF4-FFF2-40B4-BE49-F238E27FC236}">
                <a16:creationId xmlns:a16="http://schemas.microsoft.com/office/drawing/2014/main" id="{51428B69-7E74-21ED-BDA4-10DE0D7559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451" y="1885950"/>
            <a:ext cx="889397" cy="700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1" name="Graphic 107">
            <a:extLst>
              <a:ext uri="{FF2B5EF4-FFF2-40B4-BE49-F238E27FC236}">
                <a16:creationId xmlns:a16="http://schemas.microsoft.com/office/drawing/2014/main" id="{110DCAF6-165C-63FE-E9B1-05647A1BD7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2206" y="2545557"/>
            <a:ext cx="26312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2" name="Graphic 108">
            <a:extLst>
              <a:ext uri="{FF2B5EF4-FFF2-40B4-BE49-F238E27FC236}">
                <a16:creationId xmlns:a16="http://schemas.microsoft.com/office/drawing/2014/main" id="{C52C9CE5-60D0-4AE7-A2F6-C5C162A0E9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0807" y="2376488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3" name="Graphic 112">
            <a:extLst>
              <a:ext uri="{FF2B5EF4-FFF2-40B4-BE49-F238E27FC236}">
                <a16:creationId xmlns:a16="http://schemas.microsoft.com/office/drawing/2014/main" id="{7976DDEC-DDA3-DB49-AF16-578E01380A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573" y="2664619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4" name="Graphic 114">
            <a:extLst>
              <a:ext uri="{FF2B5EF4-FFF2-40B4-BE49-F238E27FC236}">
                <a16:creationId xmlns:a16="http://schemas.microsoft.com/office/drawing/2014/main" id="{62DF0906-E9AC-F15B-6433-ECDD9E2B40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0085" y="2112169"/>
            <a:ext cx="26431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5" name="Graphic 115">
            <a:extLst>
              <a:ext uri="{FF2B5EF4-FFF2-40B4-BE49-F238E27FC236}">
                <a16:creationId xmlns:a16="http://schemas.microsoft.com/office/drawing/2014/main" id="{C2DDE759-16E2-BD59-9089-4BD7316AE4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5632" y="2203847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6" name="Graphic 121">
            <a:extLst>
              <a:ext uri="{FF2B5EF4-FFF2-40B4-BE49-F238E27FC236}">
                <a16:creationId xmlns:a16="http://schemas.microsoft.com/office/drawing/2014/main" id="{3D30783C-67FD-2AA5-0455-DADB00A7EE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9888" y="2409826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7" name="Graphic 122">
            <a:extLst>
              <a:ext uri="{FF2B5EF4-FFF2-40B4-BE49-F238E27FC236}">
                <a16:creationId xmlns:a16="http://schemas.microsoft.com/office/drawing/2014/main" id="{5820A7AC-6C02-A623-6AB5-F19EFB92B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2885" y="2607469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8" name="Graphic 123">
            <a:extLst>
              <a:ext uri="{FF2B5EF4-FFF2-40B4-BE49-F238E27FC236}">
                <a16:creationId xmlns:a16="http://schemas.microsoft.com/office/drawing/2014/main" id="{496E81BD-6C22-19C6-3E03-2C320B8E9C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3860" y="2813447"/>
            <a:ext cx="26431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9" name="Graphic 124">
            <a:extLst>
              <a:ext uri="{FF2B5EF4-FFF2-40B4-BE49-F238E27FC236}">
                <a16:creationId xmlns:a16="http://schemas.microsoft.com/office/drawing/2014/main" id="{BC2F5967-FBED-EAE4-F199-96192FB644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9604" y="2953941"/>
            <a:ext cx="26431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90" name="Graphic 125">
            <a:extLst>
              <a:ext uri="{FF2B5EF4-FFF2-40B4-BE49-F238E27FC236}">
                <a16:creationId xmlns:a16="http://schemas.microsoft.com/office/drawing/2014/main" id="{C7A171E8-99D3-E9DA-2C42-552C085B59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4163" y="2915841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91" name="Graphic 126">
            <a:extLst>
              <a:ext uri="{FF2B5EF4-FFF2-40B4-BE49-F238E27FC236}">
                <a16:creationId xmlns:a16="http://schemas.microsoft.com/office/drawing/2014/main" id="{277C2E78-FC03-A551-CA34-97DE4C1D75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025" y="2146697"/>
            <a:ext cx="26312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92" name="Graphic 1855">
            <a:extLst>
              <a:ext uri="{FF2B5EF4-FFF2-40B4-BE49-F238E27FC236}">
                <a16:creationId xmlns:a16="http://schemas.microsoft.com/office/drawing/2014/main" id="{0E47E11B-CB35-789D-911B-D2D150E0F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7754" y="2671763"/>
            <a:ext cx="263128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93" name="Graphic 1856">
            <a:extLst>
              <a:ext uri="{FF2B5EF4-FFF2-40B4-BE49-F238E27FC236}">
                <a16:creationId xmlns:a16="http://schemas.microsoft.com/office/drawing/2014/main" id="{78F06A3C-EBEA-6A36-C091-33397FB52D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8969" y="2463403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94" name="Graphic 1857">
            <a:extLst>
              <a:ext uri="{FF2B5EF4-FFF2-40B4-BE49-F238E27FC236}">
                <a16:creationId xmlns:a16="http://schemas.microsoft.com/office/drawing/2014/main" id="{0A762C14-8734-2DFF-3887-66BA1F96F8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9912" y="2906316"/>
            <a:ext cx="26312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95" name="Graphic 1858">
            <a:extLst>
              <a:ext uri="{FF2B5EF4-FFF2-40B4-BE49-F238E27FC236}">
                <a16:creationId xmlns:a16="http://schemas.microsoft.com/office/drawing/2014/main" id="{BF1A00D8-4254-9196-B398-F3C5D043D8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5044" y="3087291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96" name="Graphic 1860">
            <a:extLst>
              <a:ext uri="{FF2B5EF4-FFF2-40B4-BE49-F238E27FC236}">
                <a16:creationId xmlns:a16="http://schemas.microsoft.com/office/drawing/2014/main" id="{CD6D1582-82F6-72DA-C731-04D475F941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3563" y="2547938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97" name="Graphic 1861">
            <a:extLst>
              <a:ext uri="{FF2B5EF4-FFF2-40B4-BE49-F238E27FC236}">
                <a16:creationId xmlns:a16="http://schemas.microsoft.com/office/drawing/2014/main" id="{AFE02439-E72E-7B4D-E009-821DDC566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6957" y="2016919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598" name="Group 1863">
            <a:extLst>
              <a:ext uri="{FF2B5EF4-FFF2-40B4-BE49-F238E27FC236}">
                <a16:creationId xmlns:a16="http://schemas.microsoft.com/office/drawing/2014/main" id="{7738B6CD-B2E7-658C-B7CD-83575201852B}"/>
              </a:ext>
            </a:extLst>
          </p:cNvPr>
          <p:cNvGrpSpPr>
            <a:grpSpLocks/>
          </p:cNvGrpSpPr>
          <p:nvPr/>
        </p:nvGrpSpPr>
        <p:grpSpPr bwMode="auto">
          <a:xfrm>
            <a:off x="2027635" y="2287191"/>
            <a:ext cx="571500" cy="845344"/>
            <a:chOff x="1572846" y="2923462"/>
            <a:chExt cx="1015371" cy="1501691"/>
          </a:xfrm>
        </p:grpSpPr>
        <p:pic>
          <p:nvPicPr>
            <p:cNvPr id="24599" name="Graphic 103">
              <a:extLst>
                <a:ext uri="{FF2B5EF4-FFF2-40B4-BE49-F238E27FC236}">
                  <a16:creationId xmlns:a16="http://schemas.microsoft.com/office/drawing/2014/main" id="{8E81E9CE-7F19-A20C-FE1B-47CFD213193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8608" y="2923462"/>
              <a:ext cx="469609" cy="446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600" name="Graphic 1859">
              <a:extLst>
                <a:ext uri="{FF2B5EF4-FFF2-40B4-BE49-F238E27FC236}">
                  <a16:creationId xmlns:a16="http://schemas.microsoft.com/office/drawing/2014/main" id="{9DF7AFE3-C296-655A-08C3-04151677DC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27845" y="3020755"/>
              <a:ext cx="469609" cy="446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601" name="Graphic 1862">
              <a:extLst>
                <a:ext uri="{FF2B5EF4-FFF2-40B4-BE49-F238E27FC236}">
                  <a16:creationId xmlns:a16="http://schemas.microsoft.com/office/drawing/2014/main" id="{D2D91D17-9749-6C5F-4E7C-98F002C13D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846" y="3978875"/>
              <a:ext cx="469609" cy="4462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4604" name="damaged beta cells">
            <a:extLst>
              <a:ext uri="{FF2B5EF4-FFF2-40B4-BE49-F238E27FC236}">
                <a16:creationId xmlns:a16="http://schemas.microsoft.com/office/drawing/2014/main" id="{7ABB0760-C5AA-1D98-679E-B836BD13C815}"/>
              </a:ext>
            </a:extLst>
          </p:cNvPr>
          <p:cNvGrpSpPr>
            <a:grpSpLocks/>
          </p:cNvGrpSpPr>
          <p:nvPr/>
        </p:nvGrpSpPr>
        <p:grpSpPr bwMode="auto">
          <a:xfrm>
            <a:off x="2030017" y="2290763"/>
            <a:ext cx="564356" cy="838200"/>
            <a:chOff x="5883325" y="1893112"/>
            <a:chExt cx="1287711" cy="1892793"/>
          </a:xfrm>
        </p:grpSpPr>
        <p:grpSp>
          <p:nvGrpSpPr>
            <p:cNvPr id="24605" name="Graphic 181">
              <a:extLst>
                <a:ext uri="{FF2B5EF4-FFF2-40B4-BE49-F238E27FC236}">
                  <a16:creationId xmlns:a16="http://schemas.microsoft.com/office/drawing/2014/main" id="{24227D58-01C7-1454-6DFF-D4E68595814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585051" y="1893112"/>
              <a:ext cx="585985" cy="553270"/>
              <a:chOff x="6585051" y="1893112"/>
              <a:chExt cx="585985" cy="553270"/>
            </a:xfrm>
          </p:grpSpPr>
          <p:sp>
            <p:nvSpPr>
              <p:cNvPr id="36028" name="Freeform 2">
                <a:extLst>
                  <a:ext uri="{FF2B5EF4-FFF2-40B4-BE49-F238E27FC236}">
                    <a16:creationId xmlns:a16="http://schemas.microsoft.com/office/drawing/2014/main" id="{B0710C04-A6CB-195F-B0A6-5B16E48C3BA5}"/>
                  </a:ext>
                </a:extLst>
              </p:cNvPr>
              <p:cNvSpPr/>
              <p:nvPr/>
            </p:nvSpPr>
            <p:spPr>
              <a:xfrm>
                <a:off x="6584231" y="1893112"/>
                <a:ext cx="586805" cy="553858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6029" name="Freeform 3">
                <a:extLst>
                  <a:ext uri="{FF2B5EF4-FFF2-40B4-BE49-F238E27FC236}">
                    <a16:creationId xmlns:a16="http://schemas.microsoft.com/office/drawing/2014/main" id="{50650190-2021-A92A-7D0A-09905A348868}"/>
                  </a:ext>
                </a:extLst>
              </p:cNvPr>
              <p:cNvSpPr/>
              <p:nvPr/>
            </p:nvSpPr>
            <p:spPr>
              <a:xfrm>
                <a:off x="6760815" y="2070562"/>
                <a:ext cx="249935" cy="276930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6030" name="Freeform 8">
                <a:extLst>
                  <a:ext uri="{FF2B5EF4-FFF2-40B4-BE49-F238E27FC236}">
                    <a16:creationId xmlns:a16="http://schemas.microsoft.com/office/drawing/2014/main" id="{E3E0E709-7DF0-2AE6-97B1-6F7EB45EF4D5}"/>
                  </a:ext>
                </a:extLst>
              </p:cNvPr>
              <p:cNvSpPr/>
              <p:nvPr/>
            </p:nvSpPr>
            <p:spPr>
              <a:xfrm>
                <a:off x="6978150" y="1979148"/>
                <a:ext cx="146701" cy="244666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4609" name="Graphic 182">
              <a:extLst>
                <a:ext uri="{FF2B5EF4-FFF2-40B4-BE49-F238E27FC236}">
                  <a16:creationId xmlns:a16="http://schemas.microsoft.com/office/drawing/2014/main" id="{AC751708-8DF1-D8B8-78AC-4F252294000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54148" y="2015806"/>
              <a:ext cx="585985" cy="553270"/>
              <a:chOff x="5954148" y="2015806"/>
              <a:chExt cx="585985" cy="553270"/>
            </a:xfrm>
          </p:grpSpPr>
          <p:sp>
            <p:nvSpPr>
              <p:cNvPr id="36025" name="Freeform 10">
                <a:extLst>
                  <a:ext uri="{FF2B5EF4-FFF2-40B4-BE49-F238E27FC236}">
                    <a16:creationId xmlns:a16="http://schemas.microsoft.com/office/drawing/2014/main" id="{B3A63B1A-823C-980B-F740-F30EF30143E9}"/>
                  </a:ext>
                </a:extLst>
              </p:cNvPr>
              <p:cNvSpPr/>
              <p:nvPr/>
            </p:nvSpPr>
            <p:spPr>
              <a:xfrm>
                <a:off x="5953960" y="2016788"/>
                <a:ext cx="586805" cy="551170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6026" name="Freeform 11">
                <a:extLst>
                  <a:ext uri="{FF2B5EF4-FFF2-40B4-BE49-F238E27FC236}">
                    <a16:creationId xmlns:a16="http://schemas.microsoft.com/office/drawing/2014/main" id="{87C7F69A-03AE-430A-7B6A-B5615028A219}"/>
                  </a:ext>
                </a:extLst>
              </p:cNvPr>
              <p:cNvSpPr/>
              <p:nvPr/>
            </p:nvSpPr>
            <p:spPr>
              <a:xfrm>
                <a:off x="6130544" y="2191550"/>
                <a:ext cx="249935" cy="276928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6027" name="Freeform 12">
                <a:extLst>
                  <a:ext uri="{FF2B5EF4-FFF2-40B4-BE49-F238E27FC236}">
                    <a16:creationId xmlns:a16="http://schemas.microsoft.com/office/drawing/2014/main" id="{A00628DA-C2D1-DB8E-E80B-39EC8B554FAF}"/>
                  </a:ext>
                </a:extLst>
              </p:cNvPr>
              <p:cNvSpPr/>
              <p:nvPr/>
            </p:nvSpPr>
            <p:spPr>
              <a:xfrm>
                <a:off x="6347879" y="2102824"/>
                <a:ext cx="146701" cy="241977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4613" name="Graphic 183">
              <a:extLst>
                <a:ext uri="{FF2B5EF4-FFF2-40B4-BE49-F238E27FC236}">
                  <a16:creationId xmlns:a16="http://schemas.microsoft.com/office/drawing/2014/main" id="{D34E96D6-CE36-C131-BBD7-1E4403B45C4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83325" y="3232635"/>
              <a:ext cx="585985" cy="553270"/>
              <a:chOff x="5883325" y="3232635"/>
              <a:chExt cx="585985" cy="553270"/>
            </a:xfrm>
          </p:grpSpPr>
          <p:sp>
            <p:nvSpPr>
              <p:cNvPr id="36022" name="Freeform 15">
                <a:extLst>
                  <a:ext uri="{FF2B5EF4-FFF2-40B4-BE49-F238E27FC236}">
                    <a16:creationId xmlns:a16="http://schemas.microsoft.com/office/drawing/2014/main" id="{C4DBE689-C1E9-896C-FE46-3828C256477F}"/>
                  </a:ext>
                </a:extLst>
              </p:cNvPr>
              <p:cNvSpPr/>
              <p:nvPr/>
            </p:nvSpPr>
            <p:spPr>
              <a:xfrm>
                <a:off x="5883325" y="3232047"/>
                <a:ext cx="586805" cy="553858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6023" name="Freeform 16">
                <a:extLst>
                  <a:ext uri="{FF2B5EF4-FFF2-40B4-BE49-F238E27FC236}">
                    <a16:creationId xmlns:a16="http://schemas.microsoft.com/office/drawing/2014/main" id="{442E4314-F7E7-D9A0-15A6-ED15B06824E1}"/>
                  </a:ext>
                </a:extLst>
              </p:cNvPr>
              <p:cNvSpPr/>
              <p:nvPr/>
            </p:nvSpPr>
            <p:spPr>
              <a:xfrm>
                <a:off x="6059909" y="3409497"/>
                <a:ext cx="249935" cy="276930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6024" name="Freeform 17">
                <a:extLst>
                  <a:ext uri="{FF2B5EF4-FFF2-40B4-BE49-F238E27FC236}">
                    <a16:creationId xmlns:a16="http://schemas.microsoft.com/office/drawing/2014/main" id="{041EA87B-7BB0-C7F1-C8CB-0897593BFF19}"/>
                  </a:ext>
                </a:extLst>
              </p:cNvPr>
              <p:cNvSpPr/>
              <p:nvPr/>
            </p:nvSpPr>
            <p:spPr>
              <a:xfrm>
                <a:off x="6277244" y="3318083"/>
                <a:ext cx="146701" cy="244666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</p:grpSp>
      <p:grpSp>
        <p:nvGrpSpPr>
          <p:cNvPr id="24617" name="Group 166">
            <a:extLst>
              <a:ext uri="{FF2B5EF4-FFF2-40B4-BE49-F238E27FC236}">
                <a16:creationId xmlns:a16="http://schemas.microsoft.com/office/drawing/2014/main" id="{66700096-E076-CBCF-2AD2-5BE6E74C7019}"/>
              </a:ext>
            </a:extLst>
          </p:cNvPr>
          <p:cNvGrpSpPr>
            <a:grpSpLocks/>
          </p:cNvGrpSpPr>
          <p:nvPr/>
        </p:nvGrpSpPr>
        <p:grpSpPr bwMode="auto">
          <a:xfrm>
            <a:off x="5645944" y="1823285"/>
            <a:ext cx="2725423" cy="1795363"/>
            <a:chOff x="8004951" y="2086867"/>
            <a:chExt cx="4846754" cy="3190862"/>
          </a:xfrm>
        </p:grpSpPr>
        <p:sp>
          <p:nvSpPr>
            <p:cNvPr id="36017" name="Freeform 96">
              <a:extLst>
                <a:ext uri="{FF2B5EF4-FFF2-40B4-BE49-F238E27FC236}">
                  <a16:creationId xmlns:a16="http://schemas.microsoft.com/office/drawing/2014/main" id="{33F0F590-2506-28EE-8BE9-83B8FD574AC3}"/>
                </a:ext>
              </a:extLst>
            </p:cNvPr>
            <p:cNvSpPr/>
            <p:nvPr/>
          </p:nvSpPr>
          <p:spPr>
            <a:xfrm rot="10800000">
              <a:off x="8004951" y="2161883"/>
              <a:ext cx="237143" cy="3017520"/>
            </a:xfrm>
            <a:custGeom>
              <a:avLst/>
              <a:gdLst>
                <a:gd name="connsiteX0" fmla="*/ 185980 w 185980"/>
                <a:gd name="connsiteY0" fmla="*/ 0 h 1015139"/>
                <a:gd name="connsiteX1" fmla="*/ 0 w 185980"/>
                <a:gd name="connsiteY1" fmla="*/ 0 h 1015139"/>
                <a:gd name="connsiteX2" fmla="*/ 0 w 185980"/>
                <a:gd name="connsiteY2" fmla="*/ 1015139 h 1015139"/>
                <a:gd name="connsiteX3" fmla="*/ 185980 w 185980"/>
                <a:gd name="connsiteY3" fmla="*/ 1015139 h 1015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980" h="1015139">
                  <a:moveTo>
                    <a:pt x="185980" y="0"/>
                  </a:moveTo>
                  <a:lnTo>
                    <a:pt x="0" y="0"/>
                  </a:lnTo>
                  <a:lnTo>
                    <a:pt x="0" y="1015139"/>
                  </a:lnTo>
                  <a:lnTo>
                    <a:pt x="185980" y="1015139"/>
                  </a:lnTo>
                </a:path>
              </a:pathLst>
            </a:custGeom>
            <a:noFill/>
            <a:ln w="9525" cap="flat" cmpd="sng" algn="ctr">
              <a:solidFill>
                <a:srgbClr val="BFBFB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 defTabSz="514337"/>
              <a:endParaRPr lang="en-US" sz="1013">
                <a:solidFill>
                  <a:srgbClr val="FFFFFF"/>
                </a:solidFill>
              </a:endParaRPr>
            </a:p>
          </p:txBody>
        </p:sp>
        <p:sp>
          <p:nvSpPr>
            <p:cNvPr id="36018" name="TextBox 44">
              <a:extLst>
                <a:ext uri="{FF2B5EF4-FFF2-40B4-BE49-F238E27FC236}">
                  <a16:creationId xmlns:a16="http://schemas.microsoft.com/office/drawing/2014/main" id="{9CE340FD-9D31-B1C9-6F0C-47CAABD16E64}"/>
                </a:ext>
              </a:extLst>
            </p:cNvPr>
            <p:cNvSpPr txBox="1"/>
            <p:nvPr/>
          </p:nvSpPr>
          <p:spPr>
            <a:xfrm>
              <a:off x="8311965" y="2086867"/>
              <a:ext cx="4539740" cy="319086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>
              <a:spAutoFit/>
            </a:bodyPr>
            <a:lstStyle/>
            <a:p>
              <a:pPr marL="128585" indent="-128585">
                <a:spcBef>
                  <a:spcPts val="675"/>
                </a:spcBef>
                <a:buClr>
                  <a:srgbClr val="FBA329"/>
                </a:buClr>
                <a:buFont typeface="Arial" pitchFamily="34" charset="0"/>
                <a:buChar char="•"/>
              </a:pPr>
              <a:r>
                <a:rPr lang="de" sz="900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Die Insulinsekretion wird durch T-Zell-vermittelte Betazellschädigung und    -tod weiter reduziert; dies führt zu Hyperglykämie und klassischen Symptomen* von T1D</a:t>
              </a:r>
              <a:r>
                <a:rPr lang="de" sz="900" baseline="30000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1-3</a:t>
              </a:r>
            </a:p>
            <a:p>
              <a:pPr marL="128585" indent="-128585">
                <a:spcBef>
                  <a:spcPts val="675"/>
                </a:spcBef>
                <a:buClr>
                  <a:srgbClr val="FBA329"/>
                </a:buClr>
                <a:buFont typeface="Arial" pitchFamily="34" charset="0"/>
                <a:buChar char="•"/>
              </a:pPr>
              <a:r>
                <a:rPr lang="de" sz="900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In Stadium 3 gibt es wenig oder keine Insulinsekretion</a:t>
              </a:r>
              <a:r>
                <a:rPr lang="de" sz="900" baseline="30000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1,3</a:t>
              </a:r>
            </a:p>
            <a:p>
              <a:pPr marL="128585" indent="-128585">
                <a:spcBef>
                  <a:spcPts val="675"/>
                </a:spcBef>
                <a:buClr>
                  <a:srgbClr val="FBA329"/>
                </a:buClr>
                <a:buFont typeface="Arial" pitchFamily="34" charset="0"/>
                <a:buChar char="•"/>
              </a:pPr>
              <a:r>
                <a:rPr lang="de" sz="900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Eine exogene Insulintherapie ist erforderlich, um die glykämische Kontrolle wiederherzustellen und aufrechtzuerhalten</a:t>
              </a:r>
              <a:r>
                <a:rPr lang="de" sz="900" baseline="30000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4</a:t>
              </a:r>
            </a:p>
          </p:txBody>
        </p:sp>
      </p:grpSp>
      <p:grpSp>
        <p:nvGrpSpPr>
          <p:cNvPr id="24620" name="Group 127">
            <a:extLst>
              <a:ext uri="{FF2B5EF4-FFF2-40B4-BE49-F238E27FC236}">
                <a16:creationId xmlns:a16="http://schemas.microsoft.com/office/drawing/2014/main" id="{4C13076F-6701-A10E-6DF5-C3C6B6CF45E5}"/>
              </a:ext>
            </a:extLst>
          </p:cNvPr>
          <p:cNvGrpSpPr>
            <a:grpSpLocks/>
          </p:cNvGrpSpPr>
          <p:nvPr/>
        </p:nvGrpSpPr>
        <p:grpSpPr bwMode="auto">
          <a:xfrm>
            <a:off x="2026444" y="2541985"/>
            <a:ext cx="646510" cy="592931"/>
            <a:chOff x="1570220" y="3375280"/>
            <a:chExt cx="1148933" cy="1055042"/>
          </a:xfrm>
        </p:grpSpPr>
        <p:grpSp>
          <p:nvGrpSpPr>
            <p:cNvPr id="24621" name="Graphic 182">
              <a:extLst>
                <a:ext uri="{FF2B5EF4-FFF2-40B4-BE49-F238E27FC236}">
                  <a16:creationId xmlns:a16="http://schemas.microsoft.com/office/drawing/2014/main" id="{67A48B95-7A79-6460-42CC-F42354706CF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43793" y="3488056"/>
              <a:ext cx="466344" cy="457200"/>
              <a:chOff x="5954148" y="2015806"/>
              <a:chExt cx="585985" cy="553270"/>
            </a:xfrm>
          </p:grpSpPr>
          <p:sp>
            <p:nvSpPr>
              <p:cNvPr id="36014" name="Freeform 10">
                <a:extLst>
                  <a:ext uri="{FF2B5EF4-FFF2-40B4-BE49-F238E27FC236}">
                    <a16:creationId xmlns:a16="http://schemas.microsoft.com/office/drawing/2014/main" id="{65BA11EF-DAF0-76AC-D999-C6BB294794E8}"/>
                  </a:ext>
                </a:extLst>
              </p:cNvPr>
              <p:cNvSpPr/>
              <p:nvPr/>
            </p:nvSpPr>
            <p:spPr>
              <a:xfrm>
                <a:off x="5954061" y="2015210"/>
                <a:ext cx="584922" cy="553764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6015" name="Freeform 11">
                <a:extLst>
                  <a:ext uri="{FF2B5EF4-FFF2-40B4-BE49-F238E27FC236}">
                    <a16:creationId xmlns:a16="http://schemas.microsoft.com/office/drawing/2014/main" id="{B5DAEAE6-AE0D-B081-9266-E5B7540986CA}"/>
                  </a:ext>
                </a:extLst>
              </p:cNvPr>
              <p:cNvSpPr/>
              <p:nvPr/>
            </p:nvSpPr>
            <p:spPr>
              <a:xfrm>
                <a:off x="6129537" y="2192108"/>
                <a:ext cx="249921" cy="276882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6016" name="Freeform 12">
                <a:extLst>
                  <a:ext uri="{FF2B5EF4-FFF2-40B4-BE49-F238E27FC236}">
                    <a16:creationId xmlns:a16="http://schemas.microsoft.com/office/drawing/2014/main" id="{115BEE6C-1536-4F4A-5210-2AB4E46C58EC}"/>
                  </a:ext>
                </a:extLst>
              </p:cNvPr>
              <p:cNvSpPr/>
              <p:nvPr/>
            </p:nvSpPr>
            <p:spPr>
              <a:xfrm>
                <a:off x="6347554" y="2102377"/>
                <a:ext cx="143572" cy="243554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4625" name="Graphic 182">
              <a:extLst>
                <a:ext uri="{FF2B5EF4-FFF2-40B4-BE49-F238E27FC236}">
                  <a16:creationId xmlns:a16="http://schemas.microsoft.com/office/drawing/2014/main" id="{B90B9014-5BDE-AD90-CAA7-810F6BC1046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52809" y="3375280"/>
              <a:ext cx="466344" cy="457200"/>
              <a:chOff x="5954148" y="2015806"/>
              <a:chExt cx="585985" cy="553270"/>
            </a:xfrm>
          </p:grpSpPr>
          <p:sp>
            <p:nvSpPr>
              <p:cNvPr id="36011" name="Freeform 10">
                <a:extLst>
                  <a:ext uri="{FF2B5EF4-FFF2-40B4-BE49-F238E27FC236}">
                    <a16:creationId xmlns:a16="http://schemas.microsoft.com/office/drawing/2014/main" id="{2CF2DE63-DDF4-3BBC-73D9-49D99FE71644}"/>
                  </a:ext>
                </a:extLst>
              </p:cNvPr>
              <p:cNvSpPr/>
              <p:nvPr/>
            </p:nvSpPr>
            <p:spPr>
              <a:xfrm>
                <a:off x="5955211" y="2015806"/>
                <a:ext cx="584922" cy="553764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6012" name="Freeform 11">
                <a:extLst>
                  <a:ext uri="{FF2B5EF4-FFF2-40B4-BE49-F238E27FC236}">
                    <a16:creationId xmlns:a16="http://schemas.microsoft.com/office/drawing/2014/main" id="{81A32F71-827C-9FA4-1471-FB01E8F4D797}"/>
                  </a:ext>
                </a:extLst>
              </p:cNvPr>
              <p:cNvSpPr/>
              <p:nvPr/>
            </p:nvSpPr>
            <p:spPr>
              <a:xfrm>
                <a:off x="6130688" y="2192702"/>
                <a:ext cx="249921" cy="276882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6013" name="Freeform 12">
                <a:extLst>
                  <a:ext uri="{FF2B5EF4-FFF2-40B4-BE49-F238E27FC236}">
                    <a16:creationId xmlns:a16="http://schemas.microsoft.com/office/drawing/2014/main" id="{AAB1B3DE-8940-A171-4E94-46F6E686BAB8}"/>
                  </a:ext>
                </a:extLst>
              </p:cNvPr>
              <p:cNvSpPr/>
              <p:nvPr/>
            </p:nvSpPr>
            <p:spPr>
              <a:xfrm>
                <a:off x="6348704" y="2102973"/>
                <a:ext cx="143572" cy="243553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pic>
          <p:nvPicPr>
            <p:cNvPr id="24629" name="Graphic 1893">
              <a:extLst>
                <a:ext uri="{FF2B5EF4-FFF2-40B4-BE49-F238E27FC236}">
                  <a16:creationId xmlns:a16="http://schemas.microsoft.com/office/drawing/2014/main" id="{38A3B1CF-669D-AF9E-A438-828FA4E5A9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0220" y="3989662"/>
              <a:ext cx="465497" cy="440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4630" name="Group 25">
            <a:extLst>
              <a:ext uri="{FF2B5EF4-FFF2-40B4-BE49-F238E27FC236}">
                <a16:creationId xmlns:a16="http://schemas.microsoft.com/office/drawing/2014/main" id="{5096A149-CB3F-1CD3-0F44-2C876F19B45C}"/>
              </a:ext>
            </a:extLst>
          </p:cNvPr>
          <p:cNvGrpSpPr>
            <a:grpSpLocks/>
          </p:cNvGrpSpPr>
          <p:nvPr/>
        </p:nvGrpSpPr>
        <p:grpSpPr bwMode="auto">
          <a:xfrm>
            <a:off x="2055019" y="2341960"/>
            <a:ext cx="623888" cy="521494"/>
            <a:chOff x="1622175" y="3021272"/>
            <a:chExt cx="1108324" cy="927003"/>
          </a:xfrm>
        </p:grpSpPr>
        <p:grpSp>
          <p:nvGrpSpPr>
            <p:cNvPr id="24631" name="Group 26">
              <a:extLst>
                <a:ext uri="{FF2B5EF4-FFF2-40B4-BE49-F238E27FC236}">
                  <a16:creationId xmlns:a16="http://schemas.microsoft.com/office/drawing/2014/main" id="{3AD43A2C-94B6-1744-D40D-56D1D84B84D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22175" y="3021272"/>
              <a:ext cx="1108324" cy="811308"/>
              <a:chOff x="1622175" y="3021272"/>
              <a:chExt cx="1108324" cy="811308"/>
            </a:xfrm>
          </p:grpSpPr>
          <p:pic>
            <p:nvPicPr>
              <p:cNvPr id="24632" name="Graphic 29">
                <a:extLst>
                  <a:ext uri="{FF2B5EF4-FFF2-40B4-BE49-F238E27FC236}">
                    <a16:creationId xmlns:a16="http://schemas.microsoft.com/office/drawing/2014/main" id="{73A7CE32-8D98-0B8E-1351-C5E2FC12E3FA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2175" y="3021272"/>
                <a:ext cx="465327" cy="4486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4633" name="Graphic 30">
                <a:extLst>
                  <a:ext uri="{FF2B5EF4-FFF2-40B4-BE49-F238E27FC236}">
                    <a16:creationId xmlns:a16="http://schemas.microsoft.com/office/drawing/2014/main" id="{D49AD5A3-5CBF-D558-8A05-453DA8BEF18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46137" y="3374717"/>
                <a:ext cx="484362" cy="4571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4634" name="Graphic 27">
              <a:extLst>
                <a:ext uri="{FF2B5EF4-FFF2-40B4-BE49-F238E27FC236}">
                  <a16:creationId xmlns:a16="http://schemas.microsoft.com/office/drawing/2014/main" id="{7D32097C-5F52-5202-2A1F-4DCD316734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0622" y="3491123"/>
              <a:ext cx="484364" cy="457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4635" name="T-Cells infiltrate 4">
            <a:extLst>
              <a:ext uri="{FF2B5EF4-FFF2-40B4-BE49-F238E27FC236}">
                <a16:creationId xmlns:a16="http://schemas.microsoft.com/office/drawing/2014/main" id="{9745318C-C65B-F34F-F4CA-149EB08FA4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8837" y="2280047"/>
            <a:ext cx="128588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636" name="T-Cells infiltrate 4">
            <a:extLst>
              <a:ext uri="{FF2B5EF4-FFF2-40B4-BE49-F238E27FC236}">
                <a16:creationId xmlns:a16="http://schemas.microsoft.com/office/drawing/2014/main" id="{F3A4ED34-4A66-D81C-DE3B-6E31238812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9787" y="2783681"/>
            <a:ext cx="129779" cy="148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637" name="Graphic 20">
            <a:extLst>
              <a:ext uri="{FF2B5EF4-FFF2-40B4-BE49-F238E27FC236}">
                <a16:creationId xmlns:a16="http://schemas.microsoft.com/office/drawing/2014/main" id="{02A546BA-10CC-EFF8-FAC9-9FB1A7F7FA13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4316" y="1980010"/>
            <a:ext cx="132159" cy="154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24638" name="Graphic 20">
            <a:extLst>
              <a:ext uri="{FF2B5EF4-FFF2-40B4-BE49-F238E27FC236}">
                <a16:creationId xmlns:a16="http://schemas.microsoft.com/office/drawing/2014/main" id="{271829B2-1DB8-1CE4-8786-59BEEC49BA0E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829" y="2221707"/>
            <a:ext cx="15120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</p:pic>
      <p:sp>
        <p:nvSpPr>
          <p:cNvPr id="35873" name="Freeform 664">
            <a:extLst>
              <a:ext uri="{FF2B5EF4-FFF2-40B4-BE49-F238E27FC236}">
                <a16:creationId xmlns:a16="http://schemas.microsoft.com/office/drawing/2014/main" id="{7A135A14-8636-B19E-6FEC-8F2296CDB1B6}"/>
              </a:ext>
            </a:extLst>
          </p:cNvPr>
          <p:cNvSpPr/>
          <p:nvPr/>
        </p:nvSpPr>
        <p:spPr>
          <a:xfrm rot="11760000">
            <a:off x="1587104" y="2463404"/>
            <a:ext cx="134540" cy="139303"/>
          </a:xfrm>
          <a:custGeom>
            <a:avLst/>
            <a:gdLst>
              <a:gd name="connsiteX0" fmla="*/ 547500 w 556188"/>
              <a:gd name="connsiteY0" fmla="*/ 70348 h 673345"/>
              <a:gd name="connsiteX1" fmla="*/ 322147 w 556188"/>
              <a:gd name="connsiteY1" fmla="*/ 373915 h 673345"/>
              <a:gd name="connsiteX2" fmla="*/ 322147 w 556188"/>
              <a:gd name="connsiteY2" fmla="*/ 629278 h 673345"/>
              <a:gd name="connsiteX3" fmla="*/ 278080 w 556188"/>
              <a:gd name="connsiteY3" fmla="*/ 673346 h 673345"/>
              <a:gd name="connsiteX4" fmla="*/ 234013 w 556188"/>
              <a:gd name="connsiteY4" fmla="*/ 629278 h 673345"/>
              <a:gd name="connsiteX5" fmla="*/ 234013 w 556188"/>
              <a:gd name="connsiteY5" fmla="*/ 373915 h 673345"/>
              <a:gd name="connsiteX6" fmla="*/ 8660 w 556188"/>
              <a:gd name="connsiteY6" fmla="*/ 70348 h 673345"/>
              <a:gd name="connsiteX7" fmla="*/ 17699 w 556188"/>
              <a:gd name="connsiteY7" fmla="*/ 8699 h 673345"/>
              <a:gd name="connsiteX8" fmla="*/ 79348 w 556188"/>
              <a:gd name="connsiteY8" fmla="*/ 17739 h 673345"/>
              <a:gd name="connsiteX9" fmla="*/ 277990 w 556188"/>
              <a:gd name="connsiteY9" fmla="*/ 285396 h 673345"/>
              <a:gd name="connsiteX10" fmla="*/ 476722 w 556188"/>
              <a:gd name="connsiteY10" fmla="*/ 17806 h 673345"/>
              <a:gd name="connsiteX11" fmla="*/ 538382 w 556188"/>
              <a:gd name="connsiteY11" fmla="*/ 8688 h 673345"/>
              <a:gd name="connsiteX12" fmla="*/ 547500 w 556188"/>
              <a:gd name="connsiteY12" fmla="*/ 70348 h 673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56188" h="673345">
                <a:moveTo>
                  <a:pt x="547500" y="70348"/>
                </a:moveTo>
                <a:lnTo>
                  <a:pt x="322147" y="373915"/>
                </a:lnTo>
                <a:lnTo>
                  <a:pt x="322147" y="629278"/>
                </a:lnTo>
                <a:cubicBezTo>
                  <a:pt x="322147" y="653617"/>
                  <a:pt x="302419" y="673346"/>
                  <a:pt x="278080" y="673346"/>
                </a:cubicBezTo>
                <a:cubicBezTo>
                  <a:pt x="253741" y="673346"/>
                  <a:pt x="234013" y="653617"/>
                  <a:pt x="234013" y="629278"/>
                </a:cubicBezTo>
                <a:lnTo>
                  <a:pt x="234013" y="373915"/>
                </a:lnTo>
                <a:lnTo>
                  <a:pt x="8660" y="70348"/>
                </a:lnTo>
                <a:cubicBezTo>
                  <a:pt x="-5785" y="50807"/>
                  <a:pt x="-1747" y="23271"/>
                  <a:pt x="17699" y="8699"/>
                </a:cubicBezTo>
                <a:cubicBezTo>
                  <a:pt x="37240" y="-5745"/>
                  <a:pt x="64777" y="-1708"/>
                  <a:pt x="79348" y="17739"/>
                </a:cubicBezTo>
                <a:lnTo>
                  <a:pt x="277990" y="285396"/>
                </a:lnTo>
                <a:lnTo>
                  <a:pt x="476722" y="17806"/>
                </a:lnTo>
                <a:cubicBezTo>
                  <a:pt x="491230" y="-1739"/>
                  <a:pt x="518836" y="-5821"/>
                  <a:pt x="538382" y="8688"/>
                </a:cubicBezTo>
                <a:cubicBezTo>
                  <a:pt x="557927" y="23197"/>
                  <a:pt x="562009" y="50803"/>
                  <a:pt x="547500" y="70348"/>
                </a:cubicBezTo>
                <a:close/>
              </a:path>
            </a:pathLst>
          </a:custGeom>
          <a:solidFill>
            <a:srgbClr val="FDC477"/>
          </a:solidFill>
          <a:ln w="19050" cap="flat">
            <a:noFill/>
            <a:prstDash val="solid"/>
            <a:miter/>
          </a:ln>
        </p:spPr>
        <p:txBody>
          <a:bodyPr anchor="ctr"/>
          <a:lstStyle/>
          <a:p>
            <a:pPr defTabSz="514337"/>
            <a:endParaRPr lang="en-US" sz="1013" kern="0">
              <a:latin typeface="Calibri"/>
            </a:endParaRPr>
          </a:p>
        </p:txBody>
      </p:sp>
      <p:sp>
        <p:nvSpPr>
          <p:cNvPr id="35874" name="Freeform 692">
            <a:extLst>
              <a:ext uri="{FF2B5EF4-FFF2-40B4-BE49-F238E27FC236}">
                <a16:creationId xmlns:a16="http://schemas.microsoft.com/office/drawing/2014/main" id="{E59B07FC-1049-CB29-6A51-E014E126A237}"/>
              </a:ext>
            </a:extLst>
          </p:cNvPr>
          <p:cNvSpPr/>
          <p:nvPr/>
        </p:nvSpPr>
        <p:spPr>
          <a:xfrm rot="8100000">
            <a:off x="1809751" y="2008585"/>
            <a:ext cx="135731" cy="139303"/>
          </a:xfrm>
          <a:custGeom>
            <a:avLst/>
            <a:gdLst>
              <a:gd name="connsiteX0" fmla="*/ 547500 w 556188"/>
              <a:gd name="connsiteY0" fmla="*/ 70348 h 673345"/>
              <a:gd name="connsiteX1" fmla="*/ 322147 w 556188"/>
              <a:gd name="connsiteY1" fmla="*/ 373915 h 673345"/>
              <a:gd name="connsiteX2" fmla="*/ 322147 w 556188"/>
              <a:gd name="connsiteY2" fmla="*/ 629278 h 673345"/>
              <a:gd name="connsiteX3" fmla="*/ 278080 w 556188"/>
              <a:gd name="connsiteY3" fmla="*/ 673346 h 673345"/>
              <a:gd name="connsiteX4" fmla="*/ 234013 w 556188"/>
              <a:gd name="connsiteY4" fmla="*/ 629278 h 673345"/>
              <a:gd name="connsiteX5" fmla="*/ 234013 w 556188"/>
              <a:gd name="connsiteY5" fmla="*/ 373915 h 673345"/>
              <a:gd name="connsiteX6" fmla="*/ 8660 w 556188"/>
              <a:gd name="connsiteY6" fmla="*/ 70348 h 673345"/>
              <a:gd name="connsiteX7" fmla="*/ 17699 w 556188"/>
              <a:gd name="connsiteY7" fmla="*/ 8699 h 673345"/>
              <a:gd name="connsiteX8" fmla="*/ 79348 w 556188"/>
              <a:gd name="connsiteY8" fmla="*/ 17739 h 673345"/>
              <a:gd name="connsiteX9" fmla="*/ 277990 w 556188"/>
              <a:gd name="connsiteY9" fmla="*/ 285396 h 673345"/>
              <a:gd name="connsiteX10" fmla="*/ 476722 w 556188"/>
              <a:gd name="connsiteY10" fmla="*/ 17806 h 673345"/>
              <a:gd name="connsiteX11" fmla="*/ 538382 w 556188"/>
              <a:gd name="connsiteY11" fmla="*/ 8688 h 673345"/>
              <a:gd name="connsiteX12" fmla="*/ 547500 w 556188"/>
              <a:gd name="connsiteY12" fmla="*/ 70348 h 673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56188" h="673345">
                <a:moveTo>
                  <a:pt x="547500" y="70348"/>
                </a:moveTo>
                <a:lnTo>
                  <a:pt x="322147" y="373915"/>
                </a:lnTo>
                <a:lnTo>
                  <a:pt x="322147" y="629278"/>
                </a:lnTo>
                <a:cubicBezTo>
                  <a:pt x="322147" y="653617"/>
                  <a:pt x="302419" y="673346"/>
                  <a:pt x="278080" y="673346"/>
                </a:cubicBezTo>
                <a:cubicBezTo>
                  <a:pt x="253741" y="673346"/>
                  <a:pt x="234013" y="653617"/>
                  <a:pt x="234013" y="629278"/>
                </a:cubicBezTo>
                <a:lnTo>
                  <a:pt x="234013" y="373915"/>
                </a:lnTo>
                <a:lnTo>
                  <a:pt x="8660" y="70348"/>
                </a:lnTo>
                <a:cubicBezTo>
                  <a:pt x="-5785" y="50807"/>
                  <a:pt x="-1747" y="23271"/>
                  <a:pt x="17699" y="8699"/>
                </a:cubicBezTo>
                <a:cubicBezTo>
                  <a:pt x="37240" y="-5745"/>
                  <a:pt x="64777" y="-1708"/>
                  <a:pt x="79348" y="17739"/>
                </a:cubicBezTo>
                <a:lnTo>
                  <a:pt x="277990" y="285396"/>
                </a:lnTo>
                <a:lnTo>
                  <a:pt x="476722" y="17806"/>
                </a:lnTo>
                <a:cubicBezTo>
                  <a:pt x="491230" y="-1739"/>
                  <a:pt x="518836" y="-5821"/>
                  <a:pt x="538382" y="8688"/>
                </a:cubicBezTo>
                <a:cubicBezTo>
                  <a:pt x="557927" y="23197"/>
                  <a:pt x="562009" y="50803"/>
                  <a:pt x="547500" y="70348"/>
                </a:cubicBezTo>
                <a:close/>
              </a:path>
            </a:pathLst>
          </a:custGeom>
          <a:solidFill>
            <a:srgbClr val="FDC477"/>
          </a:solidFill>
          <a:ln w="19050" cap="flat">
            <a:noFill/>
            <a:prstDash val="solid"/>
            <a:miter/>
          </a:ln>
        </p:spPr>
        <p:txBody>
          <a:bodyPr anchor="ctr"/>
          <a:lstStyle/>
          <a:p>
            <a:pPr defTabSz="514337"/>
            <a:endParaRPr lang="en-US" sz="1013" kern="0">
              <a:latin typeface="Calibri"/>
            </a:endParaRPr>
          </a:p>
        </p:txBody>
      </p:sp>
      <p:pic>
        <p:nvPicPr>
          <p:cNvPr id="24641" name="Graphic 20">
            <a:extLst>
              <a:ext uri="{FF2B5EF4-FFF2-40B4-BE49-F238E27FC236}">
                <a16:creationId xmlns:a16="http://schemas.microsoft.com/office/drawing/2014/main" id="{3C3DB774-D215-831A-EFD7-05CF5A7CA989}"/>
              </a:ext>
            </a:extLst>
          </p:cNvPr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0207" y="2812257"/>
            <a:ext cx="141685" cy="154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</p:pic>
      <p:grpSp>
        <p:nvGrpSpPr>
          <p:cNvPr id="24642" name="Group 64">
            <a:extLst>
              <a:ext uri="{FF2B5EF4-FFF2-40B4-BE49-F238E27FC236}">
                <a16:creationId xmlns:a16="http://schemas.microsoft.com/office/drawing/2014/main" id="{33F81B77-CA35-D881-5FA7-00EA5722D92A}"/>
              </a:ext>
            </a:extLst>
          </p:cNvPr>
          <p:cNvGrpSpPr>
            <a:grpSpLocks/>
          </p:cNvGrpSpPr>
          <p:nvPr/>
        </p:nvGrpSpPr>
        <p:grpSpPr bwMode="auto">
          <a:xfrm>
            <a:off x="1584722" y="3452818"/>
            <a:ext cx="4835133" cy="406949"/>
            <a:chOff x="784859" y="5617965"/>
            <a:chExt cx="8595372" cy="722533"/>
          </a:xfrm>
        </p:grpSpPr>
        <p:grpSp>
          <p:nvGrpSpPr>
            <p:cNvPr id="24643" name="Group 65">
              <a:extLst>
                <a:ext uri="{FF2B5EF4-FFF2-40B4-BE49-F238E27FC236}">
                  <a16:creationId xmlns:a16="http://schemas.microsoft.com/office/drawing/2014/main" id="{FED9BE43-9DFF-5A15-CAAC-0CE6D8C6E39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610623" y="5990019"/>
              <a:ext cx="2088695" cy="348365"/>
              <a:chOff x="5531451" y="5879622"/>
              <a:chExt cx="2088695" cy="348365"/>
            </a:xfrm>
          </p:grpSpPr>
          <p:pic>
            <p:nvPicPr>
              <p:cNvPr id="24644" name="T-Cells infiltrate 4">
                <a:extLst>
                  <a:ext uri="{FF2B5EF4-FFF2-40B4-BE49-F238E27FC236}">
                    <a16:creationId xmlns:a16="http://schemas.microsoft.com/office/drawing/2014/main" id="{3A8900B1-2EAC-6D44-81D7-4E3600E98C2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31451" y="5890193"/>
                <a:ext cx="230705" cy="2621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6003" name="TextBox 1874">
                <a:extLst>
                  <a:ext uri="{FF2B5EF4-FFF2-40B4-BE49-F238E27FC236}">
                    <a16:creationId xmlns:a16="http://schemas.microsoft.com/office/drawing/2014/main" id="{7AFD6D4A-60F7-4744-4EE7-FBA81F3DE1C1}"/>
                  </a:ext>
                </a:extLst>
              </p:cNvPr>
              <p:cNvSpPr txBox="1"/>
              <p:nvPr/>
            </p:nvSpPr>
            <p:spPr>
              <a:xfrm>
                <a:off x="5718864" y="5879622"/>
                <a:ext cx="1901282" cy="348365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  <p:txBody>
              <a:bodyPr wrap="none">
                <a:spAutoFit/>
              </a:bodyPr>
              <a:lstStyle>
                <a:lvl1pPr marL="169863" indent="-169863" algn="l" defTabSz="684213" rtl="0" eaLnBrk="0" fontAlgn="base" hangingPunct="0">
                  <a:lnSpc>
                    <a:spcPct val="90000"/>
                  </a:lnSpc>
                  <a:spcBef>
                    <a:spcPts val="750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5127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8556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11985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15414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1885903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795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686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77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None/>
                </a:pPr>
                <a:r>
                  <a:rPr lang="de" sz="675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latin typeface="+mn-lt"/>
                    <a:ea typeface="Arial"/>
                    <a:cs typeface="Arial"/>
                  </a:rPr>
                  <a:t>Autoreaktive T-Zelle</a:t>
                </a:r>
                <a:endParaRPr sz="675">
                  <a:latin typeface="+mn-lt"/>
                </a:endParaRPr>
              </a:p>
            </p:txBody>
          </p:sp>
        </p:grpSp>
        <p:grpSp>
          <p:nvGrpSpPr>
            <p:cNvPr id="24646" name="Group 66">
              <a:extLst>
                <a:ext uri="{FF2B5EF4-FFF2-40B4-BE49-F238E27FC236}">
                  <a16:creationId xmlns:a16="http://schemas.microsoft.com/office/drawing/2014/main" id="{6A882E90-9A32-AF9C-976B-59C3F711F25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70678" y="5990019"/>
              <a:ext cx="1793707" cy="348365"/>
              <a:chOff x="5456057" y="5609252"/>
              <a:chExt cx="1793707" cy="348365"/>
            </a:xfrm>
          </p:grpSpPr>
          <p:sp>
            <p:nvSpPr>
              <p:cNvPr id="24647" name="Isosceles Triangle 85">
                <a:extLst>
                  <a:ext uri="{FF2B5EF4-FFF2-40B4-BE49-F238E27FC236}">
                    <a16:creationId xmlns:a16="http://schemas.microsoft.com/office/drawing/2014/main" id="{054CEAAA-0C81-8EB5-6BDD-C9F07FBEED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9900000">
                <a:off x="5456057" y="5693810"/>
                <a:ext cx="156625" cy="133179"/>
              </a:xfrm>
              <a:prstGeom prst="triangle">
                <a:avLst>
                  <a:gd name="adj" fmla="val 50000"/>
                </a:avLst>
              </a:prstGeom>
              <a:solidFill>
                <a:srgbClr val="70A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1pPr>
                <a:lvl2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2pPr>
                <a:lvl3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3pPr>
                <a:lvl4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4pPr>
                <a:lvl5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5pPr>
                <a:lvl6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6pPr>
                <a:lvl7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7pPr>
                <a:lvl8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8pPr>
                <a:lvl9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/>
                <a:endParaRPr lang="de-DE" altLang="de-DE" sz="975">
                  <a:solidFill>
                    <a:srgbClr val="FFFFFF"/>
                  </a:solidFill>
                  <a:latin typeface="+mn-lt"/>
                </a:endParaRPr>
              </a:p>
            </p:txBody>
          </p:sp>
          <p:sp>
            <p:nvSpPr>
              <p:cNvPr id="36001" name="TextBox 1872">
                <a:extLst>
                  <a:ext uri="{FF2B5EF4-FFF2-40B4-BE49-F238E27FC236}">
                    <a16:creationId xmlns:a16="http://schemas.microsoft.com/office/drawing/2014/main" id="{B94C49EB-7C62-5C15-5F1E-3F720D0C9C8E}"/>
                  </a:ext>
                </a:extLst>
              </p:cNvPr>
              <p:cNvSpPr txBox="1"/>
              <p:nvPr/>
            </p:nvSpPr>
            <p:spPr>
              <a:xfrm>
                <a:off x="5602100" y="5609252"/>
                <a:ext cx="1647664" cy="348365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  <p:txBody>
              <a:bodyPr wrap="none">
                <a:spAutoFit/>
              </a:bodyPr>
              <a:lstStyle>
                <a:lvl1pPr marL="169863" indent="-169863" algn="l" defTabSz="684213" rtl="0" eaLnBrk="0" fontAlgn="base" hangingPunct="0">
                  <a:lnSpc>
                    <a:spcPct val="90000"/>
                  </a:lnSpc>
                  <a:spcBef>
                    <a:spcPts val="750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5127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8556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11985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15414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1885903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795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686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77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None/>
                </a:pPr>
                <a:r>
                  <a:rPr lang="de" sz="675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000000"/>
                    </a:solidFill>
                    <a:latin typeface="+mn-lt"/>
                    <a:ea typeface="Arial"/>
                    <a:cs typeface="Arial"/>
                  </a:rPr>
                  <a:t>Betazell-Antigen </a:t>
                </a:r>
                <a:endParaRPr sz="675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grpSp>
          <p:nvGrpSpPr>
            <p:cNvPr id="24649" name="Group 102">
              <a:extLst>
                <a:ext uri="{FF2B5EF4-FFF2-40B4-BE49-F238E27FC236}">
                  <a16:creationId xmlns:a16="http://schemas.microsoft.com/office/drawing/2014/main" id="{211046E2-76E7-A945-82DD-DE0F17BA41D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5074" y="5617965"/>
              <a:ext cx="2392494" cy="716191"/>
              <a:chOff x="1068122" y="5622206"/>
              <a:chExt cx="2392494" cy="716191"/>
            </a:xfrm>
          </p:grpSpPr>
          <p:grpSp>
            <p:nvGrpSpPr>
              <p:cNvPr id="24650" name="Group 111">
                <a:extLst>
                  <a:ext uri="{FF2B5EF4-FFF2-40B4-BE49-F238E27FC236}">
                    <a16:creationId xmlns:a16="http://schemas.microsoft.com/office/drawing/2014/main" id="{5ED0BAC6-490E-DCF1-45E4-8CB39A1B1B7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68122" y="5990033"/>
                <a:ext cx="1110874" cy="348364"/>
                <a:chOff x="2337779" y="5621126"/>
                <a:chExt cx="1110874" cy="348364"/>
              </a:xfrm>
            </p:grpSpPr>
            <p:pic>
              <p:nvPicPr>
                <p:cNvPr id="24651" name="Graphic 1865">
                  <a:extLst>
                    <a:ext uri="{FF2B5EF4-FFF2-40B4-BE49-F238E27FC236}">
                      <a16:creationId xmlns:a16="http://schemas.microsoft.com/office/drawing/2014/main" id="{3A00D609-21E5-7BF7-8426-C900B7E5524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337779" y="5623240"/>
                  <a:ext cx="289970" cy="2748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999" name="TextBox 1870">
                  <a:extLst>
                    <a:ext uri="{FF2B5EF4-FFF2-40B4-BE49-F238E27FC236}">
                      <a16:creationId xmlns:a16="http://schemas.microsoft.com/office/drawing/2014/main" id="{0A1CF448-5F6A-742C-6239-56E6F936D44D}"/>
                    </a:ext>
                  </a:extLst>
                </p:cNvPr>
                <p:cNvSpPr txBox="1"/>
                <p:nvPr/>
              </p:nvSpPr>
              <p:spPr>
                <a:xfrm>
                  <a:off x="2539047" y="5621126"/>
                  <a:ext cx="909606" cy="348364"/>
                </a:xfrm>
                <a:prstGeom prst="rect">
                  <a:avLst/>
                </a:prstGeom>
                <a:noFill/>
                <a:ln>
                  <a:noFill/>
                  <a:miter lim="800000"/>
                </a:ln>
              </p:spPr>
              <p:txBody>
                <a:bodyPr wrap="none">
                  <a:spAutoFit/>
                </a:bodyPr>
                <a:lstStyle>
                  <a:lvl1pPr marL="169863" indent="-169863" algn="l" defTabSz="684213" rtl="0" eaLnBrk="0" fontAlgn="base" hangingPunct="0">
                    <a:lnSpc>
                      <a:spcPct val="90000"/>
                    </a:lnSpc>
                    <a:spcBef>
                      <a:spcPts val="750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1pPr>
                  <a:lvl2pPr marL="512763" indent="-169863" algn="l" defTabSz="684213" rtl="0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2pPr>
                  <a:lvl3pPr marL="855663" indent="-169863" algn="l" defTabSz="684213" rtl="0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3pPr>
                  <a:lvl4pPr marL="1198563" indent="-169863" algn="l" defTabSz="684213" rtl="0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4pPr>
                  <a:lvl5pPr marL="1541463" indent="-169863" algn="l" defTabSz="684213" rtl="0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5pPr>
                  <a:lvl6pPr marL="1885903" indent="-171446" algn="l" defTabSz="6857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itchFamily="34" charset="0"/>
                    <a:buChar char="•"/>
                    <a:defRPr lang="en-US" altLang="en-US"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228795" indent="-171446" algn="l" defTabSz="6857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itchFamily="34" charset="0"/>
                    <a:buChar char="•"/>
                    <a:defRPr lang="en-US" altLang="en-US"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571686" indent="-171446" algn="l" defTabSz="6857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itchFamily="34" charset="0"/>
                    <a:buChar char="•"/>
                    <a:defRPr lang="en-US" altLang="en-US"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914577" indent="-171446" algn="l" defTabSz="6857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itchFamily="34" charset="0"/>
                    <a:buChar char="•"/>
                    <a:defRPr lang="en-US" altLang="en-US"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  <a:buNone/>
                  </a:pPr>
                  <a:r>
                    <a:rPr lang="de" sz="675">
                      <a:ln w="952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latin typeface="+mn-lt"/>
                      <a:ea typeface="Arial"/>
                      <a:cs typeface="Arial"/>
                    </a:rPr>
                    <a:t>Gesund</a:t>
                  </a:r>
                  <a:endParaRPr sz="675">
                    <a:latin typeface="+mn-lt"/>
                  </a:endParaRPr>
                </a:p>
              </p:txBody>
            </p:sp>
          </p:grpSp>
          <p:grpSp>
            <p:nvGrpSpPr>
              <p:cNvPr id="24653" name="Group 113">
                <a:extLst>
                  <a:ext uri="{FF2B5EF4-FFF2-40B4-BE49-F238E27FC236}">
                    <a16:creationId xmlns:a16="http://schemas.microsoft.com/office/drawing/2014/main" id="{0A44058C-B5D9-8F02-06A2-657B1594B9D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092783" y="5990033"/>
                <a:ext cx="1367833" cy="348364"/>
                <a:chOff x="2342461" y="5981058"/>
                <a:chExt cx="1367833" cy="348364"/>
              </a:xfrm>
            </p:grpSpPr>
            <p:sp>
              <p:nvSpPr>
                <p:cNvPr id="35993" name="TextBox 117">
                  <a:extLst>
                    <a:ext uri="{FF2B5EF4-FFF2-40B4-BE49-F238E27FC236}">
                      <a16:creationId xmlns:a16="http://schemas.microsoft.com/office/drawing/2014/main" id="{1042BFC3-1F74-28E4-DCBD-C9AB7E13CF3E}"/>
                    </a:ext>
                  </a:extLst>
                </p:cNvPr>
                <p:cNvSpPr txBox="1"/>
                <p:nvPr/>
              </p:nvSpPr>
              <p:spPr>
                <a:xfrm>
                  <a:off x="2541370" y="5981058"/>
                  <a:ext cx="1168924" cy="348364"/>
                </a:xfrm>
                <a:prstGeom prst="rect">
                  <a:avLst/>
                </a:prstGeom>
                <a:noFill/>
                <a:ln>
                  <a:noFill/>
                  <a:miter lim="800000"/>
                </a:ln>
              </p:spPr>
              <p:txBody>
                <a:bodyPr wrap="none">
                  <a:spAutoFit/>
                </a:bodyPr>
                <a:lstStyle>
                  <a:lvl1pPr marL="169863" indent="-169863" algn="l" defTabSz="684213" rtl="0" eaLnBrk="0" fontAlgn="base" hangingPunct="0">
                    <a:lnSpc>
                      <a:spcPct val="90000"/>
                    </a:lnSpc>
                    <a:spcBef>
                      <a:spcPts val="750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1pPr>
                  <a:lvl2pPr marL="512763" indent="-169863" algn="l" defTabSz="684213" rtl="0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2pPr>
                  <a:lvl3pPr marL="855663" indent="-169863" algn="l" defTabSz="684213" rtl="0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3pPr>
                  <a:lvl4pPr marL="1198563" indent="-169863" algn="l" defTabSz="684213" rtl="0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4pPr>
                  <a:lvl5pPr marL="1541463" indent="-169863" algn="l" defTabSz="684213" rtl="0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5pPr>
                  <a:lvl6pPr marL="1885903" indent="-171446" algn="l" defTabSz="6857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itchFamily="34" charset="0"/>
                    <a:buChar char="•"/>
                    <a:defRPr lang="en-US" altLang="en-US"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228795" indent="-171446" algn="l" defTabSz="6857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itchFamily="34" charset="0"/>
                    <a:buChar char="•"/>
                    <a:defRPr lang="en-US" altLang="en-US"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571686" indent="-171446" algn="l" defTabSz="6857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itchFamily="34" charset="0"/>
                    <a:buChar char="•"/>
                    <a:defRPr lang="en-US" altLang="en-US"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914577" indent="-171446" algn="l" defTabSz="6857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itchFamily="34" charset="0"/>
                    <a:buChar char="•"/>
                    <a:defRPr lang="en-US" altLang="en-US"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  <a:buNone/>
                  </a:pPr>
                  <a:r>
                    <a:rPr lang="de" sz="675">
                      <a:ln w="952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latin typeface="+mn-lt"/>
                      <a:ea typeface="Arial"/>
                      <a:cs typeface="Arial"/>
                    </a:rPr>
                    <a:t>Beschädigt</a:t>
                  </a:r>
                  <a:endParaRPr sz="675">
                    <a:latin typeface="+mn-lt"/>
                  </a:endParaRPr>
                </a:p>
              </p:txBody>
            </p:sp>
            <p:grpSp>
              <p:nvGrpSpPr>
                <p:cNvPr id="24655" name="Graphic 305">
                  <a:extLst>
                    <a:ext uri="{FF2B5EF4-FFF2-40B4-BE49-F238E27FC236}">
                      <a16:creationId xmlns:a16="http://schemas.microsoft.com/office/drawing/2014/main" id="{FC06124E-809C-D1C0-D9A8-6B85BF164B8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342461" y="5985964"/>
                  <a:ext cx="283048" cy="267245"/>
                  <a:chOff x="2342461" y="5985964"/>
                  <a:chExt cx="283048" cy="267245"/>
                </a:xfrm>
              </p:grpSpPr>
              <p:sp>
                <p:nvSpPr>
                  <p:cNvPr id="35995" name="Freeform 3">
                    <a:extLst>
                      <a:ext uri="{FF2B5EF4-FFF2-40B4-BE49-F238E27FC236}">
                        <a16:creationId xmlns:a16="http://schemas.microsoft.com/office/drawing/2014/main" id="{E51E4A10-1F1F-81B4-A50D-50F177A4853C}"/>
                      </a:ext>
                    </a:extLst>
                  </p:cNvPr>
                  <p:cNvSpPr/>
                  <p:nvPr/>
                </p:nvSpPr>
                <p:spPr>
                  <a:xfrm>
                    <a:off x="2342217" y="5985285"/>
                    <a:ext cx="283619" cy="268471"/>
                  </a:xfrm>
                  <a:custGeom>
                    <a:avLst/>
                    <a:gdLst>
                      <a:gd name="connsiteX0" fmla="*/ 95259 w 283048"/>
                      <a:gd name="connsiteY0" fmla="*/ 12522 h 267245"/>
                      <a:gd name="connsiteX1" fmla="*/ 111257 w 283048"/>
                      <a:gd name="connsiteY1" fmla="*/ 3061 h 267245"/>
                      <a:gd name="connsiteX2" fmla="*/ 136902 w 283048"/>
                      <a:gd name="connsiteY2" fmla="*/ 306 h 267245"/>
                      <a:gd name="connsiteX3" fmla="*/ 220287 w 283048"/>
                      <a:gd name="connsiteY3" fmla="*/ 31163 h 267245"/>
                      <a:gd name="connsiteX4" fmla="*/ 261307 w 283048"/>
                      <a:gd name="connsiteY4" fmla="*/ 53109 h 267245"/>
                      <a:gd name="connsiteX5" fmla="*/ 278404 w 283048"/>
                      <a:gd name="connsiteY5" fmla="*/ 66264 h 267245"/>
                      <a:gd name="connsiteX6" fmla="*/ 282862 w 283048"/>
                      <a:gd name="connsiteY6" fmla="*/ 92562 h 267245"/>
                      <a:gd name="connsiteX7" fmla="*/ 279125 w 283048"/>
                      <a:gd name="connsiteY7" fmla="*/ 144269 h 267245"/>
                      <a:gd name="connsiteX8" fmla="*/ 267804 w 283048"/>
                      <a:gd name="connsiteY8" fmla="*/ 200352 h 267245"/>
                      <a:gd name="connsiteX9" fmla="*/ 232145 w 283048"/>
                      <a:gd name="connsiteY9" fmla="*/ 243841 h 267245"/>
                      <a:gd name="connsiteX10" fmla="*/ 191845 w 283048"/>
                      <a:gd name="connsiteY10" fmla="*/ 255143 h 267245"/>
                      <a:gd name="connsiteX11" fmla="*/ 142715 w 283048"/>
                      <a:gd name="connsiteY11" fmla="*/ 263165 h 267245"/>
                      <a:gd name="connsiteX12" fmla="*/ 72288 w 283048"/>
                      <a:gd name="connsiteY12" fmla="*/ 261556 h 267245"/>
                      <a:gd name="connsiteX13" fmla="*/ 28593 w 283048"/>
                      <a:gd name="connsiteY13" fmla="*/ 222139 h 267245"/>
                      <a:gd name="connsiteX14" fmla="*/ 224 w 283048"/>
                      <a:gd name="connsiteY14" fmla="*/ 154498 h 267245"/>
                      <a:gd name="connsiteX15" fmla="*/ 29875 w 283048"/>
                      <a:gd name="connsiteY15" fmla="*/ 83613 h 267245"/>
                      <a:gd name="connsiteX16" fmla="*/ 95259 w 283048"/>
                      <a:gd name="connsiteY16" fmla="*/ 12522 h 2672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283048" h="267245">
                        <a:moveTo>
                          <a:pt x="95259" y="12522"/>
                        </a:moveTo>
                        <a:cubicBezTo>
                          <a:pt x="100136" y="8658"/>
                          <a:pt x="105519" y="5475"/>
                          <a:pt x="111257" y="3061"/>
                        </a:cubicBezTo>
                        <a:cubicBezTo>
                          <a:pt x="119341" y="-36"/>
                          <a:pt x="128244" y="-402"/>
                          <a:pt x="136902" y="306"/>
                        </a:cubicBezTo>
                        <a:cubicBezTo>
                          <a:pt x="166675" y="2744"/>
                          <a:pt x="193957" y="17094"/>
                          <a:pt x="220287" y="31163"/>
                        </a:cubicBezTo>
                        <a:lnTo>
                          <a:pt x="261307" y="53109"/>
                        </a:lnTo>
                        <a:cubicBezTo>
                          <a:pt x="267719" y="56535"/>
                          <a:pt x="274411" y="60205"/>
                          <a:pt x="278404" y="66264"/>
                        </a:cubicBezTo>
                        <a:cubicBezTo>
                          <a:pt x="283399" y="73811"/>
                          <a:pt x="283289" y="83528"/>
                          <a:pt x="282862" y="92562"/>
                        </a:cubicBezTo>
                        <a:cubicBezTo>
                          <a:pt x="282047" y="109826"/>
                          <a:pt x="280802" y="127062"/>
                          <a:pt x="279125" y="144269"/>
                        </a:cubicBezTo>
                        <a:cubicBezTo>
                          <a:pt x="277232" y="163300"/>
                          <a:pt x="274753" y="182515"/>
                          <a:pt x="267804" y="200352"/>
                        </a:cubicBezTo>
                        <a:cubicBezTo>
                          <a:pt x="260856" y="218189"/>
                          <a:pt x="248973" y="234709"/>
                          <a:pt x="232145" y="243841"/>
                        </a:cubicBezTo>
                        <a:cubicBezTo>
                          <a:pt x="219810" y="250534"/>
                          <a:pt x="205669" y="252887"/>
                          <a:pt x="191845" y="255143"/>
                        </a:cubicBezTo>
                        <a:lnTo>
                          <a:pt x="142715" y="263165"/>
                        </a:lnTo>
                        <a:cubicBezTo>
                          <a:pt x="119207" y="267006"/>
                          <a:pt x="94270" y="270663"/>
                          <a:pt x="72288" y="261556"/>
                        </a:cubicBezTo>
                        <a:cubicBezTo>
                          <a:pt x="53970" y="253960"/>
                          <a:pt x="40097" y="238391"/>
                          <a:pt x="28593" y="222139"/>
                        </a:cubicBezTo>
                        <a:cubicBezTo>
                          <a:pt x="14268" y="201949"/>
                          <a:pt x="2178" y="179223"/>
                          <a:pt x="224" y="154498"/>
                        </a:cubicBezTo>
                        <a:cubicBezTo>
                          <a:pt x="-2133" y="124457"/>
                          <a:pt x="14549" y="106717"/>
                          <a:pt x="29875" y="83613"/>
                        </a:cubicBezTo>
                        <a:cubicBezTo>
                          <a:pt x="48022" y="56255"/>
                          <a:pt x="68649" y="32212"/>
                          <a:pt x="95259" y="12522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 w="7204" cap="flat">
                    <a:solidFill>
                      <a:srgbClr val="585863"/>
                    </a:solidFill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/>
                  </a:p>
                </p:txBody>
              </p:sp>
              <p:sp>
                <p:nvSpPr>
                  <p:cNvPr id="35996" name="Freeform 4">
                    <a:extLst>
                      <a:ext uri="{FF2B5EF4-FFF2-40B4-BE49-F238E27FC236}">
                        <a16:creationId xmlns:a16="http://schemas.microsoft.com/office/drawing/2014/main" id="{EBE03A1C-5B56-3BFD-7DE1-1576E48E302D}"/>
                      </a:ext>
                    </a:extLst>
                  </p:cNvPr>
                  <p:cNvSpPr/>
                  <p:nvPr/>
                </p:nvSpPr>
                <p:spPr>
                  <a:xfrm>
                    <a:off x="2426879" y="6071957"/>
                    <a:ext cx="122760" cy="133178"/>
                  </a:xfrm>
                  <a:custGeom>
                    <a:avLst/>
                    <a:gdLst>
                      <a:gd name="connsiteX0" fmla="*/ 120900 w 120900"/>
                      <a:gd name="connsiteY0" fmla="*/ 67056 h 134112"/>
                      <a:gd name="connsiteX1" fmla="*/ 60450 w 120900"/>
                      <a:gd name="connsiteY1" fmla="*/ 134112 h 134112"/>
                      <a:gd name="connsiteX2" fmla="*/ 0 w 120900"/>
                      <a:gd name="connsiteY2" fmla="*/ 67056 h 134112"/>
                      <a:gd name="connsiteX3" fmla="*/ 60450 w 120900"/>
                      <a:gd name="connsiteY3" fmla="*/ 0 h 134112"/>
                      <a:gd name="connsiteX4" fmla="*/ 120900 w 120900"/>
                      <a:gd name="connsiteY4" fmla="*/ 67056 h 1341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900" h="134112">
                        <a:moveTo>
                          <a:pt x="120900" y="67056"/>
                        </a:moveTo>
                        <a:cubicBezTo>
                          <a:pt x="120900" y="104090"/>
                          <a:pt x="93836" y="134112"/>
                          <a:pt x="60450" y="134112"/>
                        </a:cubicBezTo>
                        <a:cubicBezTo>
                          <a:pt x="27064" y="134112"/>
                          <a:pt x="0" y="104090"/>
                          <a:pt x="0" y="67056"/>
                        </a:cubicBezTo>
                        <a:cubicBezTo>
                          <a:pt x="0" y="30022"/>
                          <a:pt x="27064" y="0"/>
                          <a:pt x="60450" y="0"/>
                        </a:cubicBezTo>
                        <a:cubicBezTo>
                          <a:pt x="93836" y="0"/>
                          <a:pt x="120900" y="30022"/>
                          <a:pt x="120900" y="67056"/>
                        </a:cubicBezTo>
                        <a:close/>
                      </a:path>
                    </a:pathLst>
                  </a:custGeom>
                  <a:solidFill>
                    <a:srgbClr val="E3E7F7">
                      <a:alpha val="48000"/>
                    </a:srgbClr>
                  </a:solidFill>
                  <a:ln w="1201" cap="flat">
                    <a:noFill/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/>
                  </a:p>
                </p:txBody>
              </p:sp>
              <p:sp>
                <p:nvSpPr>
                  <p:cNvPr id="35997" name="Freeform 5">
                    <a:extLst>
                      <a:ext uri="{FF2B5EF4-FFF2-40B4-BE49-F238E27FC236}">
                        <a16:creationId xmlns:a16="http://schemas.microsoft.com/office/drawing/2014/main" id="{FF5C4A87-18AC-D982-D648-0CF140BDE2D9}"/>
                      </a:ext>
                    </a:extLst>
                  </p:cNvPr>
                  <p:cNvSpPr/>
                  <p:nvPr/>
                </p:nvSpPr>
                <p:spPr>
                  <a:xfrm>
                    <a:off x="2532707" y="6027564"/>
                    <a:ext cx="69847" cy="118381"/>
                  </a:xfrm>
                  <a:custGeom>
                    <a:avLst/>
                    <a:gdLst>
                      <a:gd name="connsiteX0" fmla="*/ 53880 w 69942"/>
                      <a:gd name="connsiteY0" fmla="*/ 24616 h 117152"/>
                      <a:gd name="connsiteX1" fmla="*/ 68022 w 69942"/>
                      <a:gd name="connsiteY1" fmla="*/ 36040 h 117152"/>
                      <a:gd name="connsiteX2" fmla="*/ 69707 w 69942"/>
                      <a:gd name="connsiteY2" fmla="*/ 46732 h 117152"/>
                      <a:gd name="connsiteX3" fmla="*/ 63467 w 69942"/>
                      <a:gd name="connsiteY3" fmla="*/ 117153 h 117152"/>
                      <a:gd name="connsiteX4" fmla="*/ 56872 w 69942"/>
                      <a:gd name="connsiteY4" fmla="*/ 60314 h 117152"/>
                      <a:gd name="connsiteX5" fmla="*/ 30530 w 69942"/>
                      <a:gd name="connsiteY5" fmla="*/ 29175 h 117152"/>
                      <a:gd name="connsiteX6" fmla="*/ 0 w 69942"/>
                      <a:gd name="connsiteY6" fmla="*/ 0 h 117152"/>
                      <a:gd name="connsiteX7" fmla="*/ 53880 w 69942"/>
                      <a:gd name="connsiteY7" fmla="*/ 24616 h 1171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9942" h="117152">
                        <a:moveTo>
                          <a:pt x="53880" y="24616"/>
                        </a:moveTo>
                        <a:cubicBezTo>
                          <a:pt x="59461" y="27286"/>
                          <a:pt x="65457" y="30407"/>
                          <a:pt x="68022" y="36040"/>
                        </a:cubicBezTo>
                        <a:cubicBezTo>
                          <a:pt x="69524" y="39344"/>
                          <a:pt x="69634" y="43099"/>
                          <a:pt x="69707" y="46732"/>
                        </a:cubicBezTo>
                        <a:cubicBezTo>
                          <a:pt x="70195" y="70409"/>
                          <a:pt x="70611" y="94573"/>
                          <a:pt x="63467" y="117153"/>
                        </a:cubicBezTo>
                        <a:cubicBezTo>
                          <a:pt x="57360" y="98975"/>
                          <a:pt x="63467" y="78321"/>
                          <a:pt x="56872" y="60314"/>
                        </a:cubicBezTo>
                        <a:cubicBezTo>
                          <a:pt x="52036" y="47098"/>
                          <a:pt x="41240" y="37710"/>
                          <a:pt x="30530" y="29175"/>
                        </a:cubicBezTo>
                        <a:cubicBezTo>
                          <a:pt x="21139" y="21702"/>
                          <a:pt x="3664" y="11875"/>
                          <a:pt x="0" y="0"/>
                        </a:cubicBezTo>
                        <a:cubicBezTo>
                          <a:pt x="18147" y="4487"/>
                          <a:pt x="36930" y="16471"/>
                          <a:pt x="53880" y="246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201" cap="flat">
                    <a:noFill/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/>
                  </a:p>
                </p:txBody>
              </p:sp>
            </p:grpSp>
          </p:grpSp>
          <p:sp>
            <p:nvSpPr>
              <p:cNvPr id="35992" name="TextBox 116">
                <a:extLst>
                  <a:ext uri="{FF2B5EF4-FFF2-40B4-BE49-F238E27FC236}">
                    <a16:creationId xmlns:a16="http://schemas.microsoft.com/office/drawing/2014/main" id="{7BC92201-6AE0-00A1-6439-002AC9F7573E}"/>
                  </a:ext>
                </a:extLst>
              </p:cNvPr>
              <p:cNvSpPr txBox="1"/>
              <p:nvPr/>
            </p:nvSpPr>
            <p:spPr>
              <a:xfrm>
                <a:off x="2113704" y="5622206"/>
                <a:ext cx="1228766" cy="348365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  <p:txBody>
              <a:bodyPr wrap="none">
                <a:spAutoFit/>
              </a:bodyPr>
              <a:lstStyle>
                <a:lvl1pPr marL="169863" indent="-169863" algn="l" defTabSz="684213" rtl="0" eaLnBrk="0" fontAlgn="base" hangingPunct="0">
                  <a:lnSpc>
                    <a:spcPct val="90000"/>
                  </a:lnSpc>
                  <a:spcBef>
                    <a:spcPts val="750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5127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8556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11985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15414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1885903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795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686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77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None/>
                </a:pPr>
                <a:r>
                  <a:rPr lang="de" sz="675" b="1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latin typeface="+mn-lt"/>
                    <a:ea typeface="Arial"/>
                    <a:cs typeface="Arial"/>
                  </a:rPr>
                  <a:t>Betazellen</a:t>
                </a:r>
                <a:endParaRPr sz="675" b="1">
                  <a:latin typeface="+mn-lt"/>
                </a:endParaRPr>
              </a:p>
            </p:txBody>
          </p:sp>
        </p:grpSp>
        <p:sp>
          <p:nvSpPr>
            <p:cNvPr id="35985" name="Freeform 310">
              <a:extLst>
                <a:ext uri="{FF2B5EF4-FFF2-40B4-BE49-F238E27FC236}">
                  <a16:creationId xmlns:a16="http://schemas.microsoft.com/office/drawing/2014/main" id="{C6B17D51-35F3-7873-09E6-F83F86CEDB08}"/>
                </a:ext>
              </a:extLst>
            </p:cNvPr>
            <p:cNvSpPr/>
            <p:nvPr/>
          </p:nvSpPr>
          <p:spPr>
            <a:xfrm rot="5400000">
              <a:off x="2260142" y="4411155"/>
              <a:ext cx="61304" cy="3011869"/>
            </a:xfrm>
            <a:custGeom>
              <a:avLst/>
              <a:gdLst>
                <a:gd name="connsiteX0" fmla="*/ 185980 w 185980"/>
                <a:gd name="connsiteY0" fmla="*/ 0 h 1015139"/>
                <a:gd name="connsiteX1" fmla="*/ 0 w 185980"/>
                <a:gd name="connsiteY1" fmla="*/ 0 h 1015139"/>
                <a:gd name="connsiteX2" fmla="*/ 0 w 185980"/>
                <a:gd name="connsiteY2" fmla="*/ 1015139 h 1015139"/>
                <a:gd name="connsiteX3" fmla="*/ 185980 w 185980"/>
                <a:gd name="connsiteY3" fmla="*/ 1015139 h 1015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980" h="1015139">
                  <a:moveTo>
                    <a:pt x="185980" y="0"/>
                  </a:moveTo>
                  <a:lnTo>
                    <a:pt x="0" y="0"/>
                  </a:lnTo>
                  <a:lnTo>
                    <a:pt x="0" y="1015139"/>
                  </a:lnTo>
                  <a:lnTo>
                    <a:pt x="185980" y="1015139"/>
                  </a:lnTo>
                </a:path>
              </a:pathLst>
            </a:custGeom>
            <a:noFill/>
            <a:ln w="9525" cap="flat" cmpd="sng" algn="ctr">
              <a:solidFill>
                <a:srgbClr val="BFBFB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 defTabSz="514337"/>
              <a:endParaRPr lang="en-US" sz="1013">
                <a:solidFill>
                  <a:srgbClr val="FFFFFF"/>
                </a:solidFill>
              </a:endParaRPr>
            </a:p>
          </p:txBody>
        </p:sp>
        <p:pic>
          <p:nvPicPr>
            <p:cNvPr id="24661" name="Graphic 105">
              <a:extLst>
                <a:ext uri="{FF2B5EF4-FFF2-40B4-BE49-F238E27FC236}">
                  <a16:creationId xmlns:a16="http://schemas.microsoft.com/office/drawing/2014/main" id="{416D6CDC-237F-BB07-49DD-83D14947C6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8069" y="5987906"/>
              <a:ext cx="289968" cy="2748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987" name="TextBox 106">
              <a:extLst>
                <a:ext uri="{FF2B5EF4-FFF2-40B4-BE49-F238E27FC236}">
                  <a16:creationId xmlns:a16="http://schemas.microsoft.com/office/drawing/2014/main" id="{5FE45DB4-8D49-4FAB-0E2B-C551E3157216}"/>
                </a:ext>
              </a:extLst>
            </p:cNvPr>
            <p:cNvSpPr txBox="1"/>
            <p:nvPr/>
          </p:nvSpPr>
          <p:spPr>
            <a:xfrm>
              <a:off x="3301452" y="5992133"/>
              <a:ext cx="576199" cy="348365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>
              <a:spAutoFit/>
            </a:bodyPr>
            <a:lstStyle>
              <a:lvl1pPr marL="169863" indent="-169863" algn="l" defTabSz="684213" rtl="0" eaLnBrk="0" fontAlgn="base" hangingPunct="0">
                <a:lnSpc>
                  <a:spcPct val="90000"/>
                </a:lnSpc>
                <a:spcBef>
                  <a:spcPts val="750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Arial" pitchFamily="34" charset="0"/>
                <a:buChar char="•"/>
                <a:defRPr kumimoji="0" lang="en-US" altLang="en-US" sz="1400" b="0" i="0" u="none" kern="1200" baseline="0">
                  <a:solidFill>
                    <a:srgbClr val="404040"/>
                  </a:solidFill>
                  <a:effectLst/>
                  <a:latin typeface="Arial" pitchFamily="34" charset="0"/>
                  <a:ea typeface="+mn-ea"/>
                  <a:cs typeface="Arial" pitchFamily="34" charset="0"/>
                </a:defRPr>
              </a:lvl1pPr>
              <a:lvl2pPr marL="512763" indent="-169863" algn="l" defTabSz="684213" rtl="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Arial" pitchFamily="34" charset="0"/>
                <a:buChar char="•"/>
                <a:defRPr kumimoji="0" lang="en-US" altLang="en-US" sz="1400" b="0" i="0" u="none" kern="1200" baseline="0">
                  <a:solidFill>
                    <a:srgbClr val="404040"/>
                  </a:solidFill>
                  <a:effectLst/>
                  <a:latin typeface="Arial" pitchFamily="34" charset="0"/>
                  <a:ea typeface="+mn-ea"/>
                  <a:cs typeface="Arial" pitchFamily="34" charset="0"/>
                </a:defRPr>
              </a:lvl2pPr>
              <a:lvl3pPr marL="855663" indent="-169863" algn="l" defTabSz="684213" rtl="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Arial" pitchFamily="34" charset="0"/>
                <a:buChar char="•"/>
                <a:defRPr kumimoji="0" lang="en-US" altLang="en-US" sz="1400" b="0" i="0" u="none" kern="1200" baseline="0">
                  <a:solidFill>
                    <a:srgbClr val="404040"/>
                  </a:solidFill>
                  <a:effectLst/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198563" indent="-169863" algn="l" defTabSz="684213" rtl="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Arial" pitchFamily="34" charset="0"/>
                <a:buChar char="•"/>
                <a:defRPr kumimoji="0" lang="en-US" altLang="en-US" sz="1400" b="0" i="0" u="none" kern="1200" baseline="0">
                  <a:solidFill>
                    <a:srgbClr val="404040"/>
                  </a:solidFill>
                  <a:effectLst/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541463" indent="-169863" algn="l" defTabSz="684213" rtl="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Arial" pitchFamily="34" charset="0"/>
                <a:buChar char="•"/>
                <a:defRPr kumimoji="0" lang="en-US" altLang="en-US" sz="1400" b="0" i="0" u="none" kern="1200" baseline="0">
                  <a:solidFill>
                    <a:srgbClr val="404040"/>
                  </a:solidFill>
                  <a:effectLst/>
                  <a:latin typeface="Arial" pitchFamily="34" charset="0"/>
                  <a:ea typeface="+mn-ea"/>
                  <a:cs typeface="Arial" pitchFamily="34" charset="0"/>
                </a:defRPr>
              </a:lvl5pPr>
              <a:lvl6pPr marL="1885903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itchFamily="34" charset="0"/>
                <a:buChar char="•"/>
                <a:defRPr lang="en-US" altLang="en-US"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itchFamily="34" charset="0"/>
                <a:buChar char="•"/>
                <a:defRPr lang="en-US" altLang="en-US"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itchFamily="34" charset="0"/>
                <a:buChar char="•"/>
                <a:defRPr lang="en-US" altLang="en-US"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itchFamily="34" charset="0"/>
                <a:buChar char="•"/>
                <a:defRPr lang="en-US" altLang="en-US"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eaLnBrk="1" hangingPunct="1">
                <a:lnSpc>
                  <a:spcPct val="100000"/>
                </a:lnSpc>
                <a:spcBef>
                  <a:spcPct val="0"/>
                </a:spcBef>
                <a:buClrTx/>
                <a:buNone/>
              </a:pPr>
              <a:r>
                <a:rPr lang="de" sz="675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latin typeface="+mn-lt"/>
                  <a:ea typeface="Arial"/>
                  <a:cs typeface="Arial"/>
                </a:rPr>
                <a:t>Tot</a:t>
              </a:r>
              <a:endParaRPr sz="675">
                <a:latin typeface="+mn-lt"/>
              </a:endParaRPr>
            </a:p>
          </p:txBody>
        </p:sp>
        <p:sp>
          <p:nvSpPr>
            <p:cNvPr id="35988" name="Freeform 676">
              <a:extLst>
                <a:ext uri="{FF2B5EF4-FFF2-40B4-BE49-F238E27FC236}">
                  <a16:creationId xmlns:a16="http://schemas.microsoft.com/office/drawing/2014/main" id="{A9407189-EAFE-89FA-63A0-BF3B457C001E}"/>
                </a:ext>
              </a:extLst>
            </p:cNvPr>
            <p:cNvSpPr/>
            <p:nvPr/>
          </p:nvSpPr>
          <p:spPr>
            <a:xfrm rot="960000">
              <a:off x="7473199" y="6087261"/>
              <a:ext cx="31748" cy="42279"/>
            </a:xfrm>
            <a:custGeom>
              <a:avLst/>
              <a:gdLst>
                <a:gd name="connsiteX0" fmla="*/ 0 w 96767"/>
                <a:gd name="connsiteY0" fmla="*/ 150303 h 150303"/>
                <a:gd name="connsiteX1" fmla="*/ 70960 w 96767"/>
                <a:gd name="connsiteY1" fmla="*/ 66010 h 150303"/>
                <a:gd name="connsiteX2" fmla="*/ 96767 w 96767"/>
                <a:gd name="connsiteY2" fmla="*/ 0 h 150303"/>
                <a:gd name="connsiteX3" fmla="*/ 47276 w 96767"/>
                <a:gd name="connsiteY3" fmla="*/ 73536 h 150303"/>
                <a:gd name="connsiteX4" fmla="*/ 23277 w 96767"/>
                <a:gd name="connsiteY4" fmla="*/ 111682 h 150303"/>
                <a:gd name="connsiteX5" fmla="*/ 0 w 96767"/>
                <a:gd name="connsiteY5" fmla="*/ 150303 h 15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767" h="150303">
                  <a:moveTo>
                    <a:pt x="0" y="150303"/>
                  </a:moveTo>
                  <a:cubicBezTo>
                    <a:pt x="27276" y="125445"/>
                    <a:pt x="55163" y="99434"/>
                    <a:pt x="70960" y="66010"/>
                  </a:cubicBezTo>
                  <a:cubicBezTo>
                    <a:pt x="80587" y="45672"/>
                    <a:pt x="91095" y="21695"/>
                    <a:pt x="96767" y="0"/>
                  </a:cubicBezTo>
                  <a:cubicBezTo>
                    <a:pt x="78688" y="23051"/>
                    <a:pt x="63095" y="48971"/>
                    <a:pt x="47276" y="73536"/>
                  </a:cubicBezTo>
                  <a:cubicBezTo>
                    <a:pt x="39170" y="86191"/>
                    <a:pt x="31170" y="98906"/>
                    <a:pt x="23277" y="111682"/>
                  </a:cubicBezTo>
                  <a:cubicBezTo>
                    <a:pt x="16474" y="122733"/>
                    <a:pt x="9446" y="141625"/>
                    <a:pt x="0" y="150303"/>
                  </a:cubicBezTo>
                  <a:close/>
                </a:path>
              </a:pathLst>
            </a:custGeom>
            <a:solidFill>
              <a:srgbClr val="FFFFFF"/>
            </a:solidFill>
            <a:ln w="2228" cap="flat">
              <a:noFill/>
              <a:prstDash val="solid"/>
              <a:miter/>
            </a:ln>
          </p:spPr>
          <p:txBody>
            <a:bodyPr anchor="ctr"/>
            <a:lstStyle/>
            <a:p>
              <a:pPr defTabSz="514337"/>
              <a:endParaRPr lang="en-US" sz="1013">
                <a:solidFill>
                  <a:srgbClr val="000000">
                    <a:lumMod val="75000"/>
                    <a:lumOff val="25000"/>
                  </a:srgbClr>
                </a:solidFill>
              </a:endParaRPr>
            </a:p>
          </p:txBody>
        </p:sp>
        <p:sp>
          <p:nvSpPr>
            <p:cNvPr id="35989" name="TextBox 110">
              <a:extLst>
                <a:ext uri="{FF2B5EF4-FFF2-40B4-BE49-F238E27FC236}">
                  <a16:creationId xmlns:a16="http://schemas.microsoft.com/office/drawing/2014/main" id="{1F825983-E975-615D-C219-29294BFF8D34}"/>
                </a:ext>
              </a:extLst>
            </p:cNvPr>
            <p:cNvSpPr txBox="1"/>
            <p:nvPr/>
          </p:nvSpPr>
          <p:spPr>
            <a:xfrm>
              <a:off x="7900696" y="5990018"/>
              <a:ext cx="1479535" cy="348365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>
              <a:spAutoFit/>
            </a:bodyPr>
            <a:lstStyle>
              <a:lvl1pPr marL="169863" indent="-169863" algn="l" defTabSz="684213" rtl="0" eaLnBrk="0" fontAlgn="base" hangingPunct="0">
                <a:lnSpc>
                  <a:spcPct val="90000"/>
                </a:lnSpc>
                <a:spcBef>
                  <a:spcPts val="750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Arial" pitchFamily="34" charset="0"/>
                <a:buChar char="•"/>
                <a:defRPr kumimoji="0" lang="en-US" altLang="en-US" sz="1400" b="0" i="0" u="none" kern="1200" baseline="0">
                  <a:solidFill>
                    <a:srgbClr val="404040"/>
                  </a:solidFill>
                  <a:effectLst/>
                  <a:latin typeface="Arial" pitchFamily="34" charset="0"/>
                  <a:ea typeface="+mn-ea"/>
                  <a:cs typeface="Arial" pitchFamily="34" charset="0"/>
                </a:defRPr>
              </a:lvl1pPr>
              <a:lvl2pPr marL="512763" indent="-169863" algn="l" defTabSz="684213" rtl="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Arial" pitchFamily="34" charset="0"/>
                <a:buChar char="•"/>
                <a:defRPr kumimoji="0" lang="en-US" altLang="en-US" sz="1400" b="0" i="0" u="none" kern="1200" baseline="0">
                  <a:solidFill>
                    <a:srgbClr val="404040"/>
                  </a:solidFill>
                  <a:effectLst/>
                  <a:latin typeface="Arial" pitchFamily="34" charset="0"/>
                  <a:ea typeface="+mn-ea"/>
                  <a:cs typeface="Arial" pitchFamily="34" charset="0"/>
                </a:defRPr>
              </a:lvl2pPr>
              <a:lvl3pPr marL="855663" indent="-169863" algn="l" defTabSz="684213" rtl="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Arial" pitchFamily="34" charset="0"/>
                <a:buChar char="•"/>
                <a:defRPr kumimoji="0" lang="en-US" altLang="en-US" sz="1400" b="0" i="0" u="none" kern="1200" baseline="0">
                  <a:solidFill>
                    <a:srgbClr val="404040"/>
                  </a:solidFill>
                  <a:effectLst/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198563" indent="-169863" algn="l" defTabSz="684213" rtl="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Arial" pitchFamily="34" charset="0"/>
                <a:buChar char="•"/>
                <a:defRPr kumimoji="0" lang="en-US" altLang="en-US" sz="1400" b="0" i="0" u="none" kern="1200" baseline="0">
                  <a:solidFill>
                    <a:srgbClr val="404040"/>
                  </a:solidFill>
                  <a:effectLst/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541463" indent="-169863" algn="l" defTabSz="684213" rtl="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Arial" pitchFamily="34" charset="0"/>
                <a:buChar char="•"/>
                <a:defRPr kumimoji="0" lang="en-US" altLang="en-US" sz="1400" b="0" i="0" u="none" kern="1200" baseline="0">
                  <a:solidFill>
                    <a:srgbClr val="404040"/>
                  </a:solidFill>
                  <a:effectLst/>
                  <a:latin typeface="Arial" pitchFamily="34" charset="0"/>
                  <a:ea typeface="+mn-ea"/>
                  <a:cs typeface="Arial" pitchFamily="34" charset="0"/>
                </a:defRPr>
              </a:lvl5pPr>
              <a:lvl6pPr marL="1885903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itchFamily="34" charset="0"/>
                <a:buChar char="•"/>
                <a:defRPr lang="en-US" altLang="en-US"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itchFamily="34" charset="0"/>
                <a:buChar char="•"/>
                <a:defRPr lang="en-US" altLang="en-US"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itchFamily="34" charset="0"/>
                <a:buChar char="•"/>
                <a:defRPr lang="en-US" altLang="en-US"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itchFamily="34" charset="0"/>
                <a:buChar char="•"/>
                <a:defRPr lang="en-US" altLang="en-US"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eaLnBrk="1" hangingPunct="1">
                <a:lnSpc>
                  <a:spcPct val="100000"/>
                </a:lnSpc>
                <a:spcBef>
                  <a:spcPct val="0"/>
                </a:spcBef>
                <a:buClrTx/>
                <a:buNone/>
              </a:pPr>
              <a:r>
                <a:rPr lang="de" sz="675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latin typeface="+mn-lt"/>
                  <a:ea typeface="Arial"/>
                  <a:cs typeface="Arial"/>
                </a:rPr>
                <a:t>Autoantikörper</a:t>
              </a:r>
              <a:endParaRPr sz="675">
                <a:latin typeface="+mn-lt"/>
              </a:endParaRPr>
            </a:p>
          </p:txBody>
        </p:sp>
      </p:grpSp>
      <p:grpSp>
        <p:nvGrpSpPr>
          <p:cNvPr id="24665" name="Group 1875">
            <a:extLst>
              <a:ext uri="{FF2B5EF4-FFF2-40B4-BE49-F238E27FC236}">
                <a16:creationId xmlns:a16="http://schemas.microsoft.com/office/drawing/2014/main" id="{01A862AD-8822-F9A6-2B01-AF819DAA47B3}"/>
              </a:ext>
            </a:extLst>
          </p:cNvPr>
          <p:cNvGrpSpPr>
            <a:grpSpLocks/>
          </p:cNvGrpSpPr>
          <p:nvPr/>
        </p:nvGrpSpPr>
        <p:grpSpPr bwMode="auto">
          <a:xfrm>
            <a:off x="5449786" y="3673079"/>
            <a:ext cx="176213" cy="129778"/>
            <a:chOff x="4838046" y="5925384"/>
            <a:chExt cx="313545" cy="230188"/>
          </a:xfrm>
        </p:grpSpPr>
        <p:pic>
          <p:nvPicPr>
            <p:cNvPr id="24666" name="Graphic 1876">
              <a:extLst>
                <a:ext uri="{FF2B5EF4-FFF2-40B4-BE49-F238E27FC236}">
                  <a16:creationId xmlns:a16="http://schemas.microsoft.com/office/drawing/2014/main" id="{B0859057-1CD9-E6FF-1585-9F1954ABAD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4820000">
              <a:off x="4844614" y="6003289"/>
              <a:ext cx="133044" cy="1461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667" name="Graphic 1877">
              <a:extLst>
                <a:ext uri="{FF2B5EF4-FFF2-40B4-BE49-F238E27FC236}">
                  <a16:creationId xmlns:a16="http://schemas.microsoft.com/office/drawing/2014/main" id="{F8E51C36-FE17-3129-0E99-E7BD74FC17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1400000">
              <a:off x="4973633" y="5925384"/>
              <a:ext cx="146180" cy="1330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668" name="Graphic 1878">
              <a:extLst>
                <a:ext uri="{FF2B5EF4-FFF2-40B4-BE49-F238E27FC236}">
                  <a16:creationId xmlns:a16="http://schemas.microsoft.com/office/drawing/2014/main" id="{3E160980-1DBF-7B2E-EDAD-BD3842EB0E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740000">
              <a:off x="5005412" y="6022528"/>
              <a:ext cx="146179" cy="1330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4669" name="Group 1901">
            <a:extLst>
              <a:ext uri="{FF2B5EF4-FFF2-40B4-BE49-F238E27FC236}">
                <a16:creationId xmlns:a16="http://schemas.microsoft.com/office/drawing/2014/main" id="{7A9ACFC5-2A5C-ED49-6917-A758FF7B7B8C}"/>
              </a:ext>
            </a:extLst>
          </p:cNvPr>
          <p:cNvGrpSpPr>
            <a:grpSpLocks/>
          </p:cNvGrpSpPr>
          <p:nvPr/>
        </p:nvGrpSpPr>
        <p:grpSpPr bwMode="auto">
          <a:xfrm>
            <a:off x="2582466" y="2116931"/>
            <a:ext cx="785813" cy="1039416"/>
            <a:chOff x="2559939" y="2621153"/>
            <a:chExt cx="1396121" cy="1846546"/>
          </a:xfrm>
        </p:grpSpPr>
        <p:grpSp>
          <p:nvGrpSpPr>
            <p:cNvPr id="24670" name="Group 38">
              <a:extLst>
                <a:ext uri="{FF2B5EF4-FFF2-40B4-BE49-F238E27FC236}">
                  <a16:creationId xmlns:a16="http://schemas.microsoft.com/office/drawing/2014/main" id="{BE5CFE6D-7B64-AACB-A2F5-990EACBE8C6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566771" y="2621363"/>
              <a:ext cx="1389289" cy="1846336"/>
              <a:chOff x="2566771" y="2621363"/>
              <a:chExt cx="1389289" cy="1846336"/>
            </a:xfrm>
          </p:grpSpPr>
          <p:grpSp>
            <p:nvGrpSpPr>
              <p:cNvPr id="24671" name="Graphic 158">
                <a:extLst>
                  <a:ext uri="{FF2B5EF4-FFF2-40B4-BE49-F238E27FC236}">
                    <a16:creationId xmlns:a16="http://schemas.microsoft.com/office/drawing/2014/main" id="{63952433-2C27-EF2E-FB2D-643E77BDA8E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566771" y="2621363"/>
                <a:ext cx="457210" cy="435449"/>
                <a:chOff x="2566771" y="2621363"/>
                <a:chExt cx="457210" cy="435449"/>
              </a:xfrm>
            </p:grpSpPr>
            <p:sp>
              <p:nvSpPr>
                <p:cNvPr id="35976" name="Freeform 8">
                  <a:extLst>
                    <a:ext uri="{FF2B5EF4-FFF2-40B4-BE49-F238E27FC236}">
                      <a16:creationId xmlns:a16="http://schemas.microsoft.com/office/drawing/2014/main" id="{9EC89D49-C776-FDEB-C51C-4577133BFEAB}"/>
                    </a:ext>
                  </a:extLst>
                </p:cNvPr>
                <p:cNvSpPr/>
                <p:nvPr/>
              </p:nvSpPr>
              <p:spPr>
                <a:xfrm>
                  <a:off x="2566285" y="2621152"/>
                  <a:ext cx="456913" cy="435726"/>
                </a:xfrm>
                <a:custGeom>
                  <a:avLst/>
                  <a:gdLst>
                    <a:gd name="connsiteX0" fmla="*/ 153872 w 457210"/>
                    <a:gd name="connsiteY0" fmla="*/ 20403 h 435449"/>
                    <a:gd name="connsiteX1" fmla="*/ 179714 w 457210"/>
                    <a:gd name="connsiteY1" fmla="*/ 4987 h 435449"/>
                    <a:gd name="connsiteX2" fmla="*/ 221139 w 457210"/>
                    <a:gd name="connsiteY2" fmla="*/ 498 h 435449"/>
                    <a:gd name="connsiteX3" fmla="*/ 355831 w 457210"/>
                    <a:gd name="connsiteY3" fmla="*/ 50778 h 435449"/>
                    <a:gd name="connsiteX4" fmla="*/ 422092 w 457210"/>
                    <a:gd name="connsiteY4" fmla="*/ 86536 h 435449"/>
                    <a:gd name="connsiteX5" fmla="*/ 449709 w 457210"/>
                    <a:gd name="connsiteY5" fmla="*/ 107971 h 435449"/>
                    <a:gd name="connsiteX6" fmla="*/ 456909 w 457210"/>
                    <a:gd name="connsiteY6" fmla="*/ 150821 h 435449"/>
                    <a:gd name="connsiteX7" fmla="*/ 450873 w 457210"/>
                    <a:gd name="connsiteY7" fmla="*/ 235071 h 435449"/>
                    <a:gd name="connsiteX8" fmla="*/ 432587 w 457210"/>
                    <a:gd name="connsiteY8" fmla="*/ 326453 h 435449"/>
                    <a:gd name="connsiteX9" fmla="*/ 374986 w 457210"/>
                    <a:gd name="connsiteY9" fmla="*/ 397314 h 435449"/>
                    <a:gd name="connsiteX10" fmla="*/ 309888 w 457210"/>
                    <a:gd name="connsiteY10" fmla="*/ 415730 h 435449"/>
                    <a:gd name="connsiteX11" fmla="*/ 230529 w 457210"/>
                    <a:gd name="connsiteY11" fmla="*/ 428801 h 435449"/>
                    <a:gd name="connsiteX12" fmla="*/ 116767 w 457210"/>
                    <a:gd name="connsiteY12" fmla="*/ 426179 h 435449"/>
                    <a:gd name="connsiteX13" fmla="*/ 46186 w 457210"/>
                    <a:gd name="connsiteY13" fmla="*/ 361953 h 435449"/>
                    <a:gd name="connsiteX14" fmla="*/ 362 w 457210"/>
                    <a:gd name="connsiteY14" fmla="*/ 251739 h 435449"/>
                    <a:gd name="connsiteX15" fmla="*/ 48257 w 457210"/>
                    <a:gd name="connsiteY15" fmla="*/ 136240 h 435449"/>
                    <a:gd name="connsiteX16" fmla="*/ 153872 w 457210"/>
                    <a:gd name="connsiteY16" fmla="*/ 20403 h 4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57210" h="435449">
                      <a:moveTo>
                        <a:pt x="153872" y="20403"/>
                      </a:moveTo>
                      <a:cubicBezTo>
                        <a:pt x="161751" y="14107"/>
                        <a:pt x="170445" y="8921"/>
                        <a:pt x="179714" y="4987"/>
                      </a:cubicBezTo>
                      <a:cubicBezTo>
                        <a:pt x="192773" y="-58"/>
                        <a:pt x="207153" y="-654"/>
                        <a:pt x="221139" y="498"/>
                      </a:cubicBezTo>
                      <a:cubicBezTo>
                        <a:pt x="269232" y="4471"/>
                        <a:pt x="313301" y="27853"/>
                        <a:pt x="355831" y="50778"/>
                      </a:cubicBezTo>
                      <a:lnTo>
                        <a:pt x="422092" y="86536"/>
                      </a:lnTo>
                      <a:cubicBezTo>
                        <a:pt x="432449" y="92118"/>
                        <a:pt x="443259" y="98098"/>
                        <a:pt x="449709" y="107971"/>
                      </a:cubicBezTo>
                      <a:cubicBezTo>
                        <a:pt x="457777" y="120268"/>
                        <a:pt x="457600" y="136101"/>
                        <a:pt x="456909" y="150821"/>
                      </a:cubicBezTo>
                      <a:cubicBezTo>
                        <a:pt x="455593" y="178951"/>
                        <a:pt x="453581" y="207035"/>
                        <a:pt x="450873" y="235071"/>
                      </a:cubicBezTo>
                      <a:cubicBezTo>
                        <a:pt x="447815" y="266082"/>
                        <a:pt x="443811" y="297390"/>
                        <a:pt x="432587" y="326453"/>
                      </a:cubicBezTo>
                      <a:cubicBezTo>
                        <a:pt x="421362" y="355517"/>
                        <a:pt x="402168" y="382435"/>
                        <a:pt x="374986" y="397314"/>
                      </a:cubicBezTo>
                      <a:cubicBezTo>
                        <a:pt x="355062" y="408220"/>
                        <a:pt x="332219" y="412054"/>
                        <a:pt x="309888" y="415730"/>
                      </a:cubicBezTo>
                      <a:lnTo>
                        <a:pt x="230529" y="428801"/>
                      </a:lnTo>
                      <a:cubicBezTo>
                        <a:pt x="192556" y="435059"/>
                        <a:pt x="152275" y="441019"/>
                        <a:pt x="116767" y="426179"/>
                      </a:cubicBezTo>
                      <a:cubicBezTo>
                        <a:pt x="87178" y="413803"/>
                        <a:pt x="64768" y="388434"/>
                        <a:pt x="46186" y="361953"/>
                      </a:cubicBezTo>
                      <a:cubicBezTo>
                        <a:pt x="23047" y="329056"/>
                        <a:pt x="3518" y="292026"/>
                        <a:pt x="362" y="251739"/>
                      </a:cubicBezTo>
                      <a:cubicBezTo>
                        <a:pt x="-3445" y="202790"/>
                        <a:pt x="23501" y="173885"/>
                        <a:pt x="48257" y="136240"/>
                      </a:cubicBezTo>
                      <a:cubicBezTo>
                        <a:pt x="77571" y="91661"/>
                        <a:pt x="110889" y="52486"/>
                        <a:pt x="153872" y="2040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11766" cap="flat">
                  <a:solidFill>
                    <a:srgbClr val="585863"/>
                  </a:solidFill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5977" name="Freeform 9">
                  <a:extLst>
                    <a:ext uri="{FF2B5EF4-FFF2-40B4-BE49-F238E27FC236}">
                      <a16:creationId xmlns:a16="http://schemas.microsoft.com/office/drawing/2014/main" id="{00109299-4632-7520-5DE9-D058C71F5900}"/>
                    </a:ext>
                  </a:extLst>
                </p:cNvPr>
                <p:cNvSpPr/>
                <p:nvPr/>
              </p:nvSpPr>
              <p:spPr>
                <a:xfrm>
                  <a:off x="2703782" y="2760754"/>
                  <a:ext cx="194611" cy="217864"/>
                </a:xfrm>
                <a:custGeom>
                  <a:avLst/>
                  <a:gdLst>
                    <a:gd name="connsiteX0" fmla="*/ 195291 w 195291"/>
                    <a:gd name="connsiteY0" fmla="*/ 109261 h 218522"/>
                    <a:gd name="connsiteX1" fmla="*/ 97646 w 195291"/>
                    <a:gd name="connsiteY1" fmla="*/ 218522 h 218522"/>
                    <a:gd name="connsiteX2" fmla="*/ 0 w 195291"/>
                    <a:gd name="connsiteY2" fmla="*/ 109261 h 218522"/>
                    <a:gd name="connsiteX3" fmla="*/ 97646 w 195291"/>
                    <a:gd name="connsiteY3" fmla="*/ 0 h 218522"/>
                    <a:gd name="connsiteX4" fmla="*/ 195291 w 195291"/>
                    <a:gd name="connsiteY4" fmla="*/ 109261 h 218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5291" h="218521">
                      <a:moveTo>
                        <a:pt x="195291" y="109261"/>
                      </a:moveTo>
                      <a:cubicBezTo>
                        <a:pt x="195291" y="169604"/>
                        <a:pt x="151574" y="218522"/>
                        <a:pt x="97646" y="218522"/>
                      </a:cubicBezTo>
                      <a:cubicBezTo>
                        <a:pt x="43717" y="218522"/>
                        <a:pt x="0" y="169604"/>
                        <a:pt x="0" y="109261"/>
                      </a:cubicBezTo>
                      <a:cubicBezTo>
                        <a:pt x="0" y="48918"/>
                        <a:pt x="43717" y="0"/>
                        <a:pt x="97646" y="0"/>
                      </a:cubicBezTo>
                      <a:cubicBezTo>
                        <a:pt x="151574" y="0"/>
                        <a:pt x="195291" y="48918"/>
                        <a:pt x="195291" y="109261"/>
                      </a:cubicBezTo>
                      <a:close/>
                    </a:path>
                  </a:pathLst>
                </a:custGeom>
                <a:solidFill>
                  <a:srgbClr val="E3E7F7">
                    <a:alpha val="48000"/>
                  </a:srgbClr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5978" name="Freeform 10">
                  <a:extLst>
                    <a:ext uri="{FF2B5EF4-FFF2-40B4-BE49-F238E27FC236}">
                      <a16:creationId xmlns:a16="http://schemas.microsoft.com/office/drawing/2014/main" id="{E8928128-EFF2-138E-6F9A-D8CCEA4977CB}"/>
                    </a:ext>
                  </a:extLst>
                </p:cNvPr>
                <p:cNvSpPr/>
                <p:nvPr/>
              </p:nvSpPr>
              <p:spPr>
                <a:xfrm>
                  <a:off x="2873009" y="2688838"/>
                  <a:ext cx="114228" cy="192482"/>
                </a:xfrm>
                <a:custGeom>
                  <a:avLst/>
                  <a:gdLst>
                    <a:gd name="connsiteX0" fmla="*/ 87033 w 112979"/>
                    <a:gd name="connsiteY0" fmla="*/ 40109 h 190888"/>
                    <a:gd name="connsiteX1" fmla="*/ 109876 w 112979"/>
                    <a:gd name="connsiteY1" fmla="*/ 58723 h 190888"/>
                    <a:gd name="connsiteX2" fmla="*/ 112598 w 112979"/>
                    <a:gd name="connsiteY2" fmla="*/ 76145 h 190888"/>
                    <a:gd name="connsiteX3" fmla="*/ 102518 w 112979"/>
                    <a:gd name="connsiteY3" fmla="*/ 190889 h 190888"/>
                    <a:gd name="connsiteX4" fmla="*/ 91866 w 112979"/>
                    <a:gd name="connsiteY4" fmla="*/ 98275 h 190888"/>
                    <a:gd name="connsiteX5" fmla="*/ 49316 w 112979"/>
                    <a:gd name="connsiteY5" fmla="*/ 47538 h 190888"/>
                    <a:gd name="connsiteX6" fmla="*/ 0 w 112979"/>
                    <a:gd name="connsiteY6" fmla="*/ 0 h 190888"/>
                    <a:gd name="connsiteX7" fmla="*/ 87033 w 112979"/>
                    <a:gd name="connsiteY7" fmla="*/ 40109 h 190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2978" h="190888">
                      <a:moveTo>
                        <a:pt x="87033" y="40109"/>
                      </a:moveTo>
                      <a:cubicBezTo>
                        <a:pt x="96048" y="44459"/>
                        <a:pt x="105733" y="49545"/>
                        <a:pt x="109876" y="58723"/>
                      </a:cubicBezTo>
                      <a:cubicBezTo>
                        <a:pt x="112302" y="64106"/>
                        <a:pt x="112480" y="70225"/>
                        <a:pt x="112598" y="76145"/>
                      </a:cubicBezTo>
                      <a:cubicBezTo>
                        <a:pt x="113387" y="114724"/>
                        <a:pt x="114058" y="154098"/>
                        <a:pt x="102518" y="190889"/>
                      </a:cubicBezTo>
                      <a:cubicBezTo>
                        <a:pt x="92655" y="161269"/>
                        <a:pt x="102518" y="127617"/>
                        <a:pt x="91866" y="98275"/>
                      </a:cubicBezTo>
                      <a:cubicBezTo>
                        <a:pt x="84054" y="76741"/>
                        <a:pt x="66616" y="61444"/>
                        <a:pt x="49316" y="47538"/>
                      </a:cubicBezTo>
                      <a:cubicBezTo>
                        <a:pt x="34146" y="35361"/>
                        <a:pt x="5918" y="19349"/>
                        <a:pt x="0" y="0"/>
                      </a:cubicBezTo>
                      <a:cubicBezTo>
                        <a:pt x="29313" y="7311"/>
                        <a:pt x="59653" y="26838"/>
                        <a:pt x="87033" y="401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</p:grpSp>
          <p:grpSp>
            <p:nvGrpSpPr>
              <p:cNvPr id="24675" name="Graphic 157">
                <a:extLst>
                  <a:ext uri="{FF2B5EF4-FFF2-40B4-BE49-F238E27FC236}">
                    <a16:creationId xmlns:a16="http://schemas.microsoft.com/office/drawing/2014/main" id="{06501ED1-2374-EDEB-E684-39ADDAE9173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69081" y="2680998"/>
                <a:ext cx="457210" cy="435449"/>
                <a:chOff x="3069081" y="2680998"/>
                <a:chExt cx="457210" cy="435449"/>
              </a:xfrm>
            </p:grpSpPr>
            <p:sp>
              <p:nvSpPr>
                <p:cNvPr id="35973" name="Freeform 12">
                  <a:extLst>
                    <a:ext uri="{FF2B5EF4-FFF2-40B4-BE49-F238E27FC236}">
                      <a16:creationId xmlns:a16="http://schemas.microsoft.com/office/drawing/2014/main" id="{F84FD1B0-1957-2708-38EE-D127D723E2F7}"/>
                    </a:ext>
                  </a:extLst>
                </p:cNvPr>
                <p:cNvSpPr/>
                <p:nvPr/>
              </p:nvSpPr>
              <p:spPr>
                <a:xfrm>
                  <a:off x="3069734" y="2680377"/>
                  <a:ext cx="456913" cy="435726"/>
                </a:xfrm>
                <a:custGeom>
                  <a:avLst/>
                  <a:gdLst>
                    <a:gd name="connsiteX0" fmla="*/ 153872 w 457210"/>
                    <a:gd name="connsiteY0" fmla="*/ 20403 h 435449"/>
                    <a:gd name="connsiteX1" fmla="*/ 179714 w 457210"/>
                    <a:gd name="connsiteY1" fmla="*/ 4987 h 435449"/>
                    <a:gd name="connsiteX2" fmla="*/ 221139 w 457210"/>
                    <a:gd name="connsiteY2" fmla="*/ 498 h 435449"/>
                    <a:gd name="connsiteX3" fmla="*/ 355831 w 457210"/>
                    <a:gd name="connsiteY3" fmla="*/ 50778 h 435449"/>
                    <a:gd name="connsiteX4" fmla="*/ 422092 w 457210"/>
                    <a:gd name="connsiteY4" fmla="*/ 86536 h 435449"/>
                    <a:gd name="connsiteX5" fmla="*/ 449709 w 457210"/>
                    <a:gd name="connsiteY5" fmla="*/ 107971 h 435449"/>
                    <a:gd name="connsiteX6" fmla="*/ 456909 w 457210"/>
                    <a:gd name="connsiteY6" fmla="*/ 150821 h 435449"/>
                    <a:gd name="connsiteX7" fmla="*/ 450873 w 457210"/>
                    <a:gd name="connsiteY7" fmla="*/ 235071 h 435449"/>
                    <a:gd name="connsiteX8" fmla="*/ 432587 w 457210"/>
                    <a:gd name="connsiteY8" fmla="*/ 326453 h 435449"/>
                    <a:gd name="connsiteX9" fmla="*/ 374986 w 457210"/>
                    <a:gd name="connsiteY9" fmla="*/ 397314 h 435449"/>
                    <a:gd name="connsiteX10" fmla="*/ 309888 w 457210"/>
                    <a:gd name="connsiteY10" fmla="*/ 415730 h 435449"/>
                    <a:gd name="connsiteX11" fmla="*/ 230529 w 457210"/>
                    <a:gd name="connsiteY11" fmla="*/ 428801 h 435449"/>
                    <a:gd name="connsiteX12" fmla="*/ 116767 w 457210"/>
                    <a:gd name="connsiteY12" fmla="*/ 426179 h 435449"/>
                    <a:gd name="connsiteX13" fmla="*/ 46186 w 457210"/>
                    <a:gd name="connsiteY13" fmla="*/ 361953 h 435449"/>
                    <a:gd name="connsiteX14" fmla="*/ 362 w 457210"/>
                    <a:gd name="connsiteY14" fmla="*/ 251739 h 435449"/>
                    <a:gd name="connsiteX15" fmla="*/ 48257 w 457210"/>
                    <a:gd name="connsiteY15" fmla="*/ 136240 h 435449"/>
                    <a:gd name="connsiteX16" fmla="*/ 153872 w 457210"/>
                    <a:gd name="connsiteY16" fmla="*/ 20403 h 4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57210" h="435449">
                      <a:moveTo>
                        <a:pt x="153872" y="20403"/>
                      </a:moveTo>
                      <a:cubicBezTo>
                        <a:pt x="161751" y="14107"/>
                        <a:pt x="170445" y="8921"/>
                        <a:pt x="179714" y="4987"/>
                      </a:cubicBezTo>
                      <a:cubicBezTo>
                        <a:pt x="192773" y="-58"/>
                        <a:pt x="207153" y="-654"/>
                        <a:pt x="221139" y="498"/>
                      </a:cubicBezTo>
                      <a:cubicBezTo>
                        <a:pt x="269232" y="4471"/>
                        <a:pt x="313301" y="27853"/>
                        <a:pt x="355831" y="50778"/>
                      </a:cubicBezTo>
                      <a:lnTo>
                        <a:pt x="422092" y="86536"/>
                      </a:lnTo>
                      <a:cubicBezTo>
                        <a:pt x="432449" y="92118"/>
                        <a:pt x="443259" y="98098"/>
                        <a:pt x="449709" y="107971"/>
                      </a:cubicBezTo>
                      <a:cubicBezTo>
                        <a:pt x="457777" y="120268"/>
                        <a:pt x="457600" y="136101"/>
                        <a:pt x="456909" y="150821"/>
                      </a:cubicBezTo>
                      <a:cubicBezTo>
                        <a:pt x="455593" y="178951"/>
                        <a:pt x="453581" y="207035"/>
                        <a:pt x="450873" y="235071"/>
                      </a:cubicBezTo>
                      <a:cubicBezTo>
                        <a:pt x="447815" y="266082"/>
                        <a:pt x="443811" y="297390"/>
                        <a:pt x="432587" y="326453"/>
                      </a:cubicBezTo>
                      <a:cubicBezTo>
                        <a:pt x="421362" y="355517"/>
                        <a:pt x="402168" y="382435"/>
                        <a:pt x="374986" y="397314"/>
                      </a:cubicBezTo>
                      <a:cubicBezTo>
                        <a:pt x="355062" y="408220"/>
                        <a:pt x="332219" y="412054"/>
                        <a:pt x="309888" y="415730"/>
                      </a:cubicBezTo>
                      <a:lnTo>
                        <a:pt x="230529" y="428801"/>
                      </a:lnTo>
                      <a:cubicBezTo>
                        <a:pt x="192556" y="435059"/>
                        <a:pt x="152275" y="441019"/>
                        <a:pt x="116767" y="426179"/>
                      </a:cubicBezTo>
                      <a:cubicBezTo>
                        <a:pt x="87178" y="413803"/>
                        <a:pt x="64768" y="388434"/>
                        <a:pt x="46186" y="361953"/>
                      </a:cubicBezTo>
                      <a:cubicBezTo>
                        <a:pt x="23047" y="329056"/>
                        <a:pt x="3518" y="292026"/>
                        <a:pt x="362" y="251739"/>
                      </a:cubicBezTo>
                      <a:cubicBezTo>
                        <a:pt x="-3445" y="202790"/>
                        <a:pt x="23501" y="173885"/>
                        <a:pt x="48257" y="136240"/>
                      </a:cubicBezTo>
                      <a:cubicBezTo>
                        <a:pt x="77571" y="91661"/>
                        <a:pt x="110889" y="52486"/>
                        <a:pt x="153872" y="2040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11766" cap="flat">
                  <a:solidFill>
                    <a:srgbClr val="585863"/>
                  </a:solidFill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5974" name="Freeform 13">
                  <a:extLst>
                    <a:ext uri="{FF2B5EF4-FFF2-40B4-BE49-F238E27FC236}">
                      <a16:creationId xmlns:a16="http://schemas.microsoft.com/office/drawing/2014/main" id="{33781C5F-68B7-EA02-A311-5811B2B09D47}"/>
                    </a:ext>
                  </a:extLst>
                </p:cNvPr>
                <p:cNvSpPr/>
                <p:nvPr/>
              </p:nvSpPr>
              <p:spPr>
                <a:xfrm>
                  <a:off x="3207232" y="2819979"/>
                  <a:ext cx="194611" cy="217864"/>
                </a:xfrm>
                <a:custGeom>
                  <a:avLst/>
                  <a:gdLst>
                    <a:gd name="connsiteX0" fmla="*/ 195291 w 195291"/>
                    <a:gd name="connsiteY0" fmla="*/ 109261 h 218522"/>
                    <a:gd name="connsiteX1" fmla="*/ 97646 w 195291"/>
                    <a:gd name="connsiteY1" fmla="*/ 218522 h 218522"/>
                    <a:gd name="connsiteX2" fmla="*/ 0 w 195291"/>
                    <a:gd name="connsiteY2" fmla="*/ 109261 h 218522"/>
                    <a:gd name="connsiteX3" fmla="*/ 97646 w 195291"/>
                    <a:gd name="connsiteY3" fmla="*/ 0 h 218522"/>
                    <a:gd name="connsiteX4" fmla="*/ 195291 w 195291"/>
                    <a:gd name="connsiteY4" fmla="*/ 109261 h 218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5291" h="218521">
                      <a:moveTo>
                        <a:pt x="195291" y="109261"/>
                      </a:moveTo>
                      <a:cubicBezTo>
                        <a:pt x="195291" y="169604"/>
                        <a:pt x="151574" y="218522"/>
                        <a:pt x="97646" y="218522"/>
                      </a:cubicBezTo>
                      <a:cubicBezTo>
                        <a:pt x="43717" y="218522"/>
                        <a:pt x="0" y="169604"/>
                        <a:pt x="0" y="109261"/>
                      </a:cubicBezTo>
                      <a:cubicBezTo>
                        <a:pt x="0" y="48918"/>
                        <a:pt x="43717" y="0"/>
                        <a:pt x="97646" y="0"/>
                      </a:cubicBezTo>
                      <a:cubicBezTo>
                        <a:pt x="151574" y="0"/>
                        <a:pt x="195291" y="48918"/>
                        <a:pt x="195291" y="109261"/>
                      </a:cubicBezTo>
                      <a:close/>
                    </a:path>
                  </a:pathLst>
                </a:custGeom>
                <a:solidFill>
                  <a:srgbClr val="E3E7F7">
                    <a:alpha val="48000"/>
                  </a:srgbClr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5975" name="Freeform 14">
                  <a:extLst>
                    <a:ext uri="{FF2B5EF4-FFF2-40B4-BE49-F238E27FC236}">
                      <a16:creationId xmlns:a16="http://schemas.microsoft.com/office/drawing/2014/main" id="{B8F0AEEF-5740-1CE5-EA7A-CBE4A23BC119}"/>
                    </a:ext>
                  </a:extLst>
                </p:cNvPr>
                <p:cNvSpPr/>
                <p:nvPr/>
              </p:nvSpPr>
              <p:spPr>
                <a:xfrm>
                  <a:off x="3376458" y="2748063"/>
                  <a:ext cx="114228" cy="192482"/>
                </a:xfrm>
                <a:custGeom>
                  <a:avLst/>
                  <a:gdLst>
                    <a:gd name="connsiteX0" fmla="*/ 87033 w 112979"/>
                    <a:gd name="connsiteY0" fmla="*/ 40109 h 190888"/>
                    <a:gd name="connsiteX1" fmla="*/ 109876 w 112979"/>
                    <a:gd name="connsiteY1" fmla="*/ 58723 h 190888"/>
                    <a:gd name="connsiteX2" fmla="*/ 112598 w 112979"/>
                    <a:gd name="connsiteY2" fmla="*/ 76145 h 190888"/>
                    <a:gd name="connsiteX3" fmla="*/ 102518 w 112979"/>
                    <a:gd name="connsiteY3" fmla="*/ 190889 h 190888"/>
                    <a:gd name="connsiteX4" fmla="*/ 91866 w 112979"/>
                    <a:gd name="connsiteY4" fmla="*/ 98275 h 190888"/>
                    <a:gd name="connsiteX5" fmla="*/ 49316 w 112979"/>
                    <a:gd name="connsiteY5" fmla="*/ 47538 h 190888"/>
                    <a:gd name="connsiteX6" fmla="*/ 0 w 112979"/>
                    <a:gd name="connsiteY6" fmla="*/ 0 h 190888"/>
                    <a:gd name="connsiteX7" fmla="*/ 87033 w 112979"/>
                    <a:gd name="connsiteY7" fmla="*/ 40109 h 190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2978" h="190888">
                      <a:moveTo>
                        <a:pt x="87033" y="40109"/>
                      </a:moveTo>
                      <a:cubicBezTo>
                        <a:pt x="96048" y="44459"/>
                        <a:pt x="105733" y="49545"/>
                        <a:pt x="109876" y="58723"/>
                      </a:cubicBezTo>
                      <a:cubicBezTo>
                        <a:pt x="112302" y="64106"/>
                        <a:pt x="112480" y="70225"/>
                        <a:pt x="112598" y="76145"/>
                      </a:cubicBezTo>
                      <a:cubicBezTo>
                        <a:pt x="113387" y="114724"/>
                        <a:pt x="114058" y="154098"/>
                        <a:pt x="102518" y="190889"/>
                      </a:cubicBezTo>
                      <a:cubicBezTo>
                        <a:pt x="92655" y="161269"/>
                        <a:pt x="102518" y="127617"/>
                        <a:pt x="91866" y="98275"/>
                      </a:cubicBezTo>
                      <a:cubicBezTo>
                        <a:pt x="84054" y="76741"/>
                        <a:pt x="66616" y="61444"/>
                        <a:pt x="49316" y="47538"/>
                      </a:cubicBezTo>
                      <a:cubicBezTo>
                        <a:pt x="34146" y="35361"/>
                        <a:pt x="5918" y="19349"/>
                        <a:pt x="0" y="0"/>
                      </a:cubicBezTo>
                      <a:cubicBezTo>
                        <a:pt x="29313" y="7311"/>
                        <a:pt x="59653" y="26838"/>
                        <a:pt x="87033" y="401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</p:grpSp>
          <p:grpSp>
            <p:nvGrpSpPr>
              <p:cNvPr id="24679" name="Graphic 590">
                <a:extLst>
                  <a:ext uri="{FF2B5EF4-FFF2-40B4-BE49-F238E27FC236}">
                    <a16:creationId xmlns:a16="http://schemas.microsoft.com/office/drawing/2014/main" id="{0E8FB3C9-BC47-A1F5-E6E1-631DAA3C934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665023" y="3077884"/>
                <a:ext cx="1291037" cy="1389815"/>
                <a:chOff x="2665023" y="3077884"/>
                <a:chExt cx="1291037" cy="1389815"/>
              </a:xfrm>
            </p:grpSpPr>
            <p:sp>
              <p:nvSpPr>
                <p:cNvPr id="35964" name="Freeform 16">
                  <a:extLst>
                    <a:ext uri="{FF2B5EF4-FFF2-40B4-BE49-F238E27FC236}">
                      <a16:creationId xmlns:a16="http://schemas.microsoft.com/office/drawing/2014/main" id="{7109AEAA-21FD-ECB6-BB01-4C9FAB7D2D02}"/>
                    </a:ext>
                  </a:extLst>
                </p:cNvPr>
                <p:cNvSpPr/>
                <p:nvPr/>
              </p:nvSpPr>
              <p:spPr>
                <a:xfrm>
                  <a:off x="2659360" y="3078029"/>
                  <a:ext cx="471720" cy="448417"/>
                </a:xfrm>
                <a:custGeom>
                  <a:avLst/>
                  <a:gdLst>
                    <a:gd name="connsiteX0" fmla="*/ 153872 w 457210"/>
                    <a:gd name="connsiteY0" fmla="*/ 20403 h 435449"/>
                    <a:gd name="connsiteX1" fmla="*/ 179714 w 457210"/>
                    <a:gd name="connsiteY1" fmla="*/ 4987 h 435449"/>
                    <a:gd name="connsiteX2" fmla="*/ 221139 w 457210"/>
                    <a:gd name="connsiteY2" fmla="*/ 498 h 435449"/>
                    <a:gd name="connsiteX3" fmla="*/ 355831 w 457210"/>
                    <a:gd name="connsiteY3" fmla="*/ 50778 h 435449"/>
                    <a:gd name="connsiteX4" fmla="*/ 422092 w 457210"/>
                    <a:gd name="connsiteY4" fmla="*/ 86536 h 435449"/>
                    <a:gd name="connsiteX5" fmla="*/ 449709 w 457210"/>
                    <a:gd name="connsiteY5" fmla="*/ 107971 h 435449"/>
                    <a:gd name="connsiteX6" fmla="*/ 456909 w 457210"/>
                    <a:gd name="connsiteY6" fmla="*/ 150821 h 435449"/>
                    <a:gd name="connsiteX7" fmla="*/ 450873 w 457210"/>
                    <a:gd name="connsiteY7" fmla="*/ 235071 h 435449"/>
                    <a:gd name="connsiteX8" fmla="*/ 432587 w 457210"/>
                    <a:gd name="connsiteY8" fmla="*/ 326453 h 435449"/>
                    <a:gd name="connsiteX9" fmla="*/ 374986 w 457210"/>
                    <a:gd name="connsiteY9" fmla="*/ 397314 h 435449"/>
                    <a:gd name="connsiteX10" fmla="*/ 309888 w 457210"/>
                    <a:gd name="connsiteY10" fmla="*/ 415730 h 435449"/>
                    <a:gd name="connsiteX11" fmla="*/ 230529 w 457210"/>
                    <a:gd name="connsiteY11" fmla="*/ 428801 h 435449"/>
                    <a:gd name="connsiteX12" fmla="*/ 116767 w 457210"/>
                    <a:gd name="connsiteY12" fmla="*/ 426179 h 435449"/>
                    <a:gd name="connsiteX13" fmla="*/ 46186 w 457210"/>
                    <a:gd name="connsiteY13" fmla="*/ 361953 h 435449"/>
                    <a:gd name="connsiteX14" fmla="*/ 362 w 457210"/>
                    <a:gd name="connsiteY14" fmla="*/ 251739 h 435449"/>
                    <a:gd name="connsiteX15" fmla="*/ 48257 w 457210"/>
                    <a:gd name="connsiteY15" fmla="*/ 136240 h 435449"/>
                    <a:gd name="connsiteX16" fmla="*/ 153872 w 457210"/>
                    <a:gd name="connsiteY16" fmla="*/ 20403 h 4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57210" h="435449">
                      <a:moveTo>
                        <a:pt x="153872" y="20403"/>
                      </a:moveTo>
                      <a:cubicBezTo>
                        <a:pt x="161751" y="14107"/>
                        <a:pt x="170445" y="8921"/>
                        <a:pt x="179714" y="4987"/>
                      </a:cubicBezTo>
                      <a:cubicBezTo>
                        <a:pt x="192773" y="-58"/>
                        <a:pt x="207153" y="-654"/>
                        <a:pt x="221139" y="498"/>
                      </a:cubicBezTo>
                      <a:cubicBezTo>
                        <a:pt x="269232" y="4471"/>
                        <a:pt x="313301" y="27853"/>
                        <a:pt x="355831" y="50778"/>
                      </a:cubicBezTo>
                      <a:lnTo>
                        <a:pt x="422092" y="86536"/>
                      </a:lnTo>
                      <a:cubicBezTo>
                        <a:pt x="432449" y="92118"/>
                        <a:pt x="443259" y="98098"/>
                        <a:pt x="449709" y="107971"/>
                      </a:cubicBezTo>
                      <a:cubicBezTo>
                        <a:pt x="457777" y="120268"/>
                        <a:pt x="457600" y="136101"/>
                        <a:pt x="456909" y="150821"/>
                      </a:cubicBezTo>
                      <a:cubicBezTo>
                        <a:pt x="455593" y="178951"/>
                        <a:pt x="453581" y="207035"/>
                        <a:pt x="450873" y="235071"/>
                      </a:cubicBezTo>
                      <a:cubicBezTo>
                        <a:pt x="447815" y="266082"/>
                        <a:pt x="443811" y="297390"/>
                        <a:pt x="432587" y="326453"/>
                      </a:cubicBezTo>
                      <a:cubicBezTo>
                        <a:pt x="421362" y="355517"/>
                        <a:pt x="402168" y="382435"/>
                        <a:pt x="374986" y="397314"/>
                      </a:cubicBezTo>
                      <a:cubicBezTo>
                        <a:pt x="355062" y="408220"/>
                        <a:pt x="332219" y="412054"/>
                        <a:pt x="309888" y="415730"/>
                      </a:cubicBezTo>
                      <a:lnTo>
                        <a:pt x="230529" y="428801"/>
                      </a:lnTo>
                      <a:cubicBezTo>
                        <a:pt x="192556" y="435059"/>
                        <a:pt x="152275" y="441019"/>
                        <a:pt x="116767" y="426179"/>
                      </a:cubicBezTo>
                      <a:cubicBezTo>
                        <a:pt x="87178" y="413803"/>
                        <a:pt x="64768" y="388434"/>
                        <a:pt x="46186" y="361953"/>
                      </a:cubicBezTo>
                      <a:cubicBezTo>
                        <a:pt x="23047" y="329056"/>
                        <a:pt x="3518" y="292026"/>
                        <a:pt x="362" y="251739"/>
                      </a:cubicBezTo>
                      <a:cubicBezTo>
                        <a:pt x="-3445" y="202790"/>
                        <a:pt x="23501" y="173885"/>
                        <a:pt x="48257" y="136240"/>
                      </a:cubicBezTo>
                      <a:cubicBezTo>
                        <a:pt x="77571" y="91661"/>
                        <a:pt x="110889" y="52486"/>
                        <a:pt x="153872" y="2040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11766" cap="flat">
                  <a:solidFill>
                    <a:srgbClr val="585863"/>
                  </a:solidFill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5965" name="Freeform 17">
                  <a:extLst>
                    <a:ext uri="{FF2B5EF4-FFF2-40B4-BE49-F238E27FC236}">
                      <a16:creationId xmlns:a16="http://schemas.microsoft.com/office/drawing/2014/main" id="{A3E8A8F4-2EAB-89E9-D637-5F2E620901B5}"/>
                    </a:ext>
                  </a:extLst>
                </p:cNvPr>
                <p:cNvSpPr/>
                <p:nvPr/>
              </p:nvSpPr>
              <p:spPr>
                <a:xfrm>
                  <a:off x="2803203" y="3230322"/>
                  <a:ext cx="200957" cy="217864"/>
                </a:xfrm>
                <a:custGeom>
                  <a:avLst/>
                  <a:gdLst>
                    <a:gd name="connsiteX0" fmla="*/ 195291 w 195291"/>
                    <a:gd name="connsiteY0" fmla="*/ 109261 h 218522"/>
                    <a:gd name="connsiteX1" fmla="*/ 97646 w 195291"/>
                    <a:gd name="connsiteY1" fmla="*/ 218522 h 218522"/>
                    <a:gd name="connsiteX2" fmla="*/ 0 w 195291"/>
                    <a:gd name="connsiteY2" fmla="*/ 109261 h 218522"/>
                    <a:gd name="connsiteX3" fmla="*/ 97646 w 195291"/>
                    <a:gd name="connsiteY3" fmla="*/ 0 h 218522"/>
                    <a:gd name="connsiteX4" fmla="*/ 195291 w 195291"/>
                    <a:gd name="connsiteY4" fmla="*/ 109261 h 218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5291" h="218521">
                      <a:moveTo>
                        <a:pt x="195291" y="109261"/>
                      </a:moveTo>
                      <a:cubicBezTo>
                        <a:pt x="195291" y="169604"/>
                        <a:pt x="151574" y="218522"/>
                        <a:pt x="97646" y="218522"/>
                      </a:cubicBezTo>
                      <a:cubicBezTo>
                        <a:pt x="43717" y="218522"/>
                        <a:pt x="0" y="169604"/>
                        <a:pt x="0" y="109261"/>
                      </a:cubicBezTo>
                      <a:cubicBezTo>
                        <a:pt x="0" y="48918"/>
                        <a:pt x="43717" y="0"/>
                        <a:pt x="97646" y="0"/>
                      </a:cubicBezTo>
                      <a:cubicBezTo>
                        <a:pt x="151574" y="0"/>
                        <a:pt x="195291" y="48918"/>
                        <a:pt x="195291" y="109261"/>
                      </a:cubicBezTo>
                      <a:close/>
                    </a:path>
                  </a:pathLst>
                </a:custGeom>
                <a:solidFill>
                  <a:srgbClr val="E3E7F7">
                    <a:alpha val="48000"/>
                  </a:srgbClr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5966" name="Freeform 18">
                  <a:extLst>
                    <a:ext uri="{FF2B5EF4-FFF2-40B4-BE49-F238E27FC236}">
                      <a16:creationId xmlns:a16="http://schemas.microsoft.com/office/drawing/2014/main" id="{11B28C22-6542-720C-D2AE-E3197E50AE09}"/>
                    </a:ext>
                  </a:extLst>
                </p:cNvPr>
                <p:cNvSpPr/>
                <p:nvPr/>
              </p:nvSpPr>
              <p:spPr>
                <a:xfrm>
                  <a:off x="2974545" y="3158406"/>
                  <a:ext cx="116343" cy="192481"/>
                </a:xfrm>
                <a:custGeom>
                  <a:avLst/>
                  <a:gdLst>
                    <a:gd name="connsiteX0" fmla="*/ 87033 w 112979"/>
                    <a:gd name="connsiteY0" fmla="*/ 40109 h 190888"/>
                    <a:gd name="connsiteX1" fmla="*/ 109876 w 112979"/>
                    <a:gd name="connsiteY1" fmla="*/ 58723 h 190888"/>
                    <a:gd name="connsiteX2" fmla="*/ 112598 w 112979"/>
                    <a:gd name="connsiteY2" fmla="*/ 76145 h 190888"/>
                    <a:gd name="connsiteX3" fmla="*/ 102518 w 112979"/>
                    <a:gd name="connsiteY3" fmla="*/ 190889 h 190888"/>
                    <a:gd name="connsiteX4" fmla="*/ 91866 w 112979"/>
                    <a:gd name="connsiteY4" fmla="*/ 98275 h 190888"/>
                    <a:gd name="connsiteX5" fmla="*/ 49316 w 112979"/>
                    <a:gd name="connsiteY5" fmla="*/ 47538 h 190888"/>
                    <a:gd name="connsiteX6" fmla="*/ 0 w 112979"/>
                    <a:gd name="connsiteY6" fmla="*/ 0 h 190888"/>
                    <a:gd name="connsiteX7" fmla="*/ 87033 w 112979"/>
                    <a:gd name="connsiteY7" fmla="*/ 40109 h 190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2978" h="190888">
                      <a:moveTo>
                        <a:pt x="87033" y="40109"/>
                      </a:moveTo>
                      <a:cubicBezTo>
                        <a:pt x="96048" y="44459"/>
                        <a:pt x="105733" y="49545"/>
                        <a:pt x="109876" y="58723"/>
                      </a:cubicBezTo>
                      <a:cubicBezTo>
                        <a:pt x="112302" y="64106"/>
                        <a:pt x="112480" y="70225"/>
                        <a:pt x="112598" y="76145"/>
                      </a:cubicBezTo>
                      <a:cubicBezTo>
                        <a:pt x="113387" y="114724"/>
                        <a:pt x="114058" y="154098"/>
                        <a:pt x="102518" y="190889"/>
                      </a:cubicBezTo>
                      <a:cubicBezTo>
                        <a:pt x="92655" y="161269"/>
                        <a:pt x="102518" y="127617"/>
                        <a:pt x="91866" y="98275"/>
                      </a:cubicBezTo>
                      <a:cubicBezTo>
                        <a:pt x="84054" y="76741"/>
                        <a:pt x="66616" y="61444"/>
                        <a:pt x="49316" y="47538"/>
                      </a:cubicBezTo>
                      <a:cubicBezTo>
                        <a:pt x="34146" y="35361"/>
                        <a:pt x="5918" y="19349"/>
                        <a:pt x="0" y="0"/>
                      </a:cubicBezTo>
                      <a:cubicBezTo>
                        <a:pt x="29313" y="7311"/>
                        <a:pt x="59653" y="26838"/>
                        <a:pt x="87033" y="401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5967" name="Freeform 192">
                  <a:extLst>
                    <a:ext uri="{FF2B5EF4-FFF2-40B4-BE49-F238E27FC236}">
                      <a16:creationId xmlns:a16="http://schemas.microsoft.com/office/drawing/2014/main" id="{F9D9AD97-B8D8-39BE-BE72-07192816EA67}"/>
                    </a:ext>
                  </a:extLst>
                </p:cNvPr>
                <p:cNvSpPr/>
                <p:nvPr/>
              </p:nvSpPr>
              <p:spPr>
                <a:xfrm>
                  <a:off x="3266461" y="3613169"/>
                  <a:ext cx="456912" cy="435726"/>
                </a:xfrm>
                <a:custGeom>
                  <a:avLst/>
                  <a:gdLst>
                    <a:gd name="connsiteX0" fmla="*/ 153872 w 457210"/>
                    <a:gd name="connsiteY0" fmla="*/ 20403 h 435449"/>
                    <a:gd name="connsiteX1" fmla="*/ 179714 w 457210"/>
                    <a:gd name="connsiteY1" fmla="*/ 4987 h 435449"/>
                    <a:gd name="connsiteX2" fmla="*/ 221139 w 457210"/>
                    <a:gd name="connsiteY2" fmla="*/ 498 h 435449"/>
                    <a:gd name="connsiteX3" fmla="*/ 355831 w 457210"/>
                    <a:gd name="connsiteY3" fmla="*/ 50778 h 435449"/>
                    <a:gd name="connsiteX4" fmla="*/ 422092 w 457210"/>
                    <a:gd name="connsiteY4" fmla="*/ 86536 h 435449"/>
                    <a:gd name="connsiteX5" fmla="*/ 449709 w 457210"/>
                    <a:gd name="connsiteY5" fmla="*/ 107971 h 435449"/>
                    <a:gd name="connsiteX6" fmla="*/ 456909 w 457210"/>
                    <a:gd name="connsiteY6" fmla="*/ 150821 h 435449"/>
                    <a:gd name="connsiteX7" fmla="*/ 450873 w 457210"/>
                    <a:gd name="connsiteY7" fmla="*/ 235071 h 435449"/>
                    <a:gd name="connsiteX8" fmla="*/ 432587 w 457210"/>
                    <a:gd name="connsiteY8" fmla="*/ 326453 h 435449"/>
                    <a:gd name="connsiteX9" fmla="*/ 374986 w 457210"/>
                    <a:gd name="connsiteY9" fmla="*/ 397314 h 435449"/>
                    <a:gd name="connsiteX10" fmla="*/ 309888 w 457210"/>
                    <a:gd name="connsiteY10" fmla="*/ 415730 h 435449"/>
                    <a:gd name="connsiteX11" fmla="*/ 230529 w 457210"/>
                    <a:gd name="connsiteY11" fmla="*/ 428801 h 435449"/>
                    <a:gd name="connsiteX12" fmla="*/ 116767 w 457210"/>
                    <a:gd name="connsiteY12" fmla="*/ 426179 h 435449"/>
                    <a:gd name="connsiteX13" fmla="*/ 46186 w 457210"/>
                    <a:gd name="connsiteY13" fmla="*/ 361953 h 435449"/>
                    <a:gd name="connsiteX14" fmla="*/ 362 w 457210"/>
                    <a:gd name="connsiteY14" fmla="*/ 251739 h 435449"/>
                    <a:gd name="connsiteX15" fmla="*/ 48257 w 457210"/>
                    <a:gd name="connsiteY15" fmla="*/ 136240 h 435449"/>
                    <a:gd name="connsiteX16" fmla="*/ 153872 w 457210"/>
                    <a:gd name="connsiteY16" fmla="*/ 20403 h 4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57210" h="435449">
                      <a:moveTo>
                        <a:pt x="153872" y="20403"/>
                      </a:moveTo>
                      <a:cubicBezTo>
                        <a:pt x="161751" y="14107"/>
                        <a:pt x="170445" y="8921"/>
                        <a:pt x="179714" y="4987"/>
                      </a:cubicBezTo>
                      <a:cubicBezTo>
                        <a:pt x="192773" y="-58"/>
                        <a:pt x="207153" y="-654"/>
                        <a:pt x="221139" y="498"/>
                      </a:cubicBezTo>
                      <a:cubicBezTo>
                        <a:pt x="269232" y="4471"/>
                        <a:pt x="313301" y="27853"/>
                        <a:pt x="355831" y="50778"/>
                      </a:cubicBezTo>
                      <a:lnTo>
                        <a:pt x="422092" y="86536"/>
                      </a:lnTo>
                      <a:cubicBezTo>
                        <a:pt x="432449" y="92118"/>
                        <a:pt x="443259" y="98098"/>
                        <a:pt x="449709" y="107971"/>
                      </a:cubicBezTo>
                      <a:cubicBezTo>
                        <a:pt x="457777" y="120268"/>
                        <a:pt x="457600" y="136101"/>
                        <a:pt x="456909" y="150821"/>
                      </a:cubicBezTo>
                      <a:cubicBezTo>
                        <a:pt x="455593" y="178951"/>
                        <a:pt x="453581" y="207035"/>
                        <a:pt x="450873" y="235071"/>
                      </a:cubicBezTo>
                      <a:cubicBezTo>
                        <a:pt x="447815" y="266082"/>
                        <a:pt x="443811" y="297390"/>
                        <a:pt x="432587" y="326453"/>
                      </a:cubicBezTo>
                      <a:cubicBezTo>
                        <a:pt x="421362" y="355517"/>
                        <a:pt x="402168" y="382435"/>
                        <a:pt x="374986" y="397314"/>
                      </a:cubicBezTo>
                      <a:cubicBezTo>
                        <a:pt x="355062" y="408220"/>
                        <a:pt x="332219" y="412054"/>
                        <a:pt x="309888" y="415730"/>
                      </a:cubicBezTo>
                      <a:lnTo>
                        <a:pt x="230529" y="428801"/>
                      </a:lnTo>
                      <a:cubicBezTo>
                        <a:pt x="192556" y="435059"/>
                        <a:pt x="152275" y="441019"/>
                        <a:pt x="116767" y="426179"/>
                      </a:cubicBezTo>
                      <a:cubicBezTo>
                        <a:pt x="87178" y="413803"/>
                        <a:pt x="64768" y="388434"/>
                        <a:pt x="46186" y="361953"/>
                      </a:cubicBezTo>
                      <a:cubicBezTo>
                        <a:pt x="23047" y="329056"/>
                        <a:pt x="3518" y="292026"/>
                        <a:pt x="362" y="251739"/>
                      </a:cubicBezTo>
                      <a:cubicBezTo>
                        <a:pt x="-3445" y="202790"/>
                        <a:pt x="23501" y="173885"/>
                        <a:pt x="48257" y="136240"/>
                      </a:cubicBezTo>
                      <a:cubicBezTo>
                        <a:pt x="77571" y="91661"/>
                        <a:pt x="110889" y="52486"/>
                        <a:pt x="153872" y="2040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11766" cap="flat">
                  <a:solidFill>
                    <a:srgbClr val="585863"/>
                  </a:solidFill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5968" name="Freeform 193">
                  <a:extLst>
                    <a:ext uri="{FF2B5EF4-FFF2-40B4-BE49-F238E27FC236}">
                      <a16:creationId xmlns:a16="http://schemas.microsoft.com/office/drawing/2014/main" id="{A01A0AF5-DD44-3B20-903A-A2025754615E}"/>
                    </a:ext>
                  </a:extLst>
                </p:cNvPr>
                <p:cNvSpPr/>
                <p:nvPr/>
              </p:nvSpPr>
              <p:spPr>
                <a:xfrm>
                  <a:off x="3403957" y="3752770"/>
                  <a:ext cx="196727" cy="217862"/>
                </a:xfrm>
                <a:custGeom>
                  <a:avLst/>
                  <a:gdLst>
                    <a:gd name="connsiteX0" fmla="*/ 195291 w 195291"/>
                    <a:gd name="connsiteY0" fmla="*/ 109261 h 218522"/>
                    <a:gd name="connsiteX1" fmla="*/ 97646 w 195291"/>
                    <a:gd name="connsiteY1" fmla="*/ 218522 h 218522"/>
                    <a:gd name="connsiteX2" fmla="*/ 0 w 195291"/>
                    <a:gd name="connsiteY2" fmla="*/ 109261 h 218522"/>
                    <a:gd name="connsiteX3" fmla="*/ 97646 w 195291"/>
                    <a:gd name="connsiteY3" fmla="*/ 0 h 218522"/>
                    <a:gd name="connsiteX4" fmla="*/ 195291 w 195291"/>
                    <a:gd name="connsiteY4" fmla="*/ 109261 h 218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5291" h="218521">
                      <a:moveTo>
                        <a:pt x="195291" y="109261"/>
                      </a:moveTo>
                      <a:cubicBezTo>
                        <a:pt x="195291" y="169604"/>
                        <a:pt x="151574" y="218522"/>
                        <a:pt x="97646" y="218522"/>
                      </a:cubicBezTo>
                      <a:cubicBezTo>
                        <a:pt x="43717" y="218522"/>
                        <a:pt x="0" y="169604"/>
                        <a:pt x="0" y="109261"/>
                      </a:cubicBezTo>
                      <a:cubicBezTo>
                        <a:pt x="0" y="48918"/>
                        <a:pt x="43717" y="0"/>
                        <a:pt x="97646" y="0"/>
                      </a:cubicBezTo>
                      <a:cubicBezTo>
                        <a:pt x="151574" y="0"/>
                        <a:pt x="195291" y="48918"/>
                        <a:pt x="195291" y="109261"/>
                      </a:cubicBezTo>
                      <a:close/>
                    </a:path>
                  </a:pathLst>
                </a:custGeom>
                <a:solidFill>
                  <a:srgbClr val="E3E7F7">
                    <a:alpha val="48000"/>
                  </a:srgbClr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5969" name="Freeform 194">
                  <a:extLst>
                    <a:ext uri="{FF2B5EF4-FFF2-40B4-BE49-F238E27FC236}">
                      <a16:creationId xmlns:a16="http://schemas.microsoft.com/office/drawing/2014/main" id="{D35C38ED-2918-8AA2-4974-7EA111CCC894}"/>
                    </a:ext>
                  </a:extLst>
                </p:cNvPr>
                <p:cNvSpPr/>
                <p:nvPr/>
              </p:nvSpPr>
              <p:spPr>
                <a:xfrm>
                  <a:off x="3575300" y="3680854"/>
                  <a:ext cx="112112" cy="192480"/>
                </a:xfrm>
                <a:custGeom>
                  <a:avLst/>
                  <a:gdLst>
                    <a:gd name="connsiteX0" fmla="*/ 87033 w 112979"/>
                    <a:gd name="connsiteY0" fmla="*/ 40109 h 190888"/>
                    <a:gd name="connsiteX1" fmla="*/ 109876 w 112979"/>
                    <a:gd name="connsiteY1" fmla="*/ 58723 h 190888"/>
                    <a:gd name="connsiteX2" fmla="*/ 112598 w 112979"/>
                    <a:gd name="connsiteY2" fmla="*/ 76145 h 190888"/>
                    <a:gd name="connsiteX3" fmla="*/ 102518 w 112979"/>
                    <a:gd name="connsiteY3" fmla="*/ 190889 h 190888"/>
                    <a:gd name="connsiteX4" fmla="*/ 91866 w 112979"/>
                    <a:gd name="connsiteY4" fmla="*/ 98275 h 190888"/>
                    <a:gd name="connsiteX5" fmla="*/ 49316 w 112979"/>
                    <a:gd name="connsiteY5" fmla="*/ 47538 h 190888"/>
                    <a:gd name="connsiteX6" fmla="*/ 0 w 112979"/>
                    <a:gd name="connsiteY6" fmla="*/ 0 h 190888"/>
                    <a:gd name="connsiteX7" fmla="*/ 87033 w 112979"/>
                    <a:gd name="connsiteY7" fmla="*/ 40109 h 190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2978" h="190888">
                      <a:moveTo>
                        <a:pt x="87033" y="40109"/>
                      </a:moveTo>
                      <a:cubicBezTo>
                        <a:pt x="96048" y="44459"/>
                        <a:pt x="105733" y="49545"/>
                        <a:pt x="109876" y="58723"/>
                      </a:cubicBezTo>
                      <a:cubicBezTo>
                        <a:pt x="112302" y="64106"/>
                        <a:pt x="112480" y="70225"/>
                        <a:pt x="112598" y="76145"/>
                      </a:cubicBezTo>
                      <a:cubicBezTo>
                        <a:pt x="113387" y="114724"/>
                        <a:pt x="114058" y="154098"/>
                        <a:pt x="102518" y="190889"/>
                      </a:cubicBezTo>
                      <a:cubicBezTo>
                        <a:pt x="92655" y="161269"/>
                        <a:pt x="102518" y="127617"/>
                        <a:pt x="91866" y="98275"/>
                      </a:cubicBezTo>
                      <a:cubicBezTo>
                        <a:pt x="84054" y="76741"/>
                        <a:pt x="66616" y="61444"/>
                        <a:pt x="49316" y="47538"/>
                      </a:cubicBezTo>
                      <a:cubicBezTo>
                        <a:pt x="34146" y="35361"/>
                        <a:pt x="5918" y="19349"/>
                        <a:pt x="0" y="0"/>
                      </a:cubicBezTo>
                      <a:cubicBezTo>
                        <a:pt x="29313" y="7311"/>
                        <a:pt x="59653" y="26838"/>
                        <a:pt x="87033" y="401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5970" name="Freeform 195">
                  <a:extLst>
                    <a:ext uri="{FF2B5EF4-FFF2-40B4-BE49-F238E27FC236}">
                      <a16:creationId xmlns:a16="http://schemas.microsoft.com/office/drawing/2014/main" id="{732F1B30-67EA-12ED-C98C-9911D6DC5F1B}"/>
                    </a:ext>
                  </a:extLst>
                </p:cNvPr>
                <p:cNvSpPr/>
                <p:nvPr/>
              </p:nvSpPr>
              <p:spPr>
                <a:xfrm>
                  <a:off x="3499148" y="4031973"/>
                  <a:ext cx="456912" cy="435726"/>
                </a:xfrm>
                <a:custGeom>
                  <a:avLst/>
                  <a:gdLst>
                    <a:gd name="connsiteX0" fmla="*/ 153872 w 457210"/>
                    <a:gd name="connsiteY0" fmla="*/ 20403 h 435449"/>
                    <a:gd name="connsiteX1" fmla="*/ 179714 w 457210"/>
                    <a:gd name="connsiteY1" fmla="*/ 4987 h 435449"/>
                    <a:gd name="connsiteX2" fmla="*/ 221139 w 457210"/>
                    <a:gd name="connsiteY2" fmla="*/ 498 h 435449"/>
                    <a:gd name="connsiteX3" fmla="*/ 355831 w 457210"/>
                    <a:gd name="connsiteY3" fmla="*/ 50778 h 435449"/>
                    <a:gd name="connsiteX4" fmla="*/ 422092 w 457210"/>
                    <a:gd name="connsiteY4" fmla="*/ 86536 h 435449"/>
                    <a:gd name="connsiteX5" fmla="*/ 449709 w 457210"/>
                    <a:gd name="connsiteY5" fmla="*/ 107971 h 435449"/>
                    <a:gd name="connsiteX6" fmla="*/ 456909 w 457210"/>
                    <a:gd name="connsiteY6" fmla="*/ 150821 h 435449"/>
                    <a:gd name="connsiteX7" fmla="*/ 450873 w 457210"/>
                    <a:gd name="connsiteY7" fmla="*/ 235071 h 435449"/>
                    <a:gd name="connsiteX8" fmla="*/ 432587 w 457210"/>
                    <a:gd name="connsiteY8" fmla="*/ 326453 h 435449"/>
                    <a:gd name="connsiteX9" fmla="*/ 374986 w 457210"/>
                    <a:gd name="connsiteY9" fmla="*/ 397314 h 435449"/>
                    <a:gd name="connsiteX10" fmla="*/ 309888 w 457210"/>
                    <a:gd name="connsiteY10" fmla="*/ 415730 h 435449"/>
                    <a:gd name="connsiteX11" fmla="*/ 230529 w 457210"/>
                    <a:gd name="connsiteY11" fmla="*/ 428801 h 435449"/>
                    <a:gd name="connsiteX12" fmla="*/ 116767 w 457210"/>
                    <a:gd name="connsiteY12" fmla="*/ 426179 h 435449"/>
                    <a:gd name="connsiteX13" fmla="*/ 46186 w 457210"/>
                    <a:gd name="connsiteY13" fmla="*/ 361953 h 435449"/>
                    <a:gd name="connsiteX14" fmla="*/ 362 w 457210"/>
                    <a:gd name="connsiteY14" fmla="*/ 251739 h 435449"/>
                    <a:gd name="connsiteX15" fmla="*/ 48257 w 457210"/>
                    <a:gd name="connsiteY15" fmla="*/ 136240 h 435449"/>
                    <a:gd name="connsiteX16" fmla="*/ 153872 w 457210"/>
                    <a:gd name="connsiteY16" fmla="*/ 20403 h 4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57210" h="435449">
                      <a:moveTo>
                        <a:pt x="153872" y="20403"/>
                      </a:moveTo>
                      <a:cubicBezTo>
                        <a:pt x="161751" y="14107"/>
                        <a:pt x="170445" y="8921"/>
                        <a:pt x="179714" y="4987"/>
                      </a:cubicBezTo>
                      <a:cubicBezTo>
                        <a:pt x="192773" y="-58"/>
                        <a:pt x="207153" y="-654"/>
                        <a:pt x="221139" y="498"/>
                      </a:cubicBezTo>
                      <a:cubicBezTo>
                        <a:pt x="269232" y="4471"/>
                        <a:pt x="313301" y="27853"/>
                        <a:pt x="355831" y="50778"/>
                      </a:cubicBezTo>
                      <a:lnTo>
                        <a:pt x="422092" y="86536"/>
                      </a:lnTo>
                      <a:cubicBezTo>
                        <a:pt x="432449" y="92118"/>
                        <a:pt x="443259" y="98098"/>
                        <a:pt x="449709" y="107971"/>
                      </a:cubicBezTo>
                      <a:cubicBezTo>
                        <a:pt x="457777" y="120268"/>
                        <a:pt x="457600" y="136101"/>
                        <a:pt x="456909" y="150821"/>
                      </a:cubicBezTo>
                      <a:cubicBezTo>
                        <a:pt x="455593" y="178951"/>
                        <a:pt x="453581" y="207035"/>
                        <a:pt x="450873" y="235071"/>
                      </a:cubicBezTo>
                      <a:cubicBezTo>
                        <a:pt x="447815" y="266082"/>
                        <a:pt x="443811" y="297390"/>
                        <a:pt x="432587" y="326453"/>
                      </a:cubicBezTo>
                      <a:cubicBezTo>
                        <a:pt x="421362" y="355517"/>
                        <a:pt x="402168" y="382435"/>
                        <a:pt x="374986" y="397314"/>
                      </a:cubicBezTo>
                      <a:cubicBezTo>
                        <a:pt x="355062" y="408220"/>
                        <a:pt x="332219" y="412054"/>
                        <a:pt x="309888" y="415730"/>
                      </a:cubicBezTo>
                      <a:lnTo>
                        <a:pt x="230529" y="428801"/>
                      </a:lnTo>
                      <a:cubicBezTo>
                        <a:pt x="192556" y="435059"/>
                        <a:pt x="152275" y="441019"/>
                        <a:pt x="116767" y="426179"/>
                      </a:cubicBezTo>
                      <a:cubicBezTo>
                        <a:pt x="87178" y="413803"/>
                        <a:pt x="64768" y="388434"/>
                        <a:pt x="46186" y="361953"/>
                      </a:cubicBezTo>
                      <a:cubicBezTo>
                        <a:pt x="23047" y="329056"/>
                        <a:pt x="3518" y="292026"/>
                        <a:pt x="362" y="251739"/>
                      </a:cubicBezTo>
                      <a:cubicBezTo>
                        <a:pt x="-3445" y="202790"/>
                        <a:pt x="23501" y="173885"/>
                        <a:pt x="48257" y="136240"/>
                      </a:cubicBezTo>
                      <a:cubicBezTo>
                        <a:pt x="77571" y="91661"/>
                        <a:pt x="110889" y="52486"/>
                        <a:pt x="153872" y="2040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11766" cap="flat">
                  <a:solidFill>
                    <a:srgbClr val="585863"/>
                  </a:solidFill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5971" name="Freeform 196">
                  <a:extLst>
                    <a:ext uri="{FF2B5EF4-FFF2-40B4-BE49-F238E27FC236}">
                      <a16:creationId xmlns:a16="http://schemas.microsoft.com/office/drawing/2014/main" id="{9FFEAC49-4F61-D094-27E8-1E10D355A6EC}"/>
                    </a:ext>
                  </a:extLst>
                </p:cNvPr>
                <p:cNvSpPr/>
                <p:nvPr/>
              </p:nvSpPr>
              <p:spPr>
                <a:xfrm>
                  <a:off x="3636644" y="4171575"/>
                  <a:ext cx="194611" cy="217862"/>
                </a:xfrm>
                <a:custGeom>
                  <a:avLst/>
                  <a:gdLst>
                    <a:gd name="connsiteX0" fmla="*/ 195291 w 195291"/>
                    <a:gd name="connsiteY0" fmla="*/ 109261 h 218522"/>
                    <a:gd name="connsiteX1" fmla="*/ 97646 w 195291"/>
                    <a:gd name="connsiteY1" fmla="*/ 218522 h 218522"/>
                    <a:gd name="connsiteX2" fmla="*/ 0 w 195291"/>
                    <a:gd name="connsiteY2" fmla="*/ 109261 h 218522"/>
                    <a:gd name="connsiteX3" fmla="*/ 97646 w 195291"/>
                    <a:gd name="connsiteY3" fmla="*/ 0 h 218522"/>
                    <a:gd name="connsiteX4" fmla="*/ 195291 w 195291"/>
                    <a:gd name="connsiteY4" fmla="*/ 109261 h 218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5291" h="218521">
                      <a:moveTo>
                        <a:pt x="195291" y="109261"/>
                      </a:moveTo>
                      <a:cubicBezTo>
                        <a:pt x="195291" y="169604"/>
                        <a:pt x="151574" y="218522"/>
                        <a:pt x="97646" y="218522"/>
                      </a:cubicBezTo>
                      <a:cubicBezTo>
                        <a:pt x="43717" y="218522"/>
                        <a:pt x="0" y="169604"/>
                        <a:pt x="0" y="109261"/>
                      </a:cubicBezTo>
                      <a:cubicBezTo>
                        <a:pt x="0" y="48918"/>
                        <a:pt x="43717" y="0"/>
                        <a:pt x="97646" y="0"/>
                      </a:cubicBezTo>
                      <a:cubicBezTo>
                        <a:pt x="151574" y="0"/>
                        <a:pt x="195291" y="48918"/>
                        <a:pt x="195291" y="109261"/>
                      </a:cubicBezTo>
                      <a:close/>
                    </a:path>
                  </a:pathLst>
                </a:custGeom>
                <a:solidFill>
                  <a:srgbClr val="E3E7F7">
                    <a:alpha val="48000"/>
                  </a:srgbClr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  <p:sp>
              <p:nvSpPr>
                <p:cNvPr id="35972" name="Freeform 197">
                  <a:extLst>
                    <a:ext uri="{FF2B5EF4-FFF2-40B4-BE49-F238E27FC236}">
                      <a16:creationId xmlns:a16="http://schemas.microsoft.com/office/drawing/2014/main" id="{BD38A8CD-FEB6-1ACF-0923-C430A8984DBA}"/>
                    </a:ext>
                  </a:extLst>
                </p:cNvPr>
                <p:cNvSpPr/>
                <p:nvPr/>
              </p:nvSpPr>
              <p:spPr>
                <a:xfrm>
                  <a:off x="3805871" y="4099659"/>
                  <a:ext cx="114228" cy="192480"/>
                </a:xfrm>
                <a:custGeom>
                  <a:avLst/>
                  <a:gdLst>
                    <a:gd name="connsiteX0" fmla="*/ 87033 w 112979"/>
                    <a:gd name="connsiteY0" fmla="*/ 40109 h 190888"/>
                    <a:gd name="connsiteX1" fmla="*/ 109876 w 112979"/>
                    <a:gd name="connsiteY1" fmla="*/ 58723 h 190888"/>
                    <a:gd name="connsiteX2" fmla="*/ 112598 w 112979"/>
                    <a:gd name="connsiteY2" fmla="*/ 76145 h 190888"/>
                    <a:gd name="connsiteX3" fmla="*/ 102518 w 112979"/>
                    <a:gd name="connsiteY3" fmla="*/ 190889 h 190888"/>
                    <a:gd name="connsiteX4" fmla="*/ 91866 w 112979"/>
                    <a:gd name="connsiteY4" fmla="*/ 98275 h 190888"/>
                    <a:gd name="connsiteX5" fmla="*/ 49316 w 112979"/>
                    <a:gd name="connsiteY5" fmla="*/ 47538 h 190888"/>
                    <a:gd name="connsiteX6" fmla="*/ 0 w 112979"/>
                    <a:gd name="connsiteY6" fmla="*/ 0 h 190888"/>
                    <a:gd name="connsiteX7" fmla="*/ 87033 w 112979"/>
                    <a:gd name="connsiteY7" fmla="*/ 40109 h 190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2978" h="190888">
                      <a:moveTo>
                        <a:pt x="87033" y="40109"/>
                      </a:moveTo>
                      <a:cubicBezTo>
                        <a:pt x="96048" y="44459"/>
                        <a:pt x="105733" y="49545"/>
                        <a:pt x="109876" y="58723"/>
                      </a:cubicBezTo>
                      <a:cubicBezTo>
                        <a:pt x="112302" y="64106"/>
                        <a:pt x="112480" y="70225"/>
                        <a:pt x="112598" y="76145"/>
                      </a:cubicBezTo>
                      <a:cubicBezTo>
                        <a:pt x="113387" y="114724"/>
                        <a:pt x="114058" y="154098"/>
                        <a:pt x="102518" y="190889"/>
                      </a:cubicBezTo>
                      <a:cubicBezTo>
                        <a:pt x="92655" y="161269"/>
                        <a:pt x="102518" y="127617"/>
                        <a:pt x="91866" y="98275"/>
                      </a:cubicBezTo>
                      <a:cubicBezTo>
                        <a:pt x="84054" y="76741"/>
                        <a:pt x="66616" y="61444"/>
                        <a:pt x="49316" y="47538"/>
                      </a:cubicBezTo>
                      <a:cubicBezTo>
                        <a:pt x="34146" y="35361"/>
                        <a:pt x="5918" y="19349"/>
                        <a:pt x="0" y="0"/>
                      </a:cubicBezTo>
                      <a:cubicBezTo>
                        <a:pt x="29313" y="7311"/>
                        <a:pt x="59653" y="26838"/>
                        <a:pt x="87033" y="401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61" cap="flat">
                  <a:noFill/>
                  <a:prstDash val="solid"/>
                  <a:miter/>
                </a:ln>
              </p:spPr>
              <p:txBody>
                <a:bodyPr anchor="ctr"/>
                <a:lstStyle/>
                <a:p>
                  <a:pPr fontAlgn="auto">
                    <a:buSzTx/>
                  </a:pPr>
                  <a:endParaRPr lang="en-US" sz="1013"/>
                </a:p>
              </p:txBody>
            </p:sp>
          </p:grpSp>
        </p:grpSp>
        <p:pic>
          <p:nvPicPr>
            <p:cNvPr id="24689" name="Graphic 1898">
              <a:extLst>
                <a:ext uri="{FF2B5EF4-FFF2-40B4-BE49-F238E27FC236}">
                  <a16:creationId xmlns:a16="http://schemas.microsoft.com/office/drawing/2014/main" id="{3B9B551C-15C3-8098-FF18-1DA6A22E86DF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5503" y="2671917"/>
              <a:ext cx="465374" cy="4484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690" name="Graphic 1899">
              <a:extLst>
                <a:ext uri="{FF2B5EF4-FFF2-40B4-BE49-F238E27FC236}">
                  <a16:creationId xmlns:a16="http://schemas.microsoft.com/office/drawing/2014/main" id="{F983E417-767B-4244-8736-E02E8E00064B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59939" y="2621153"/>
              <a:ext cx="465374" cy="4484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4691" name="Graphic 130">
            <a:extLst>
              <a:ext uri="{FF2B5EF4-FFF2-40B4-BE49-F238E27FC236}">
                <a16:creationId xmlns:a16="http://schemas.microsoft.com/office/drawing/2014/main" id="{D79E4056-293F-9D76-2A98-B60804F7F3DA}"/>
              </a:ext>
            </a:extLst>
          </p:cNvPr>
          <p:cNvGrpSpPr>
            <a:grpSpLocks/>
          </p:cNvGrpSpPr>
          <p:nvPr/>
        </p:nvGrpSpPr>
        <p:grpSpPr bwMode="auto">
          <a:xfrm>
            <a:off x="3976688" y="1885950"/>
            <a:ext cx="889397" cy="700088"/>
            <a:chOff x="5090414" y="2222373"/>
            <a:chExt cx="1542161" cy="1216422"/>
          </a:xfrm>
        </p:grpSpPr>
        <p:sp>
          <p:nvSpPr>
            <p:cNvPr id="35955" name="Freeform 3">
              <a:extLst>
                <a:ext uri="{FF2B5EF4-FFF2-40B4-BE49-F238E27FC236}">
                  <a16:creationId xmlns:a16="http://schemas.microsoft.com/office/drawing/2014/main" id="{EB6C629E-1AF8-B395-00C0-61DBD8F79B35}"/>
                </a:ext>
              </a:extLst>
            </p:cNvPr>
            <p:cNvSpPr/>
            <p:nvPr/>
          </p:nvSpPr>
          <p:spPr>
            <a:xfrm>
              <a:off x="5090414" y="2222373"/>
              <a:ext cx="1542161" cy="1216422"/>
            </a:xfrm>
            <a:custGeom>
              <a:avLst/>
              <a:gdLst>
                <a:gd name="connsiteX0" fmla="*/ 524276 w 1557813"/>
                <a:gd name="connsiteY0" fmla="*/ 57229 h 1221401"/>
                <a:gd name="connsiteX1" fmla="*/ 612324 w 1557813"/>
                <a:gd name="connsiteY1" fmla="*/ 13989 h 1221401"/>
                <a:gd name="connsiteX2" fmla="*/ 753469 w 1557813"/>
                <a:gd name="connsiteY2" fmla="*/ 1396 h 1221401"/>
                <a:gd name="connsiteX3" fmla="*/ 1212392 w 1557813"/>
                <a:gd name="connsiteY3" fmla="*/ 142427 h 1221401"/>
                <a:gd name="connsiteX4" fmla="*/ 1438157 w 1557813"/>
                <a:gd name="connsiteY4" fmla="*/ 242726 h 1221401"/>
                <a:gd name="connsiteX5" fmla="*/ 1532254 w 1557813"/>
                <a:gd name="connsiteY5" fmla="*/ 302850 h 1221401"/>
                <a:gd name="connsiteX6" fmla="*/ 1556786 w 1557813"/>
                <a:gd name="connsiteY6" fmla="*/ 423041 h 1221401"/>
                <a:gd name="connsiteX7" fmla="*/ 1536220 w 1557813"/>
                <a:gd name="connsiteY7" fmla="*/ 659356 h 1221401"/>
                <a:gd name="connsiteX8" fmla="*/ 1473914 w 1557813"/>
                <a:gd name="connsiteY8" fmla="*/ 915675 h 1221401"/>
                <a:gd name="connsiteX9" fmla="*/ 1277655 w 1557813"/>
                <a:gd name="connsiteY9" fmla="*/ 1114434 h 1221401"/>
                <a:gd name="connsiteX10" fmla="*/ 1055856 w 1557813"/>
                <a:gd name="connsiteY10" fmla="*/ 1166087 h 1221401"/>
                <a:gd name="connsiteX11" fmla="*/ 785462 w 1557813"/>
                <a:gd name="connsiteY11" fmla="*/ 1202752 h 1221401"/>
                <a:gd name="connsiteX12" fmla="*/ 397850 w 1557813"/>
                <a:gd name="connsiteY12" fmla="*/ 1195397 h 1221401"/>
                <a:gd name="connsiteX13" fmla="*/ 157366 w 1557813"/>
                <a:gd name="connsiteY13" fmla="*/ 1015249 h 1221401"/>
                <a:gd name="connsiteX14" fmla="*/ 1232 w 1557813"/>
                <a:gd name="connsiteY14" fmla="*/ 706106 h 1221401"/>
                <a:gd name="connsiteX15" fmla="*/ 164423 w 1557813"/>
                <a:gd name="connsiteY15" fmla="*/ 382141 h 1221401"/>
                <a:gd name="connsiteX16" fmla="*/ 524276 w 1557813"/>
                <a:gd name="connsiteY16" fmla="*/ 57229 h 1221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57813" h="1221401">
                  <a:moveTo>
                    <a:pt x="524276" y="57229"/>
                  </a:moveTo>
                  <a:cubicBezTo>
                    <a:pt x="551121" y="39568"/>
                    <a:pt x="580743" y="25022"/>
                    <a:pt x="612324" y="13989"/>
                  </a:cubicBezTo>
                  <a:cubicBezTo>
                    <a:pt x="656818" y="-164"/>
                    <a:pt x="705816" y="-1835"/>
                    <a:pt x="753469" y="1396"/>
                  </a:cubicBezTo>
                  <a:cubicBezTo>
                    <a:pt x="917332" y="12541"/>
                    <a:pt x="1067483" y="78125"/>
                    <a:pt x="1212392" y="142427"/>
                  </a:cubicBezTo>
                  <a:lnTo>
                    <a:pt x="1438157" y="242726"/>
                  </a:lnTo>
                  <a:cubicBezTo>
                    <a:pt x="1473444" y="258384"/>
                    <a:pt x="1510276" y="275156"/>
                    <a:pt x="1532254" y="302850"/>
                  </a:cubicBezTo>
                  <a:cubicBezTo>
                    <a:pt x="1559744" y="337341"/>
                    <a:pt x="1559139" y="381751"/>
                    <a:pt x="1556786" y="423041"/>
                  </a:cubicBezTo>
                  <a:cubicBezTo>
                    <a:pt x="1552303" y="501943"/>
                    <a:pt x="1545448" y="580716"/>
                    <a:pt x="1536220" y="659356"/>
                  </a:cubicBezTo>
                  <a:cubicBezTo>
                    <a:pt x="1525802" y="746337"/>
                    <a:pt x="1512158" y="834154"/>
                    <a:pt x="1473914" y="915675"/>
                  </a:cubicBezTo>
                  <a:cubicBezTo>
                    <a:pt x="1435671" y="997196"/>
                    <a:pt x="1370273" y="1072698"/>
                    <a:pt x="1277655" y="1114434"/>
                  </a:cubicBezTo>
                  <a:cubicBezTo>
                    <a:pt x="1209771" y="1145025"/>
                    <a:pt x="1131940" y="1155779"/>
                    <a:pt x="1055856" y="1166087"/>
                  </a:cubicBezTo>
                  <a:lnTo>
                    <a:pt x="785462" y="1202752"/>
                  </a:lnTo>
                  <a:cubicBezTo>
                    <a:pt x="656079" y="1220304"/>
                    <a:pt x="518832" y="1237021"/>
                    <a:pt x="397850" y="1195397"/>
                  </a:cubicBezTo>
                  <a:cubicBezTo>
                    <a:pt x="297032" y="1160682"/>
                    <a:pt x="220680" y="1089526"/>
                    <a:pt x="157366" y="1015249"/>
                  </a:cubicBezTo>
                  <a:cubicBezTo>
                    <a:pt x="78526" y="922974"/>
                    <a:pt x="11986" y="819110"/>
                    <a:pt x="1232" y="706106"/>
                  </a:cubicBezTo>
                  <a:cubicBezTo>
                    <a:pt x="-11739" y="568809"/>
                    <a:pt x="80072" y="487734"/>
                    <a:pt x="164423" y="382141"/>
                  </a:cubicBezTo>
                  <a:cubicBezTo>
                    <a:pt x="264300" y="257102"/>
                    <a:pt x="377821" y="147220"/>
                    <a:pt x="524276" y="57229"/>
                  </a:cubicBezTo>
                  <a:close/>
                </a:path>
              </a:pathLst>
            </a:custGeom>
            <a:solidFill>
              <a:schemeClr val="tx2"/>
            </a:solidFill>
            <a:ln w="34925" cap="flat">
              <a:solidFill>
                <a:srgbClr val="585863"/>
              </a:solidFill>
              <a:prstDash val="solid"/>
              <a:miter/>
            </a:ln>
          </p:spPr>
          <p:txBody>
            <a:bodyPr anchor="ctr"/>
            <a:lstStyle/>
            <a:p>
              <a:pPr fontAlgn="auto">
                <a:buSzTx/>
              </a:pPr>
              <a:endParaRPr lang="en-US" sz="1013"/>
            </a:p>
          </p:txBody>
        </p:sp>
        <p:sp>
          <p:nvSpPr>
            <p:cNvPr id="35956" name="Freeform 4">
              <a:extLst>
                <a:ext uri="{FF2B5EF4-FFF2-40B4-BE49-F238E27FC236}">
                  <a16:creationId xmlns:a16="http://schemas.microsoft.com/office/drawing/2014/main" id="{C7530281-021A-A1FD-09FD-B33C4D671BDA}"/>
                </a:ext>
              </a:extLst>
            </p:cNvPr>
            <p:cNvSpPr/>
            <p:nvPr/>
          </p:nvSpPr>
          <p:spPr>
            <a:xfrm>
              <a:off x="5565242" y="2619572"/>
              <a:ext cx="664760" cy="612348"/>
            </a:xfrm>
            <a:custGeom>
              <a:avLst/>
              <a:gdLst>
                <a:gd name="connsiteX0" fmla="*/ 665399 w 665398"/>
                <a:gd name="connsiteY0" fmla="*/ 306468 h 612936"/>
                <a:gd name="connsiteX1" fmla="*/ 332699 w 665398"/>
                <a:gd name="connsiteY1" fmla="*/ 612937 h 612936"/>
                <a:gd name="connsiteX2" fmla="*/ 0 w 665398"/>
                <a:gd name="connsiteY2" fmla="*/ 306468 h 612936"/>
                <a:gd name="connsiteX3" fmla="*/ 332699 w 665398"/>
                <a:gd name="connsiteY3" fmla="*/ 0 h 612936"/>
                <a:gd name="connsiteX4" fmla="*/ 665399 w 665398"/>
                <a:gd name="connsiteY4" fmla="*/ 306468 h 6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5398" h="612936">
                  <a:moveTo>
                    <a:pt x="665399" y="306468"/>
                  </a:moveTo>
                  <a:cubicBezTo>
                    <a:pt x="665399" y="475726"/>
                    <a:pt x="516444" y="612937"/>
                    <a:pt x="332699" y="612937"/>
                  </a:cubicBezTo>
                  <a:cubicBezTo>
                    <a:pt x="148955" y="612937"/>
                    <a:pt x="0" y="475726"/>
                    <a:pt x="0" y="306468"/>
                  </a:cubicBezTo>
                  <a:cubicBezTo>
                    <a:pt x="0" y="137211"/>
                    <a:pt x="148955" y="0"/>
                    <a:pt x="332699" y="0"/>
                  </a:cubicBezTo>
                  <a:cubicBezTo>
                    <a:pt x="516444" y="0"/>
                    <a:pt x="665399" y="137211"/>
                    <a:pt x="665399" y="306468"/>
                  </a:cubicBezTo>
                  <a:close/>
                </a:path>
              </a:pathLst>
            </a:custGeom>
            <a:solidFill>
              <a:srgbClr val="E3E7F7">
                <a:alpha val="48000"/>
              </a:srgbClr>
            </a:solidFill>
            <a:ln w="6684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buSzTx/>
              </a:pPr>
              <a:endParaRPr lang="en-US" sz="1013"/>
            </a:p>
          </p:txBody>
        </p:sp>
        <p:sp>
          <p:nvSpPr>
            <p:cNvPr id="35957" name="Freeform 6">
              <a:extLst>
                <a:ext uri="{FF2B5EF4-FFF2-40B4-BE49-F238E27FC236}">
                  <a16:creationId xmlns:a16="http://schemas.microsoft.com/office/drawing/2014/main" id="{0FB0586D-24E0-967C-F340-D38E0945F8DE}"/>
                </a:ext>
              </a:extLst>
            </p:cNvPr>
            <p:cNvSpPr/>
            <p:nvPr/>
          </p:nvSpPr>
          <p:spPr>
            <a:xfrm>
              <a:off x="6143295" y="2420973"/>
              <a:ext cx="386057" cy="535806"/>
            </a:xfrm>
            <a:custGeom>
              <a:avLst/>
              <a:gdLst>
                <a:gd name="connsiteX0" fmla="*/ 296539 w 384943"/>
                <a:gd name="connsiteY0" fmla="*/ 112502 h 535428"/>
                <a:gd name="connsiteX1" fmla="*/ 374371 w 384943"/>
                <a:gd name="connsiteY1" fmla="*/ 164713 h 535428"/>
                <a:gd name="connsiteX2" fmla="*/ 383646 w 384943"/>
                <a:gd name="connsiteY2" fmla="*/ 213581 h 535428"/>
                <a:gd name="connsiteX3" fmla="*/ 349301 w 384943"/>
                <a:gd name="connsiteY3" fmla="*/ 535428 h 535428"/>
                <a:gd name="connsiteX4" fmla="*/ 313006 w 384943"/>
                <a:gd name="connsiteY4" fmla="*/ 275654 h 535428"/>
                <a:gd name="connsiteX5" fmla="*/ 168030 w 384943"/>
                <a:gd name="connsiteY5" fmla="*/ 133342 h 535428"/>
                <a:gd name="connsiteX6" fmla="*/ 0 w 384943"/>
                <a:gd name="connsiteY6" fmla="*/ 0 h 535428"/>
                <a:gd name="connsiteX7" fmla="*/ 296539 w 384943"/>
                <a:gd name="connsiteY7" fmla="*/ 112502 h 5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943" h="535428">
                  <a:moveTo>
                    <a:pt x="296539" y="112502"/>
                  </a:moveTo>
                  <a:cubicBezTo>
                    <a:pt x="327255" y="124705"/>
                    <a:pt x="360256" y="138969"/>
                    <a:pt x="374371" y="164713"/>
                  </a:cubicBezTo>
                  <a:cubicBezTo>
                    <a:pt x="382638" y="179813"/>
                    <a:pt x="383243" y="196976"/>
                    <a:pt x="383646" y="213581"/>
                  </a:cubicBezTo>
                  <a:cubicBezTo>
                    <a:pt x="386334" y="321792"/>
                    <a:pt x="388620" y="432232"/>
                    <a:pt x="349301" y="535428"/>
                  </a:cubicBezTo>
                  <a:cubicBezTo>
                    <a:pt x="315695" y="452347"/>
                    <a:pt x="349301" y="357955"/>
                    <a:pt x="313006" y="275654"/>
                  </a:cubicBezTo>
                  <a:cubicBezTo>
                    <a:pt x="286390" y="215252"/>
                    <a:pt x="226975" y="172347"/>
                    <a:pt x="168030" y="133342"/>
                  </a:cubicBezTo>
                  <a:cubicBezTo>
                    <a:pt x="116344" y="99184"/>
                    <a:pt x="20164" y="54273"/>
                    <a:pt x="0" y="0"/>
                  </a:cubicBezTo>
                  <a:cubicBezTo>
                    <a:pt x="99877" y="20506"/>
                    <a:pt x="203249" y="75280"/>
                    <a:pt x="296539" y="112502"/>
                  </a:cubicBezTo>
                  <a:close/>
                </a:path>
              </a:pathLst>
            </a:custGeom>
            <a:solidFill>
              <a:srgbClr val="FFFFFF"/>
            </a:solidFill>
            <a:ln w="6684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buSzTx/>
              </a:pPr>
              <a:endParaRPr lang="en-US" sz="1013"/>
            </a:p>
          </p:txBody>
        </p:sp>
      </p:grpSp>
      <p:pic>
        <p:nvPicPr>
          <p:cNvPr id="24698" name="Graphic 1922">
            <a:extLst>
              <a:ext uri="{FF2B5EF4-FFF2-40B4-BE49-F238E27FC236}">
                <a16:creationId xmlns:a16="http://schemas.microsoft.com/office/drawing/2014/main" id="{724318D0-26E3-9612-D4B2-B1BA041662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740000">
            <a:off x="4310062" y="2600325"/>
            <a:ext cx="205979" cy="158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699" name="Graphic 117">
            <a:extLst>
              <a:ext uri="{FF2B5EF4-FFF2-40B4-BE49-F238E27FC236}">
                <a16:creationId xmlns:a16="http://schemas.microsoft.com/office/drawing/2014/main" id="{9E1F2750-0345-01A0-4352-52195C3181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40000">
            <a:off x="4057650" y="2321719"/>
            <a:ext cx="204788" cy="158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700" name="Group 164">
            <a:extLst>
              <a:ext uri="{FF2B5EF4-FFF2-40B4-BE49-F238E27FC236}">
                <a16:creationId xmlns:a16="http://schemas.microsoft.com/office/drawing/2014/main" id="{213F7CA5-6902-B3F7-C776-7292CB4F35DB}"/>
              </a:ext>
            </a:extLst>
          </p:cNvPr>
          <p:cNvGrpSpPr>
            <a:grpSpLocks/>
          </p:cNvGrpSpPr>
          <p:nvPr/>
        </p:nvGrpSpPr>
        <p:grpSpPr bwMode="auto">
          <a:xfrm>
            <a:off x="4362451" y="2447926"/>
            <a:ext cx="698897" cy="737433"/>
            <a:chOff x="5723349" y="3209596"/>
            <a:chExt cx="1242704" cy="1309982"/>
          </a:xfrm>
        </p:grpSpPr>
        <p:pic>
          <p:nvPicPr>
            <p:cNvPr id="24701" name="Graphic 1900">
              <a:extLst>
                <a:ext uri="{FF2B5EF4-FFF2-40B4-BE49-F238E27FC236}">
                  <a16:creationId xmlns:a16="http://schemas.microsoft.com/office/drawing/2014/main" id="{8E70683C-762F-4741-EFE6-54E048CFD4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3740000">
              <a:off x="5943093" y="3363841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702" name="Graphic 1906">
              <a:extLst>
                <a:ext uri="{FF2B5EF4-FFF2-40B4-BE49-F238E27FC236}">
                  <a16:creationId xmlns:a16="http://schemas.microsoft.com/office/drawing/2014/main" id="{D25A4E2F-B266-7ADE-F2DA-785C14330B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440000">
              <a:off x="5782504" y="3986051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703" name="Graphic 1908">
              <a:extLst>
                <a:ext uri="{FF2B5EF4-FFF2-40B4-BE49-F238E27FC236}">
                  <a16:creationId xmlns:a16="http://schemas.microsoft.com/office/drawing/2014/main" id="{F8AB7805-B2E4-2EAB-2E7B-90A0B95455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20000">
              <a:off x="6087118" y="4238400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705" name="Graphic 1917">
              <a:extLst>
                <a:ext uri="{FF2B5EF4-FFF2-40B4-BE49-F238E27FC236}">
                  <a16:creationId xmlns:a16="http://schemas.microsoft.com/office/drawing/2014/main" id="{B5B8D207-2629-FE40-67A5-D01CFF20AF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00293" y="3927274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708" name="Graphic 116">
              <a:extLst>
                <a:ext uri="{FF2B5EF4-FFF2-40B4-BE49-F238E27FC236}">
                  <a16:creationId xmlns:a16="http://schemas.microsoft.com/office/drawing/2014/main" id="{AAC26809-1E22-1D8D-003D-5888188345A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120000">
              <a:off x="6438376" y="3370248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709" name="Graphic 106">
              <a:extLst>
                <a:ext uri="{FF2B5EF4-FFF2-40B4-BE49-F238E27FC236}">
                  <a16:creationId xmlns:a16="http://schemas.microsoft.com/office/drawing/2014/main" id="{F101B8E0-3751-B53B-4FD0-DE550C962E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5723349" y="3209596"/>
              <a:ext cx="365760" cy="281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24710" name="Straight Connector 31">
            <a:extLst>
              <a:ext uri="{FF2B5EF4-FFF2-40B4-BE49-F238E27FC236}">
                <a16:creationId xmlns:a16="http://schemas.microsoft.com/office/drawing/2014/main" id="{CA681DA0-F3B2-1D74-2158-76B6414E497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534716" y="1478756"/>
            <a:ext cx="6096000" cy="0"/>
          </a:xfrm>
          <a:prstGeom prst="line">
            <a:avLst/>
          </a:prstGeom>
          <a:noFill/>
          <a:ln w="28575" algn="ctr">
            <a:solidFill>
              <a:srgbClr val="7B9AE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5887" name="TextBox 32">
            <a:extLst>
              <a:ext uri="{FF2B5EF4-FFF2-40B4-BE49-F238E27FC236}">
                <a16:creationId xmlns:a16="http://schemas.microsoft.com/office/drawing/2014/main" id="{05036896-030B-DEFB-A712-42CB2C78B360}"/>
              </a:ext>
            </a:extLst>
          </p:cNvPr>
          <p:cNvSpPr txBox="1"/>
          <p:nvPr/>
        </p:nvSpPr>
        <p:spPr>
          <a:xfrm>
            <a:off x="1940719" y="1628775"/>
            <a:ext cx="1460897" cy="1212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>
            <a:spAutoFit/>
          </a:bodyPr>
          <a:lstStyle/>
          <a:p>
            <a:pPr algn="ctr" defTabSz="514337">
              <a:spcBef>
                <a:spcPts val="113"/>
              </a:spcBef>
            </a:pPr>
            <a:r>
              <a:rPr lang="de" sz="788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D9D9D9"/>
                </a:solidFill>
                <a:ea typeface="Arial"/>
              </a:rPr>
              <a:t>NORMOGLYKÄMIE</a:t>
            </a:r>
          </a:p>
        </p:txBody>
      </p:sp>
      <p:sp>
        <p:nvSpPr>
          <p:cNvPr id="35888" name="Rectangle: Rounded Corners 2">
            <a:extLst>
              <a:ext uri="{FF2B5EF4-FFF2-40B4-BE49-F238E27FC236}">
                <a16:creationId xmlns:a16="http://schemas.microsoft.com/office/drawing/2014/main" id="{5C1F3301-7EEA-6EBB-7426-5F376C741AC6}"/>
              </a:ext>
            </a:extLst>
          </p:cNvPr>
          <p:cNvSpPr/>
          <p:nvPr/>
        </p:nvSpPr>
        <p:spPr>
          <a:xfrm>
            <a:off x="1771650" y="1394223"/>
            <a:ext cx="1800225" cy="169069"/>
          </a:xfrm>
          <a:prstGeom prst="round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514337"/>
            <a:r>
              <a:rPr lang="de" sz="900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FFFFFF"/>
                </a:solidFill>
                <a:ea typeface="Arial"/>
              </a:rPr>
              <a:t>STADIUM 1</a:t>
            </a:r>
          </a:p>
        </p:txBody>
      </p:sp>
      <p:sp>
        <p:nvSpPr>
          <p:cNvPr id="35889" name="Rectangle: Rounded Corners 93">
            <a:extLst>
              <a:ext uri="{FF2B5EF4-FFF2-40B4-BE49-F238E27FC236}">
                <a16:creationId xmlns:a16="http://schemas.microsoft.com/office/drawing/2014/main" id="{B0BE4CE7-BCBC-11E7-F23A-6962E4BC6425}"/>
              </a:ext>
            </a:extLst>
          </p:cNvPr>
          <p:cNvSpPr/>
          <p:nvPr/>
        </p:nvSpPr>
        <p:spPr>
          <a:xfrm>
            <a:off x="3679031" y="1394223"/>
            <a:ext cx="1800225" cy="169069"/>
          </a:xfrm>
          <a:prstGeom prst="round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514337"/>
            <a:r>
              <a:rPr lang="de" sz="900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FFFFFF"/>
                </a:solidFill>
                <a:ea typeface="Arial"/>
              </a:rPr>
              <a:t>STADIUM 2</a:t>
            </a:r>
          </a:p>
        </p:txBody>
      </p:sp>
      <p:sp>
        <p:nvSpPr>
          <p:cNvPr id="35890" name="Rectangle: Rounded Corners 94">
            <a:extLst>
              <a:ext uri="{FF2B5EF4-FFF2-40B4-BE49-F238E27FC236}">
                <a16:creationId xmlns:a16="http://schemas.microsoft.com/office/drawing/2014/main" id="{9AD8DCFF-C5F9-D709-4FEC-A96867064155}"/>
              </a:ext>
            </a:extLst>
          </p:cNvPr>
          <p:cNvSpPr/>
          <p:nvPr/>
        </p:nvSpPr>
        <p:spPr>
          <a:xfrm>
            <a:off x="5587604" y="1394223"/>
            <a:ext cx="1800225" cy="169069"/>
          </a:xfrm>
          <a:prstGeom prst="round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514337"/>
            <a:r>
              <a:rPr lang="de" sz="900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FFFFFF"/>
                </a:solidFill>
                <a:ea typeface="Arial"/>
              </a:rPr>
              <a:t>STADIUM 3</a:t>
            </a:r>
          </a:p>
        </p:txBody>
      </p:sp>
      <p:sp>
        <p:nvSpPr>
          <p:cNvPr id="35891" name="TextBox 60">
            <a:extLst>
              <a:ext uri="{FF2B5EF4-FFF2-40B4-BE49-F238E27FC236}">
                <a16:creationId xmlns:a16="http://schemas.microsoft.com/office/drawing/2014/main" id="{BAA521A7-99F9-3E0A-1E7F-842506C96A42}"/>
              </a:ext>
            </a:extLst>
          </p:cNvPr>
          <p:cNvSpPr txBox="1"/>
          <p:nvPr/>
        </p:nvSpPr>
        <p:spPr>
          <a:xfrm>
            <a:off x="3845719" y="1628775"/>
            <a:ext cx="1460897" cy="1212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>
            <a:spAutoFit/>
          </a:bodyPr>
          <a:lstStyle/>
          <a:p>
            <a:pPr algn="ctr" defTabSz="514337">
              <a:spcBef>
                <a:spcPts val="113"/>
              </a:spcBef>
            </a:pPr>
            <a:r>
              <a:rPr lang="de" sz="788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D9D9D9"/>
                </a:solidFill>
                <a:ea typeface="Arial"/>
              </a:rPr>
              <a:t>DYSGLYKÄMIE</a:t>
            </a:r>
          </a:p>
        </p:txBody>
      </p:sp>
      <p:sp>
        <p:nvSpPr>
          <p:cNvPr id="35892" name="TextBox 61">
            <a:extLst>
              <a:ext uri="{FF2B5EF4-FFF2-40B4-BE49-F238E27FC236}">
                <a16:creationId xmlns:a16="http://schemas.microsoft.com/office/drawing/2014/main" id="{A068E767-D9D7-D8A5-FB8F-EC0279CF7D87}"/>
              </a:ext>
            </a:extLst>
          </p:cNvPr>
          <p:cNvSpPr txBox="1"/>
          <p:nvPr/>
        </p:nvSpPr>
        <p:spPr>
          <a:xfrm>
            <a:off x="5729288" y="1628775"/>
            <a:ext cx="1460897" cy="1212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>
            <a:spAutoFit/>
          </a:bodyPr>
          <a:lstStyle/>
          <a:p>
            <a:pPr algn="ctr" defTabSz="514337">
              <a:spcBef>
                <a:spcPts val="113"/>
              </a:spcBef>
            </a:pPr>
            <a:r>
              <a:rPr lang="de" sz="788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HYPERGLYKÄMIE</a:t>
            </a:r>
            <a:r>
              <a:rPr lang="de" sz="788" b="1" baseline="3000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1,3</a:t>
            </a:r>
          </a:p>
        </p:txBody>
      </p:sp>
      <p:sp>
        <p:nvSpPr>
          <p:cNvPr id="24718" name="Isosceles Triangle 115">
            <a:extLst>
              <a:ext uri="{FF2B5EF4-FFF2-40B4-BE49-F238E27FC236}">
                <a16:creationId xmlns:a16="http://schemas.microsoft.com/office/drawing/2014/main" id="{F3E09068-EE94-7521-9189-3A599A564D45}"/>
              </a:ext>
            </a:extLst>
          </p:cNvPr>
          <p:cNvSpPr>
            <a:spLocks noChangeArrowheads="1"/>
          </p:cNvSpPr>
          <p:nvPr/>
        </p:nvSpPr>
        <p:spPr bwMode="auto">
          <a:xfrm rot="20700000">
            <a:off x="2609850" y="2383631"/>
            <a:ext cx="61913" cy="5238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4719" name="Isosceles Triangle 115">
            <a:extLst>
              <a:ext uri="{FF2B5EF4-FFF2-40B4-BE49-F238E27FC236}">
                <a16:creationId xmlns:a16="http://schemas.microsoft.com/office/drawing/2014/main" id="{C65F3BB5-845F-8ECE-ECE1-08EF7C1041C6}"/>
              </a:ext>
            </a:extLst>
          </p:cNvPr>
          <p:cNvSpPr>
            <a:spLocks noChangeArrowheads="1"/>
          </p:cNvSpPr>
          <p:nvPr/>
        </p:nvSpPr>
        <p:spPr bwMode="auto">
          <a:xfrm rot="20700000">
            <a:off x="2818210" y="2081212"/>
            <a:ext cx="61913" cy="5238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4720" name="Isosceles Triangle 115">
            <a:extLst>
              <a:ext uri="{FF2B5EF4-FFF2-40B4-BE49-F238E27FC236}">
                <a16:creationId xmlns:a16="http://schemas.microsoft.com/office/drawing/2014/main" id="{A0DD8B44-EB29-D04B-702A-26D814299B22}"/>
              </a:ext>
            </a:extLst>
          </p:cNvPr>
          <p:cNvSpPr>
            <a:spLocks noChangeArrowheads="1"/>
          </p:cNvSpPr>
          <p:nvPr/>
        </p:nvSpPr>
        <p:spPr bwMode="auto">
          <a:xfrm rot="20700000">
            <a:off x="3133725" y="2177653"/>
            <a:ext cx="61913" cy="5238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4721" name="Isosceles Triangle 115">
            <a:extLst>
              <a:ext uri="{FF2B5EF4-FFF2-40B4-BE49-F238E27FC236}">
                <a16:creationId xmlns:a16="http://schemas.microsoft.com/office/drawing/2014/main" id="{7F112B24-5317-4B32-C4A6-2833A424A478}"/>
              </a:ext>
            </a:extLst>
          </p:cNvPr>
          <p:cNvSpPr>
            <a:spLocks noChangeArrowheads="1"/>
          </p:cNvSpPr>
          <p:nvPr/>
        </p:nvSpPr>
        <p:spPr bwMode="auto">
          <a:xfrm rot="20700000">
            <a:off x="3127772" y="2612231"/>
            <a:ext cx="61913" cy="53579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4722" name="Isosceles Triangle 115">
            <a:extLst>
              <a:ext uri="{FF2B5EF4-FFF2-40B4-BE49-F238E27FC236}">
                <a16:creationId xmlns:a16="http://schemas.microsoft.com/office/drawing/2014/main" id="{BC7EE541-37F9-A7EB-C982-8CCA2F12FA6A}"/>
              </a:ext>
            </a:extLst>
          </p:cNvPr>
          <p:cNvSpPr>
            <a:spLocks noChangeArrowheads="1"/>
          </p:cNvSpPr>
          <p:nvPr/>
        </p:nvSpPr>
        <p:spPr bwMode="auto">
          <a:xfrm rot="20700000">
            <a:off x="3344466" y="2868216"/>
            <a:ext cx="60722" cy="5238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4723" name="Isosceles Triangle 113">
            <a:extLst>
              <a:ext uri="{FF2B5EF4-FFF2-40B4-BE49-F238E27FC236}">
                <a16:creationId xmlns:a16="http://schemas.microsoft.com/office/drawing/2014/main" id="{8C569470-23AA-C6F3-8FF1-184C1F91E2D5}"/>
              </a:ext>
            </a:extLst>
          </p:cNvPr>
          <p:cNvSpPr>
            <a:spLocks noChangeArrowheads="1"/>
          </p:cNvSpPr>
          <p:nvPr/>
        </p:nvSpPr>
        <p:spPr bwMode="auto">
          <a:xfrm rot="4500000">
            <a:off x="1803797" y="2843212"/>
            <a:ext cx="61913" cy="5238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4724" name="Isosceles Triangle 115">
            <a:extLst>
              <a:ext uri="{FF2B5EF4-FFF2-40B4-BE49-F238E27FC236}">
                <a16:creationId xmlns:a16="http://schemas.microsoft.com/office/drawing/2014/main" id="{A9951640-4756-9FD2-6218-41A19F41127F}"/>
              </a:ext>
            </a:extLst>
          </p:cNvPr>
          <p:cNvSpPr>
            <a:spLocks noChangeArrowheads="1"/>
          </p:cNvSpPr>
          <p:nvPr/>
        </p:nvSpPr>
        <p:spPr bwMode="auto">
          <a:xfrm rot="20700000">
            <a:off x="2280047" y="1989535"/>
            <a:ext cx="60722" cy="5357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4725" name="Isosceles Triangle 99">
            <a:extLst>
              <a:ext uri="{FF2B5EF4-FFF2-40B4-BE49-F238E27FC236}">
                <a16:creationId xmlns:a16="http://schemas.microsoft.com/office/drawing/2014/main" id="{BB46E8D8-EA38-2A69-A61C-F089DA51B44F}"/>
              </a:ext>
            </a:extLst>
          </p:cNvPr>
          <p:cNvSpPr>
            <a:spLocks noChangeArrowheads="1"/>
          </p:cNvSpPr>
          <p:nvPr/>
        </p:nvSpPr>
        <p:spPr bwMode="auto">
          <a:xfrm rot="18900000">
            <a:off x="1820466" y="2302669"/>
            <a:ext cx="60722" cy="53579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grpSp>
        <p:nvGrpSpPr>
          <p:cNvPr id="24726" name="Group 1917">
            <a:extLst>
              <a:ext uri="{FF2B5EF4-FFF2-40B4-BE49-F238E27FC236}">
                <a16:creationId xmlns:a16="http://schemas.microsoft.com/office/drawing/2014/main" id="{BB7B62E2-171D-C945-22C0-DC4071A0D4DD}"/>
              </a:ext>
            </a:extLst>
          </p:cNvPr>
          <p:cNvGrpSpPr>
            <a:grpSpLocks/>
          </p:cNvGrpSpPr>
          <p:nvPr/>
        </p:nvGrpSpPr>
        <p:grpSpPr bwMode="auto">
          <a:xfrm>
            <a:off x="2333625" y="2294335"/>
            <a:ext cx="1045369" cy="866775"/>
            <a:chOff x="2116539" y="2934916"/>
            <a:chExt cx="1857674" cy="1540876"/>
          </a:xfrm>
        </p:grpSpPr>
        <p:pic>
          <p:nvPicPr>
            <p:cNvPr id="24727" name="Graphic 1913">
              <a:extLst>
                <a:ext uri="{FF2B5EF4-FFF2-40B4-BE49-F238E27FC236}">
                  <a16:creationId xmlns:a16="http://schemas.microsoft.com/office/drawing/2014/main" id="{073A6C0B-736E-892D-9D34-6996268FA2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6539" y="2934916"/>
              <a:ext cx="465476" cy="440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728" name="Graphic 1914">
              <a:extLst>
                <a:ext uri="{FF2B5EF4-FFF2-40B4-BE49-F238E27FC236}">
                  <a16:creationId xmlns:a16="http://schemas.microsoft.com/office/drawing/2014/main" id="{C5DA0578-8970-C17A-DCF2-5D68AAED46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0301" y="3076727"/>
              <a:ext cx="484518" cy="457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729" name="Graphic 1915">
              <a:extLst>
                <a:ext uri="{FF2B5EF4-FFF2-40B4-BE49-F238E27FC236}">
                  <a16:creationId xmlns:a16="http://schemas.microsoft.com/office/drawing/2014/main" id="{E6BA501D-C5A8-71F9-39B7-15F3720E33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59072" y="3597407"/>
              <a:ext cx="484519" cy="457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730" name="Graphic 1916">
              <a:extLst>
                <a:ext uri="{FF2B5EF4-FFF2-40B4-BE49-F238E27FC236}">
                  <a16:creationId xmlns:a16="http://schemas.microsoft.com/office/drawing/2014/main" id="{FE5DA945-C8CE-A823-7CD7-30B9D15A79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89695" y="4018609"/>
              <a:ext cx="484518" cy="457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4731" name="Group 155">
            <a:extLst>
              <a:ext uri="{FF2B5EF4-FFF2-40B4-BE49-F238E27FC236}">
                <a16:creationId xmlns:a16="http://schemas.microsoft.com/office/drawing/2014/main" id="{84BD4263-B814-03D4-D630-7CF0F13003AA}"/>
              </a:ext>
            </a:extLst>
          </p:cNvPr>
          <p:cNvGrpSpPr>
            <a:grpSpLocks/>
          </p:cNvGrpSpPr>
          <p:nvPr/>
        </p:nvGrpSpPr>
        <p:grpSpPr bwMode="auto">
          <a:xfrm>
            <a:off x="2305050" y="2206228"/>
            <a:ext cx="1132285" cy="994172"/>
            <a:chOff x="2066544" y="2779776"/>
            <a:chExt cx="2011690" cy="1766466"/>
          </a:xfrm>
        </p:grpSpPr>
        <p:grpSp>
          <p:nvGrpSpPr>
            <p:cNvPr id="24732" name="Group 1918">
              <a:extLst>
                <a:ext uri="{FF2B5EF4-FFF2-40B4-BE49-F238E27FC236}">
                  <a16:creationId xmlns:a16="http://schemas.microsoft.com/office/drawing/2014/main" id="{E83757D1-69F7-9369-214B-DE20EA725BE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557016" y="2779776"/>
              <a:ext cx="457210" cy="435449"/>
              <a:chOff x="3148968" y="4198479"/>
              <a:chExt cx="457210" cy="435449"/>
            </a:xfrm>
          </p:grpSpPr>
          <p:sp>
            <p:nvSpPr>
              <p:cNvPr id="35939" name="Freeform 195">
                <a:extLst>
                  <a:ext uri="{FF2B5EF4-FFF2-40B4-BE49-F238E27FC236}">
                    <a16:creationId xmlns:a16="http://schemas.microsoft.com/office/drawing/2014/main" id="{87EF3E40-D7E0-98B7-714C-EF44C214EC78}"/>
                  </a:ext>
                </a:extLst>
              </p:cNvPr>
              <p:cNvSpPr/>
              <p:nvPr/>
            </p:nvSpPr>
            <p:spPr>
              <a:xfrm>
                <a:off x="3149811" y="4198479"/>
                <a:ext cx="456914" cy="435799"/>
              </a:xfrm>
              <a:custGeom>
                <a:avLst/>
                <a:gdLst>
                  <a:gd name="connsiteX0" fmla="*/ 153872 w 457210"/>
                  <a:gd name="connsiteY0" fmla="*/ 20403 h 435449"/>
                  <a:gd name="connsiteX1" fmla="*/ 179714 w 457210"/>
                  <a:gd name="connsiteY1" fmla="*/ 4987 h 435449"/>
                  <a:gd name="connsiteX2" fmla="*/ 221139 w 457210"/>
                  <a:gd name="connsiteY2" fmla="*/ 498 h 435449"/>
                  <a:gd name="connsiteX3" fmla="*/ 355831 w 457210"/>
                  <a:gd name="connsiteY3" fmla="*/ 50778 h 435449"/>
                  <a:gd name="connsiteX4" fmla="*/ 422092 w 457210"/>
                  <a:gd name="connsiteY4" fmla="*/ 86536 h 435449"/>
                  <a:gd name="connsiteX5" fmla="*/ 449709 w 457210"/>
                  <a:gd name="connsiteY5" fmla="*/ 107971 h 435449"/>
                  <a:gd name="connsiteX6" fmla="*/ 456909 w 457210"/>
                  <a:gd name="connsiteY6" fmla="*/ 150821 h 435449"/>
                  <a:gd name="connsiteX7" fmla="*/ 450873 w 457210"/>
                  <a:gd name="connsiteY7" fmla="*/ 235071 h 435449"/>
                  <a:gd name="connsiteX8" fmla="*/ 432587 w 457210"/>
                  <a:gd name="connsiteY8" fmla="*/ 326453 h 435449"/>
                  <a:gd name="connsiteX9" fmla="*/ 374986 w 457210"/>
                  <a:gd name="connsiteY9" fmla="*/ 397314 h 435449"/>
                  <a:gd name="connsiteX10" fmla="*/ 309888 w 457210"/>
                  <a:gd name="connsiteY10" fmla="*/ 415730 h 435449"/>
                  <a:gd name="connsiteX11" fmla="*/ 230529 w 457210"/>
                  <a:gd name="connsiteY11" fmla="*/ 428801 h 435449"/>
                  <a:gd name="connsiteX12" fmla="*/ 116767 w 457210"/>
                  <a:gd name="connsiteY12" fmla="*/ 426179 h 435449"/>
                  <a:gd name="connsiteX13" fmla="*/ 46186 w 457210"/>
                  <a:gd name="connsiteY13" fmla="*/ 361953 h 435449"/>
                  <a:gd name="connsiteX14" fmla="*/ 362 w 457210"/>
                  <a:gd name="connsiteY14" fmla="*/ 251739 h 435449"/>
                  <a:gd name="connsiteX15" fmla="*/ 48257 w 457210"/>
                  <a:gd name="connsiteY15" fmla="*/ 136240 h 435449"/>
                  <a:gd name="connsiteX16" fmla="*/ 153872 w 457210"/>
                  <a:gd name="connsiteY16" fmla="*/ 20403 h 435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7210" h="435449">
                    <a:moveTo>
                      <a:pt x="153872" y="20403"/>
                    </a:moveTo>
                    <a:cubicBezTo>
                      <a:pt x="161751" y="14107"/>
                      <a:pt x="170445" y="8921"/>
                      <a:pt x="179714" y="4987"/>
                    </a:cubicBezTo>
                    <a:cubicBezTo>
                      <a:pt x="192773" y="-58"/>
                      <a:pt x="207153" y="-654"/>
                      <a:pt x="221139" y="498"/>
                    </a:cubicBezTo>
                    <a:cubicBezTo>
                      <a:pt x="269232" y="4471"/>
                      <a:pt x="313301" y="27853"/>
                      <a:pt x="355831" y="50778"/>
                    </a:cubicBezTo>
                    <a:lnTo>
                      <a:pt x="422092" y="86536"/>
                    </a:lnTo>
                    <a:cubicBezTo>
                      <a:pt x="432449" y="92118"/>
                      <a:pt x="443259" y="98098"/>
                      <a:pt x="449709" y="107971"/>
                    </a:cubicBezTo>
                    <a:cubicBezTo>
                      <a:pt x="457777" y="120268"/>
                      <a:pt x="457600" y="136101"/>
                      <a:pt x="456909" y="150821"/>
                    </a:cubicBezTo>
                    <a:cubicBezTo>
                      <a:pt x="455593" y="178951"/>
                      <a:pt x="453581" y="207035"/>
                      <a:pt x="450873" y="235071"/>
                    </a:cubicBezTo>
                    <a:cubicBezTo>
                      <a:pt x="447815" y="266082"/>
                      <a:pt x="443811" y="297390"/>
                      <a:pt x="432587" y="326453"/>
                    </a:cubicBezTo>
                    <a:cubicBezTo>
                      <a:pt x="421362" y="355517"/>
                      <a:pt x="402168" y="382435"/>
                      <a:pt x="374986" y="397314"/>
                    </a:cubicBezTo>
                    <a:cubicBezTo>
                      <a:pt x="355062" y="408220"/>
                      <a:pt x="332219" y="412054"/>
                      <a:pt x="309888" y="415730"/>
                    </a:cubicBezTo>
                    <a:lnTo>
                      <a:pt x="230529" y="428801"/>
                    </a:lnTo>
                    <a:cubicBezTo>
                      <a:pt x="192556" y="435059"/>
                      <a:pt x="152275" y="441019"/>
                      <a:pt x="116767" y="426179"/>
                    </a:cubicBezTo>
                    <a:cubicBezTo>
                      <a:pt x="87178" y="413803"/>
                      <a:pt x="64768" y="388434"/>
                      <a:pt x="46186" y="361953"/>
                    </a:cubicBezTo>
                    <a:cubicBezTo>
                      <a:pt x="23047" y="329056"/>
                      <a:pt x="3518" y="292026"/>
                      <a:pt x="362" y="251739"/>
                    </a:cubicBezTo>
                    <a:cubicBezTo>
                      <a:pt x="-3445" y="202790"/>
                      <a:pt x="23501" y="173885"/>
                      <a:pt x="48257" y="136240"/>
                    </a:cubicBezTo>
                    <a:cubicBezTo>
                      <a:pt x="77571" y="91661"/>
                      <a:pt x="110889" y="52486"/>
                      <a:pt x="153872" y="20403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5940" name="Freeform 196">
                <a:extLst>
                  <a:ext uri="{FF2B5EF4-FFF2-40B4-BE49-F238E27FC236}">
                    <a16:creationId xmlns:a16="http://schemas.microsoft.com/office/drawing/2014/main" id="{9C3B931D-B5D1-26DA-C8C2-E0B1BD644B28}"/>
                  </a:ext>
                </a:extLst>
              </p:cNvPr>
              <p:cNvSpPr/>
              <p:nvPr/>
            </p:nvSpPr>
            <p:spPr>
              <a:xfrm>
                <a:off x="3287308" y="4338104"/>
                <a:ext cx="194612" cy="217899"/>
              </a:xfrm>
              <a:custGeom>
                <a:avLst/>
                <a:gdLst>
                  <a:gd name="connsiteX0" fmla="*/ 195291 w 195291"/>
                  <a:gd name="connsiteY0" fmla="*/ 109261 h 218522"/>
                  <a:gd name="connsiteX1" fmla="*/ 97646 w 195291"/>
                  <a:gd name="connsiteY1" fmla="*/ 218522 h 218522"/>
                  <a:gd name="connsiteX2" fmla="*/ 0 w 195291"/>
                  <a:gd name="connsiteY2" fmla="*/ 109261 h 218522"/>
                  <a:gd name="connsiteX3" fmla="*/ 97646 w 195291"/>
                  <a:gd name="connsiteY3" fmla="*/ 0 h 218522"/>
                  <a:gd name="connsiteX4" fmla="*/ 195291 w 195291"/>
                  <a:gd name="connsiteY4" fmla="*/ 109261 h 218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5291" h="218521">
                    <a:moveTo>
                      <a:pt x="195291" y="109261"/>
                    </a:moveTo>
                    <a:cubicBezTo>
                      <a:pt x="195291" y="169604"/>
                      <a:pt x="151574" y="218522"/>
                      <a:pt x="97646" y="218522"/>
                    </a:cubicBezTo>
                    <a:cubicBezTo>
                      <a:pt x="43717" y="218522"/>
                      <a:pt x="0" y="169604"/>
                      <a:pt x="0" y="109261"/>
                    </a:cubicBezTo>
                    <a:cubicBezTo>
                      <a:pt x="0" y="48918"/>
                      <a:pt x="43717" y="0"/>
                      <a:pt x="97646" y="0"/>
                    </a:cubicBezTo>
                    <a:cubicBezTo>
                      <a:pt x="151574" y="0"/>
                      <a:pt x="195291" y="48918"/>
                      <a:pt x="195291" y="109261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5941" name="Freeform 197">
                <a:extLst>
                  <a:ext uri="{FF2B5EF4-FFF2-40B4-BE49-F238E27FC236}">
                    <a16:creationId xmlns:a16="http://schemas.microsoft.com/office/drawing/2014/main" id="{27C0242A-20C5-2C0B-8201-081B5A8F8CC5}"/>
                  </a:ext>
                </a:extLst>
              </p:cNvPr>
              <p:cNvSpPr/>
              <p:nvPr/>
            </p:nvSpPr>
            <p:spPr>
              <a:xfrm>
                <a:off x="3456536" y="4266176"/>
                <a:ext cx="114229" cy="192513"/>
              </a:xfrm>
              <a:custGeom>
                <a:avLst/>
                <a:gdLst>
                  <a:gd name="connsiteX0" fmla="*/ 87033 w 112979"/>
                  <a:gd name="connsiteY0" fmla="*/ 40109 h 190888"/>
                  <a:gd name="connsiteX1" fmla="*/ 109876 w 112979"/>
                  <a:gd name="connsiteY1" fmla="*/ 58723 h 190888"/>
                  <a:gd name="connsiteX2" fmla="*/ 112598 w 112979"/>
                  <a:gd name="connsiteY2" fmla="*/ 76145 h 190888"/>
                  <a:gd name="connsiteX3" fmla="*/ 102518 w 112979"/>
                  <a:gd name="connsiteY3" fmla="*/ 190889 h 190888"/>
                  <a:gd name="connsiteX4" fmla="*/ 91866 w 112979"/>
                  <a:gd name="connsiteY4" fmla="*/ 98275 h 190888"/>
                  <a:gd name="connsiteX5" fmla="*/ 49316 w 112979"/>
                  <a:gd name="connsiteY5" fmla="*/ 47538 h 190888"/>
                  <a:gd name="connsiteX6" fmla="*/ 0 w 112979"/>
                  <a:gd name="connsiteY6" fmla="*/ 0 h 190888"/>
                  <a:gd name="connsiteX7" fmla="*/ 87033 w 112979"/>
                  <a:gd name="connsiteY7" fmla="*/ 40109 h 190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978" h="190888">
                    <a:moveTo>
                      <a:pt x="87033" y="40109"/>
                    </a:moveTo>
                    <a:cubicBezTo>
                      <a:pt x="96048" y="44459"/>
                      <a:pt x="105733" y="49545"/>
                      <a:pt x="109876" y="58723"/>
                    </a:cubicBezTo>
                    <a:cubicBezTo>
                      <a:pt x="112302" y="64106"/>
                      <a:pt x="112480" y="70225"/>
                      <a:pt x="112598" y="76145"/>
                    </a:cubicBezTo>
                    <a:cubicBezTo>
                      <a:pt x="113387" y="114724"/>
                      <a:pt x="114058" y="154098"/>
                      <a:pt x="102518" y="190889"/>
                    </a:cubicBezTo>
                    <a:cubicBezTo>
                      <a:pt x="92655" y="161269"/>
                      <a:pt x="102518" y="127617"/>
                      <a:pt x="91866" y="98275"/>
                    </a:cubicBezTo>
                    <a:cubicBezTo>
                      <a:pt x="84054" y="76741"/>
                      <a:pt x="66616" y="61444"/>
                      <a:pt x="49316" y="47538"/>
                    </a:cubicBezTo>
                    <a:cubicBezTo>
                      <a:pt x="34146" y="35361"/>
                      <a:pt x="5918" y="19349"/>
                      <a:pt x="0" y="0"/>
                    </a:cubicBezTo>
                    <a:cubicBezTo>
                      <a:pt x="29313" y="7311"/>
                      <a:pt x="59653" y="26838"/>
                      <a:pt x="87033" y="40109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4736" name="Group 131">
              <a:extLst>
                <a:ext uri="{FF2B5EF4-FFF2-40B4-BE49-F238E27FC236}">
                  <a16:creationId xmlns:a16="http://schemas.microsoft.com/office/drawing/2014/main" id="{31FD4763-7A33-F69A-E40D-7A3D16139A1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21024" y="3236976"/>
              <a:ext cx="457210" cy="435449"/>
              <a:chOff x="3148968" y="4198479"/>
              <a:chExt cx="457210" cy="435449"/>
            </a:xfrm>
          </p:grpSpPr>
          <p:sp>
            <p:nvSpPr>
              <p:cNvPr id="35936" name="Freeform 200">
                <a:extLst>
                  <a:ext uri="{FF2B5EF4-FFF2-40B4-BE49-F238E27FC236}">
                    <a16:creationId xmlns:a16="http://schemas.microsoft.com/office/drawing/2014/main" id="{DB78AEC6-42B5-E0CB-160D-FDED75454FD0}"/>
                  </a:ext>
                </a:extLst>
              </p:cNvPr>
              <p:cNvSpPr/>
              <p:nvPr/>
            </p:nvSpPr>
            <p:spPr>
              <a:xfrm>
                <a:off x="3149264" y="4198234"/>
                <a:ext cx="456914" cy="435799"/>
              </a:xfrm>
              <a:custGeom>
                <a:avLst/>
                <a:gdLst>
                  <a:gd name="connsiteX0" fmla="*/ 153872 w 457210"/>
                  <a:gd name="connsiteY0" fmla="*/ 20403 h 435449"/>
                  <a:gd name="connsiteX1" fmla="*/ 179714 w 457210"/>
                  <a:gd name="connsiteY1" fmla="*/ 4987 h 435449"/>
                  <a:gd name="connsiteX2" fmla="*/ 221139 w 457210"/>
                  <a:gd name="connsiteY2" fmla="*/ 498 h 435449"/>
                  <a:gd name="connsiteX3" fmla="*/ 355831 w 457210"/>
                  <a:gd name="connsiteY3" fmla="*/ 50778 h 435449"/>
                  <a:gd name="connsiteX4" fmla="*/ 422092 w 457210"/>
                  <a:gd name="connsiteY4" fmla="*/ 86536 h 435449"/>
                  <a:gd name="connsiteX5" fmla="*/ 449709 w 457210"/>
                  <a:gd name="connsiteY5" fmla="*/ 107971 h 435449"/>
                  <a:gd name="connsiteX6" fmla="*/ 456909 w 457210"/>
                  <a:gd name="connsiteY6" fmla="*/ 150821 h 435449"/>
                  <a:gd name="connsiteX7" fmla="*/ 450873 w 457210"/>
                  <a:gd name="connsiteY7" fmla="*/ 235071 h 435449"/>
                  <a:gd name="connsiteX8" fmla="*/ 432587 w 457210"/>
                  <a:gd name="connsiteY8" fmla="*/ 326453 h 435449"/>
                  <a:gd name="connsiteX9" fmla="*/ 374986 w 457210"/>
                  <a:gd name="connsiteY9" fmla="*/ 397314 h 435449"/>
                  <a:gd name="connsiteX10" fmla="*/ 309888 w 457210"/>
                  <a:gd name="connsiteY10" fmla="*/ 415730 h 435449"/>
                  <a:gd name="connsiteX11" fmla="*/ 230529 w 457210"/>
                  <a:gd name="connsiteY11" fmla="*/ 428801 h 435449"/>
                  <a:gd name="connsiteX12" fmla="*/ 116767 w 457210"/>
                  <a:gd name="connsiteY12" fmla="*/ 426179 h 435449"/>
                  <a:gd name="connsiteX13" fmla="*/ 46186 w 457210"/>
                  <a:gd name="connsiteY13" fmla="*/ 361953 h 435449"/>
                  <a:gd name="connsiteX14" fmla="*/ 362 w 457210"/>
                  <a:gd name="connsiteY14" fmla="*/ 251739 h 435449"/>
                  <a:gd name="connsiteX15" fmla="*/ 48257 w 457210"/>
                  <a:gd name="connsiteY15" fmla="*/ 136240 h 435449"/>
                  <a:gd name="connsiteX16" fmla="*/ 153872 w 457210"/>
                  <a:gd name="connsiteY16" fmla="*/ 20403 h 435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7210" h="435449">
                    <a:moveTo>
                      <a:pt x="153872" y="20403"/>
                    </a:moveTo>
                    <a:cubicBezTo>
                      <a:pt x="161751" y="14107"/>
                      <a:pt x="170445" y="8921"/>
                      <a:pt x="179714" y="4987"/>
                    </a:cubicBezTo>
                    <a:cubicBezTo>
                      <a:pt x="192773" y="-58"/>
                      <a:pt x="207153" y="-654"/>
                      <a:pt x="221139" y="498"/>
                    </a:cubicBezTo>
                    <a:cubicBezTo>
                      <a:pt x="269232" y="4471"/>
                      <a:pt x="313301" y="27853"/>
                      <a:pt x="355831" y="50778"/>
                    </a:cubicBezTo>
                    <a:lnTo>
                      <a:pt x="422092" y="86536"/>
                    </a:lnTo>
                    <a:cubicBezTo>
                      <a:pt x="432449" y="92118"/>
                      <a:pt x="443259" y="98098"/>
                      <a:pt x="449709" y="107971"/>
                    </a:cubicBezTo>
                    <a:cubicBezTo>
                      <a:pt x="457777" y="120268"/>
                      <a:pt x="457600" y="136101"/>
                      <a:pt x="456909" y="150821"/>
                    </a:cubicBezTo>
                    <a:cubicBezTo>
                      <a:pt x="455593" y="178951"/>
                      <a:pt x="453581" y="207035"/>
                      <a:pt x="450873" y="235071"/>
                    </a:cubicBezTo>
                    <a:cubicBezTo>
                      <a:pt x="447815" y="266082"/>
                      <a:pt x="443811" y="297390"/>
                      <a:pt x="432587" y="326453"/>
                    </a:cubicBezTo>
                    <a:cubicBezTo>
                      <a:pt x="421362" y="355517"/>
                      <a:pt x="402168" y="382435"/>
                      <a:pt x="374986" y="397314"/>
                    </a:cubicBezTo>
                    <a:cubicBezTo>
                      <a:pt x="355062" y="408220"/>
                      <a:pt x="332219" y="412054"/>
                      <a:pt x="309888" y="415730"/>
                    </a:cubicBezTo>
                    <a:lnTo>
                      <a:pt x="230529" y="428801"/>
                    </a:lnTo>
                    <a:cubicBezTo>
                      <a:pt x="192556" y="435059"/>
                      <a:pt x="152275" y="441019"/>
                      <a:pt x="116767" y="426179"/>
                    </a:cubicBezTo>
                    <a:cubicBezTo>
                      <a:pt x="87178" y="413803"/>
                      <a:pt x="64768" y="388434"/>
                      <a:pt x="46186" y="361953"/>
                    </a:cubicBezTo>
                    <a:cubicBezTo>
                      <a:pt x="23047" y="329056"/>
                      <a:pt x="3518" y="292026"/>
                      <a:pt x="362" y="251739"/>
                    </a:cubicBezTo>
                    <a:cubicBezTo>
                      <a:pt x="-3445" y="202790"/>
                      <a:pt x="23501" y="173885"/>
                      <a:pt x="48257" y="136240"/>
                    </a:cubicBezTo>
                    <a:cubicBezTo>
                      <a:pt x="77571" y="91661"/>
                      <a:pt x="110889" y="52486"/>
                      <a:pt x="153872" y="20403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5937" name="Freeform 201">
                <a:extLst>
                  <a:ext uri="{FF2B5EF4-FFF2-40B4-BE49-F238E27FC236}">
                    <a16:creationId xmlns:a16="http://schemas.microsoft.com/office/drawing/2014/main" id="{C540B2CC-6224-962C-333F-B8844A95EC38}"/>
                  </a:ext>
                </a:extLst>
              </p:cNvPr>
              <p:cNvSpPr/>
              <p:nvPr/>
            </p:nvSpPr>
            <p:spPr>
              <a:xfrm>
                <a:off x="3286760" y="4337859"/>
                <a:ext cx="194612" cy="217899"/>
              </a:xfrm>
              <a:custGeom>
                <a:avLst/>
                <a:gdLst>
                  <a:gd name="connsiteX0" fmla="*/ 195291 w 195291"/>
                  <a:gd name="connsiteY0" fmla="*/ 109261 h 218522"/>
                  <a:gd name="connsiteX1" fmla="*/ 97646 w 195291"/>
                  <a:gd name="connsiteY1" fmla="*/ 218522 h 218522"/>
                  <a:gd name="connsiteX2" fmla="*/ 0 w 195291"/>
                  <a:gd name="connsiteY2" fmla="*/ 109261 h 218522"/>
                  <a:gd name="connsiteX3" fmla="*/ 97646 w 195291"/>
                  <a:gd name="connsiteY3" fmla="*/ 0 h 218522"/>
                  <a:gd name="connsiteX4" fmla="*/ 195291 w 195291"/>
                  <a:gd name="connsiteY4" fmla="*/ 109261 h 218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5291" h="218521">
                    <a:moveTo>
                      <a:pt x="195291" y="109261"/>
                    </a:moveTo>
                    <a:cubicBezTo>
                      <a:pt x="195291" y="169604"/>
                      <a:pt x="151574" y="218522"/>
                      <a:pt x="97646" y="218522"/>
                    </a:cubicBezTo>
                    <a:cubicBezTo>
                      <a:pt x="43717" y="218522"/>
                      <a:pt x="0" y="169604"/>
                      <a:pt x="0" y="109261"/>
                    </a:cubicBezTo>
                    <a:cubicBezTo>
                      <a:pt x="0" y="48918"/>
                      <a:pt x="43717" y="0"/>
                      <a:pt x="97646" y="0"/>
                    </a:cubicBezTo>
                    <a:cubicBezTo>
                      <a:pt x="151574" y="0"/>
                      <a:pt x="195291" y="48918"/>
                      <a:pt x="195291" y="109261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5938" name="Freeform 202">
                <a:extLst>
                  <a:ext uri="{FF2B5EF4-FFF2-40B4-BE49-F238E27FC236}">
                    <a16:creationId xmlns:a16="http://schemas.microsoft.com/office/drawing/2014/main" id="{0C8E8BF2-25DD-083E-0EF6-2F62315854FA}"/>
                  </a:ext>
                </a:extLst>
              </p:cNvPr>
              <p:cNvSpPr/>
              <p:nvPr/>
            </p:nvSpPr>
            <p:spPr>
              <a:xfrm>
                <a:off x="3455988" y="4265931"/>
                <a:ext cx="114229" cy="192513"/>
              </a:xfrm>
              <a:custGeom>
                <a:avLst/>
                <a:gdLst>
                  <a:gd name="connsiteX0" fmla="*/ 87033 w 112979"/>
                  <a:gd name="connsiteY0" fmla="*/ 40109 h 190888"/>
                  <a:gd name="connsiteX1" fmla="*/ 109876 w 112979"/>
                  <a:gd name="connsiteY1" fmla="*/ 58723 h 190888"/>
                  <a:gd name="connsiteX2" fmla="*/ 112598 w 112979"/>
                  <a:gd name="connsiteY2" fmla="*/ 76145 h 190888"/>
                  <a:gd name="connsiteX3" fmla="*/ 102518 w 112979"/>
                  <a:gd name="connsiteY3" fmla="*/ 190889 h 190888"/>
                  <a:gd name="connsiteX4" fmla="*/ 91866 w 112979"/>
                  <a:gd name="connsiteY4" fmla="*/ 98275 h 190888"/>
                  <a:gd name="connsiteX5" fmla="*/ 49316 w 112979"/>
                  <a:gd name="connsiteY5" fmla="*/ 47538 h 190888"/>
                  <a:gd name="connsiteX6" fmla="*/ 0 w 112979"/>
                  <a:gd name="connsiteY6" fmla="*/ 0 h 190888"/>
                  <a:gd name="connsiteX7" fmla="*/ 87033 w 112979"/>
                  <a:gd name="connsiteY7" fmla="*/ 40109 h 190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978" h="190888">
                    <a:moveTo>
                      <a:pt x="87033" y="40109"/>
                    </a:moveTo>
                    <a:cubicBezTo>
                      <a:pt x="96048" y="44459"/>
                      <a:pt x="105733" y="49545"/>
                      <a:pt x="109876" y="58723"/>
                    </a:cubicBezTo>
                    <a:cubicBezTo>
                      <a:pt x="112302" y="64106"/>
                      <a:pt x="112480" y="70225"/>
                      <a:pt x="112598" y="76145"/>
                    </a:cubicBezTo>
                    <a:cubicBezTo>
                      <a:pt x="113387" y="114724"/>
                      <a:pt x="114058" y="154098"/>
                      <a:pt x="102518" y="190889"/>
                    </a:cubicBezTo>
                    <a:cubicBezTo>
                      <a:pt x="92655" y="161269"/>
                      <a:pt x="102518" y="127617"/>
                      <a:pt x="91866" y="98275"/>
                    </a:cubicBezTo>
                    <a:cubicBezTo>
                      <a:pt x="84054" y="76741"/>
                      <a:pt x="66616" y="61444"/>
                      <a:pt x="49316" y="47538"/>
                    </a:cubicBezTo>
                    <a:cubicBezTo>
                      <a:pt x="34146" y="35361"/>
                      <a:pt x="5918" y="19349"/>
                      <a:pt x="0" y="0"/>
                    </a:cubicBezTo>
                    <a:cubicBezTo>
                      <a:pt x="29313" y="7311"/>
                      <a:pt x="59653" y="26838"/>
                      <a:pt x="87033" y="40109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4740" name="Graphic 236">
              <a:extLst>
                <a:ext uri="{FF2B5EF4-FFF2-40B4-BE49-F238E27FC236}">
                  <a16:creationId xmlns:a16="http://schemas.microsoft.com/office/drawing/2014/main" id="{3B6FF8F9-83AD-ABAA-B908-A3833018A44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17925" y="3594972"/>
              <a:ext cx="457210" cy="435449"/>
              <a:chOff x="2721116" y="3594134"/>
              <a:chExt cx="457210" cy="435449"/>
            </a:xfrm>
          </p:grpSpPr>
          <p:sp>
            <p:nvSpPr>
              <p:cNvPr id="35933" name="Freeform 11">
                <a:extLst>
                  <a:ext uri="{FF2B5EF4-FFF2-40B4-BE49-F238E27FC236}">
                    <a16:creationId xmlns:a16="http://schemas.microsoft.com/office/drawing/2014/main" id="{B5DCEC3A-7557-23A6-2986-446E44EE05CE}"/>
                  </a:ext>
                </a:extLst>
              </p:cNvPr>
              <p:cNvSpPr/>
              <p:nvPr/>
            </p:nvSpPr>
            <p:spPr>
              <a:xfrm>
                <a:off x="2721260" y="3593416"/>
                <a:ext cx="456914" cy="435799"/>
              </a:xfrm>
              <a:custGeom>
                <a:avLst/>
                <a:gdLst>
                  <a:gd name="connsiteX0" fmla="*/ 153872 w 457210"/>
                  <a:gd name="connsiteY0" fmla="*/ 20403 h 435449"/>
                  <a:gd name="connsiteX1" fmla="*/ 179714 w 457210"/>
                  <a:gd name="connsiteY1" fmla="*/ 4987 h 435449"/>
                  <a:gd name="connsiteX2" fmla="*/ 221139 w 457210"/>
                  <a:gd name="connsiteY2" fmla="*/ 498 h 435449"/>
                  <a:gd name="connsiteX3" fmla="*/ 355831 w 457210"/>
                  <a:gd name="connsiteY3" fmla="*/ 50778 h 435449"/>
                  <a:gd name="connsiteX4" fmla="*/ 422092 w 457210"/>
                  <a:gd name="connsiteY4" fmla="*/ 86536 h 435449"/>
                  <a:gd name="connsiteX5" fmla="*/ 449709 w 457210"/>
                  <a:gd name="connsiteY5" fmla="*/ 107971 h 435449"/>
                  <a:gd name="connsiteX6" fmla="*/ 456909 w 457210"/>
                  <a:gd name="connsiteY6" fmla="*/ 150821 h 435449"/>
                  <a:gd name="connsiteX7" fmla="*/ 450873 w 457210"/>
                  <a:gd name="connsiteY7" fmla="*/ 235071 h 435449"/>
                  <a:gd name="connsiteX8" fmla="*/ 432587 w 457210"/>
                  <a:gd name="connsiteY8" fmla="*/ 326453 h 435449"/>
                  <a:gd name="connsiteX9" fmla="*/ 374986 w 457210"/>
                  <a:gd name="connsiteY9" fmla="*/ 397314 h 435449"/>
                  <a:gd name="connsiteX10" fmla="*/ 309888 w 457210"/>
                  <a:gd name="connsiteY10" fmla="*/ 415730 h 435449"/>
                  <a:gd name="connsiteX11" fmla="*/ 230529 w 457210"/>
                  <a:gd name="connsiteY11" fmla="*/ 428801 h 435449"/>
                  <a:gd name="connsiteX12" fmla="*/ 116767 w 457210"/>
                  <a:gd name="connsiteY12" fmla="*/ 426179 h 435449"/>
                  <a:gd name="connsiteX13" fmla="*/ 46186 w 457210"/>
                  <a:gd name="connsiteY13" fmla="*/ 361953 h 435449"/>
                  <a:gd name="connsiteX14" fmla="*/ 362 w 457210"/>
                  <a:gd name="connsiteY14" fmla="*/ 251739 h 435449"/>
                  <a:gd name="connsiteX15" fmla="*/ 48257 w 457210"/>
                  <a:gd name="connsiteY15" fmla="*/ 136240 h 435449"/>
                  <a:gd name="connsiteX16" fmla="*/ 153872 w 457210"/>
                  <a:gd name="connsiteY16" fmla="*/ 20403 h 435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7210" h="435449">
                    <a:moveTo>
                      <a:pt x="153872" y="20403"/>
                    </a:moveTo>
                    <a:cubicBezTo>
                      <a:pt x="161751" y="14107"/>
                      <a:pt x="170445" y="8921"/>
                      <a:pt x="179714" y="4987"/>
                    </a:cubicBezTo>
                    <a:cubicBezTo>
                      <a:pt x="192773" y="-58"/>
                      <a:pt x="207153" y="-654"/>
                      <a:pt x="221139" y="498"/>
                    </a:cubicBezTo>
                    <a:cubicBezTo>
                      <a:pt x="269232" y="4471"/>
                      <a:pt x="313301" y="27853"/>
                      <a:pt x="355831" y="50778"/>
                    </a:cubicBezTo>
                    <a:lnTo>
                      <a:pt x="422092" y="86536"/>
                    </a:lnTo>
                    <a:cubicBezTo>
                      <a:pt x="432449" y="92118"/>
                      <a:pt x="443259" y="98098"/>
                      <a:pt x="449709" y="107971"/>
                    </a:cubicBezTo>
                    <a:cubicBezTo>
                      <a:pt x="457777" y="120268"/>
                      <a:pt x="457600" y="136101"/>
                      <a:pt x="456909" y="150821"/>
                    </a:cubicBezTo>
                    <a:cubicBezTo>
                      <a:pt x="455593" y="178951"/>
                      <a:pt x="453581" y="207035"/>
                      <a:pt x="450873" y="235071"/>
                    </a:cubicBezTo>
                    <a:cubicBezTo>
                      <a:pt x="447815" y="266082"/>
                      <a:pt x="443811" y="297390"/>
                      <a:pt x="432587" y="326453"/>
                    </a:cubicBezTo>
                    <a:cubicBezTo>
                      <a:pt x="421362" y="355517"/>
                      <a:pt x="402168" y="382435"/>
                      <a:pt x="374986" y="397314"/>
                    </a:cubicBezTo>
                    <a:cubicBezTo>
                      <a:pt x="355062" y="408220"/>
                      <a:pt x="332219" y="412054"/>
                      <a:pt x="309888" y="415730"/>
                    </a:cubicBezTo>
                    <a:lnTo>
                      <a:pt x="230529" y="428801"/>
                    </a:lnTo>
                    <a:cubicBezTo>
                      <a:pt x="192556" y="435059"/>
                      <a:pt x="152275" y="441019"/>
                      <a:pt x="116767" y="426179"/>
                    </a:cubicBezTo>
                    <a:cubicBezTo>
                      <a:pt x="87178" y="413803"/>
                      <a:pt x="64768" y="388434"/>
                      <a:pt x="46186" y="361953"/>
                    </a:cubicBezTo>
                    <a:cubicBezTo>
                      <a:pt x="23047" y="329056"/>
                      <a:pt x="3518" y="292026"/>
                      <a:pt x="362" y="251739"/>
                    </a:cubicBezTo>
                    <a:cubicBezTo>
                      <a:pt x="-3445" y="202790"/>
                      <a:pt x="23501" y="173885"/>
                      <a:pt x="48257" y="136240"/>
                    </a:cubicBezTo>
                    <a:cubicBezTo>
                      <a:pt x="77571" y="91661"/>
                      <a:pt x="110889" y="52486"/>
                      <a:pt x="153872" y="20403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5934" name="Freeform 12">
                <a:extLst>
                  <a:ext uri="{FF2B5EF4-FFF2-40B4-BE49-F238E27FC236}">
                    <a16:creationId xmlns:a16="http://schemas.microsoft.com/office/drawing/2014/main" id="{33674E38-F7F6-1B7B-4E92-9EE0C1897471}"/>
                  </a:ext>
                </a:extLst>
              </p:cNvPr>
              <p:cNvSpPr/>
              <p:nvPr/>
            </p:nvSpPr>
            <p:spPr>
              <a:xfrm>
                <a:off x="2858758" y="3733041"/>
                <a:ext cx="194612" cy="217900"/>
              </a:xfrm>
              <a:custGeom>
                <a:avLst/>
                <a:gdLst>
                  <a:gd name="connsiteX0" fmla="*/ 195291 w 195291"/>
                  <a:gd name="connsiteY0" fmla="*/ 109261 h 218522"/>
                  <a:gd name="connsiteX1" fmla="*/ 97646 w 195291"/>
                  <a:gd name="connsiteY1" fmla="*/ 218522 h 218522"/>
                  <a:gd name="connsiteX2" fmla="*/ 0 w 195291"/>
                  <a:gd name="connsiteY2" fmla="*/ 109261 h 218522"/>
                  <a:gd name="connsiteX3" fmla="*/ 97646 w 195291"/>
                  <a:gd name="connsiteY3" fmla="*/ 0 h 218522"/>
                  <a:gd name="connsiteX4" fmla="*/ 195291 w 195291"/>
                  <a:gd name="connsiteY4" fmla="*/ 109261 h 218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5291" h="218521">
                    <a:moveTo>
                      <a:pt x="195291" y="109261"/>
                    </a:moveTo>
                    <a:cubicBezTo>
                      <a:pt x="195291" y="169604"/>
                      <a:pt x="151574" y="218522"/>
                      <a:pt x="97646" y="218522"/>
                    </a:cubicBezTo>
                    <a:cubicBezTo>
                      <a:pt x="43717" y="218522"/>
                      <a:pt x="0" y="169604"/>
                      <a:pt x="0" y="109261"/>
                    </a:cubicBezTo>
                    <a:cubicBezTo>
                      <a:pt x="0" y="48918"/>
                      <a:pt x="43717" y="0"/>
                      <a:pt x="97646" y="0"/>
                    </a:cubicBezTo>
                    <a:cubicBezTo>
                      <a:pt x="151574" y="0"/>
                      <a:pt x="195291" y="48918"/>
                      <a:pt x="195291" y="109261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5935" name="Freeform 13">
                <a:extLst>
                  <a:ext uri="{FF2B5EF4-FFF2-40B4-BE49-F238E27FC236}">
                    <a16:creationId xmlns:a16="http://schemas.microsoft.com/office/drawing/2014/main" id="{AFE5C4B9-9AE4-BB0F-24C5-C950F526B51F}"/>
                  </a:ext>
                </a:extLst>
              </p:cNvPr>
              <p:cNvSpPr/>
              <p:nvPr/>
            </p:nvSpPr>
            <p:spPr>
              <a:xfrm>
                <a:off x="3027985" y="3661113"/>
                <a:ext cx="114229" cy="192514"/>
              </a:xfrm>
              <a:custGeom>
                <a:avLst/>
                <a:gdLst>
                  <a:gd name="connsiteX0" fmla="*/ 87033 w 112979"/>
                  <a:gd name="connsiteY0" fmla="*/ 40109 h 190888"/>
                  <a:gd name="connsiteX1" fmla="*/ 109876 w 112979"/>
                  <a:gd name="connsiteY1" fmla="*/ 58723 h 190888"/>
                  <a:gd name="connsiteX2" fmla="*/ 112598 w 112979"/>
                  <a:gd name="connsiteY2" fmla="*/ 76145 h 190888"/>
                  <a:gd name="connsiteX3" fmla="*/ 102518 w 112979"/>
                  <a:gd name="connsiteY3" fmla="*/ 190889 h 190888"/>
                  <a:gd name="connsiteX4" fmla="*/ 91866 w 112979"/>
                  <a:gd name="connsiteY4" fmla="*/ 98275 h 190888"/>
                  <a:gd name="connsiteX5" fmla="*/ 49316 w 112979"/>
                  <a:gd name="connsiteY5" fmla="*/ 47538 h 190888"/>
                  <a:gd name="connsiteX6" fmla="*/ 0 w 112979"/>
                  <a:gd name="connsiteY6" fmla="*/ 0 h 190888"/>
                  <a:gd name="connsiteX7" fmla="*/ 87033 w 112979"/>
                  <a:gd name="connsiteY7" fmla="*/ 40109 h 190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978" h="190888">
                    <a:moveTo>
                      <a:pt x="87033" y="40109"/>
                    </a:moveTo>
                    <a:cubicBezTo>
                      <a:pt x="96048" y="44459"/>
                      <a:pt x="105733" y="49545"/>
                      <a:pt x="109876" y="58723"/>
                    </a:cubicBezTo>
                    <a:cubicBezTo>
                      <a:pt x="112302" y="64106"/>
                      <a:pt x="112480" y="70225"/>
                      <a:pt x="112598" y="76145"/>
                    </a:cubicBezTo>
                    <a:cubicBezTo>
                      <a:pt x="113387" y="114724"/>
                      <a:pt x="114058" y="154098"/>
                      <a:pt x="102518" y="190889"/>
                    </a:cubicBezTo>
                    <a:cubicBezTo>
                      <a:pt x="92655" y="161269"/>
                      <a:pt x="102518" y="127617"/>
                      <a:pt x="91866" y="98275"/>
                    </a:cubicBezTo>
                    <a:cubicBezTo>
                      <a:pt x="84054" y="76741"/>
                      <a:pt x="66616" y="61444"/>
                      <a:pt x="49316" y="47538"/>
                    </a:cubicBezTo>
                    <a:cubicBezTo>
                      <a:pt x="34146" y="35361"/>
                      <a:pt x="5918" y="19349"/>
                      <a:pt x="0" y="0"/>
                    </a:cubicBezTo>
                    <a:cubicBezTo>
                      <a:pt x="29313" y="7311"/>
                      <a:pt x="59653" y="26838"/>
                      <a:pt x="87033" y="40109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4744" name="Graphic 237">
              <a:extLst>
                <a:ext uri="{FF2B5EF4-FFF2-40B4-BE49-F238E27FC236}">
                  <a16:creationId xmlns:a16="http://schemas.microsoft.com/office/drawing/2014/main" id="{CBB5D531-4117-9E10-72D1-263FDDA4563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990202" y="4043742"/>
              <a:ext cx="457210" cy="435449"/>
              <a:chOff x="2993393" y="4042904"/>
              <a:chExt cx="457210" cy="435449"/>
            </a:xfrm>
          </p:grpSpPr>
          <p:sp>
            <p:nvSpPr>
              <p:cNvPr id="35930" name="Freeform 15">
                <a:extLst>
                  <a:ext uri="{FF2B5EF4-FFF2-40B4-BE49-F238E27FC236}">
                    <a16:creationId xmlns:a16="http://schemas.microsoft.com/office/drawing/2014/main" id="{EA26E48C-2320-676D-578A-E1509614184F}"/>
                  </a:ext>
                </a:extLst>
              </p:cNvPr>
              <p:cNvSpPr/>
              <p:nvPr/>
            </p:nvSpPr>
            <p:spPr>
              <a:xfrm>
                <a:off x="2994139" y="4041909"/>
                <a:ext cx="456914" cy="435799"/>
              </a:xfrm>
              <a:custGeom>
                <a:avLst/>
                <a:gdLst>
                  <a:gd name="connsiteX0" fmla="*/ 153872 w 457210"/>
                  <a:gd name="connsiteY0" fmla="*/ 20403 h 435449"/>
                  <a:gd name="connsiteX1" fmla="*/ 179714 w 457210"/>
                  <a:gd name="connsiteY1" fmla="*/ 4987 h 435449"/>
                  <a:gd name="connsiteX2" fmla="*/ 221139 w 457210"/>
                  <a:gd name="connsiteY2" fmla="*/ 498 h 435449"/>
                  <a:gd name="connsiteX3" fmla="*/ 355831 w 457210"/>
                  <a:gd name="connsiteY3" fmla="*/ 50778 h 435449"/>
                  <a:gd name="connsiteX4" fmla="*/ 422092 w 457210"/>
                  <a:gd name="connsiteY4" fmla="*/ 86536 h 435449"/>
                  <a:gd name="connsiteX5" fmla="*/ 449709 w 457210"/>
                  <a:gd name="connsiteY5" fmla="*/ 107971 h 435449"/>
                  <a:gd name="connsiteX6" fmla="*/ 456909 w 457210"/>
                  <a:gd name="connsiteY6" fmla="*/ 150821 h 435449"/>
                  <a:gd name="connsiteX7" fmla="*/ 450873 w 457210"/>
                  <a:gd name="connsiteY7" fmla="*/ 235071 h 435449"/>
                  <a:gd name="connsiteX8" fmla="*/ 432587 w 457210"/>
                  <a:gd name="connsiteY8" fmla="*/ 326453 h 435449"/>
                  <a:gd name="connsiteX9" fmla="*/ 374986 w 457210"/>
                  <a:gd name="connsiteY9" fmla="*/ 397314 h 435449"/>
                  <a:gd name="connsiteX10" fmla="*/ 309888 w 457210"/>
                  <a:gd name="connsiteY10" fmla="*/ 415730 h 435449"/>
                  <a:gd name="connsiteX11" fmla="*/ 230529 w 457210"/>
                  <a:gd name="connsiteY11" fmla="*/ 428801 h 435449"/>
                  <a:gd name="connsiteX12" fmla="*/ 116767 w 457210"/>
                  <a:gd name="connsiteY12" fmla="*/ 426179 h 435449"/>
                  <a:gd name="connsiteX13" fmla="*/ 46186 w 457210"/>
                  <a:gd name="connsiteY13" fmla="*/ 361953 h 435449"/>
                  <a:gd name="connsiteX14" fmla="*/ 362 w 457210"/>
                  <a:gd name="connsiteY14" fmla="*/ 251739 h 435449"/>
                  <a:gd name="connsiteX15" fmla="*/ 48257 w 457210"/>
                  <a:gd name="connsiteY15" fmla="*/ 136240 h 435449"/>
                  <a:gd name="connsiteX16" fmla="*/ 153872 w 457210"/>
                  <a:gd name="connsiteY16" fmla="*/ 20403 h 435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7210" h="435449">
                    <a:moveTo>
                      <a:pt x="153872" y="20403"/>
                    </a:moveTo>
                    <a:cubicBezTo>
                      <a:pt x="161751" y="14107"/>
                      <a:pt x="170445" y="8921"/>
                      <a:pt x="179714" y="4987"/>
                    </a:cubicBezTo>
                    <a:cubicBezTo>
                      <a:pt x="192773" y="-58"/>
                      <a:pt x="207153" y="-654"/>
                      <a:pt x="221139" y="498"/>
                    </a:cubicBezTo>
                    <a:cubicBezTo>
                      <a:pt x="269232" y="4471"/>
                      <a:pt x="313301" y="27853"/>
                      <a:pt x="355831" y="50778"/>
                    </a:cubicBezTo>
                    <a:lnTo>
                      <a:pt x="422092" y="86536"/>
                    </a:lnTo>
                    <a:cubicBezTo>
                      <a:pt x="432449" y="92118"/>
                      <a:pt x="443259" y="98098"/>
                      <a:pt x="449709" y="107971"/>
                    </a:cubicBezTo>
                    <a:cubicBezTo>
                      <a:pt x="457777" y="120268"/>
                      <a:pt x="457600" y="136101"/>
                      <a:pt x="456909" y="150821"/>
                    </a:cubicBezTo>
                    <a:cubicBezTo>
                      <a:pt x="455593" y="178951"/>
                      <a:pt x="453581" y="207035"/>
                      <a:pt x="450873" y="235071"/>
                    </a:cubicBezTo>
                    <a:cubicBezTo>
                      <a:pt x="447815" y="266082"/>
                      <a:pt x="443811" y="297390"/>
                      <a:pt x="432587" y="326453"/>
                    </a:cubicBezTo>
                    <a:cubicBezTo>
                      <a:pt x="421362" y="355517"/>
                      <a:pt x="402168" y="382435"/>
                      <a:pt x="374986" y="397314"/>
                    </a:cubicBezTo>
                    <a:cubicBezTo>
                      <a:pt x="355062" y="408220"/>
                      <a:pt x="332219" y="412054"/>
                      <a:pt x="309888" y="415730"/>
                    </a:cubicBezTo>
                    <a:lnTo>
                      <a:pt x="230529" y="428801"/>
                    </a:lnTo>
                    <a:cubicBezTo>
                      <a:pt x="192556" y="435059"/>
                      <a:pt x="152275" y="441019"/>
                      <a:pt x="116767" y="426179"/>
                    </a:cubicBezTo>
                    <a:cubicBezTo>
                      <a:pt x="87178" y="413803"/>
                      <a:pt x="64768" y="388434"/>
                      <a:pt x="46186" y="361953"/>
                    </a:cubicBezTo>
                    <a:cubicBezTo>
                      <a:pt x="23047" y="329056"/>
                      <a:pt x="3518" y="292026"/>
                      <a:pt x="362" y="251739"/>
                    </a:cubicBezTo>
                    <a:cubicBezTo>
                      <a:pt x="-3445" y="202790"/>
                      <a:pt x="23501" y="173885"/>
                      <a:pt x="48257" y="136240"/>
                    </a:cubicBezTo>
                    <a:cubicBezTo>
                      <a:pt x="77571" y="91661"/>
                      <a:pt x="110889" y="52486"/>
                      <a:pt x="153872" y="20403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5931" name="Freeform 16">
                <a:extLst>
                  <a:ext uri="{FF2B5EF4-FFF2-40B4-BE49-F238E27FC236}">
                    <a16:creationId xmlns:a16="http://schemas.microsoft.com/office/drawing/2014/main" id="{7CDAA74B-338A-A7D4-90AB-EC3A56EDDB2A}"/>
                  </a:ext>
                </a:extLst>
              </p:cNvPr>
              <p:cNvSpPr/>
              <p:nvPr/>
            </p:nvSpPr>
            <p:spPr>
              <a:xfrm>
                <a:off x="3131636" y="4181534"/>
                <a:ext cx="194612" cy="217900"/>
              </a:xfrm>
              <a:custGeom>
                <a:avLst/>
                <a:gdLst>
                  <a:gd name="connsiteX0" fmla="*/ 195291 w 195291"/>
                  <a:gd name="connsiteY0" fmla="*/ 109261 h 218522"/>
                  <a:gd name="connsiteX1" fmla="*/ 97646 w 195291"/>
                  <a:gd name="connsiteY1" fmla="*/ 218522 h 218522"/>
                  <a:gd name="connsiteX2" fmla="*/ 0 w 195291"/>
                  <a:gd name="connsiteY2" fmla="*/ 109261 h 218522"/>
                  <a:gd name="connsiteX3" fmla="*/ 97646 w 195291"/>
                  <a:gd name="connsiteY3" fmla="*/ 0 h 218522"/>
                  <a:gd name="connsiteX4" fmla="*/ 195291 w 195291"/>
                  <a:gd name="connsiteY4" fmla="*/ 109261 h 218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5291" h="218521">
                    <a:moveTo>
                      <a:pt x="195291" y="109261"/>
                    </a:moveTo>
                    <a:cubicBezTo>
                      <a:pt x="195291" y="169604"/>
                      <a:pt x="151574" y="218522"/>
                      <a:pt x="97646" y="218522"/>
                    </a:cubicBezTo>
                    <a:cubicBezTo>
                      <a:pt x="43717" y="218522"/>
                      <a:pt x="0" y="169604"/>
                      <a:pt x="0" y="109261"/>
                    </a:cubicBezTo>
                    <a:cubicBezTo>
                      <a:pt x="0" y="48918"/>
                      <a:pt x="43717" y="0"/>
                      <a:pt x="97646" y="0"/>
                    </a:cubicBezTo>
                    <a:cubicBezTo>
                      <a:pt x="151574" y="0"/>
                      <a:pt x="195291" y="48918"/>
                      <a:pt x="195291" y="109261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5932" name="Freeform 17">
                <a:extLst>
                  <a:ext uri="{FF2B5EF4-FFF2-40B4-BE49-F238E27FC236}">
                    <a16:creationId xmlns:a16="http://schemas.microsoft.com/office/drawing/2014/main" id="{F53D3AE8-2EB0-8462-EFC0-623C60F52EFF}"/>
                  </a:ext>
                </a:extLst>
              </p:cNvPr>
              <p:cNvSpPr/>
              <p:nvPr/>
            </p:nvSpPr>
            <p:spPr>
              <a:xfrm>
                <a:off x="3300863" y="4109606"/>
                <a:ext cx="114229" cy="192514"/>
              </a:xfrm>
              <a:custGeom>
                <a:avLst/>
                <a:gdLst>
                  <a:gd name="connsiteX0" fmla="*/ 87033 w 112979"/>
                  <a:gd name="connsiteY0" fmla="*/ 40109 h 190888"/>
                  <a:gd name="connsiteX1" fmla="*/ 109876 w 112979"/>
                  <a:gd name="connsiteY1" fmla="*/ 58723 h 190888"/>
                  <a:gd name="connsiteX2" fmla="*/ 112598 w 112979"/>
                  <a:gd name="connsiteY2" fmla="*/ 76145 h 190888"/>
                  <a:gd name="connsiteX3" fmla="*/ 102518 w 112979"/>
                  <a:gd name="connsiteY3" fmla="*/ 190889 h 190888"/>
                  <a:gd name="connsiteX4" fmla="*/ 91866 w 112979"/>
                  <a:gd name="connsiteY4" fmla="*/ 98275 h 190888"/>
                  <a:gd name="connsiteX5" fmla="*/ 49316 w 112979"/>
                  <a:gd name="connsiteY5" fmla="*/ 47538 h 190888"/>
                  <a:gd name="connsiteX6" fmla="*/ 0 w 112979"/>
                  <a:gd name="connsiteY6" fmla="*/ 0 h 190888"/>
                  <a:gd name="connsiteX7" fmla="*/ 87033 w 112979"/>
                  <a:gd name="connsiteY7" fmla="*/ 40109 h 190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978" h="190888">
                    <a:moveTo>
                      <a:pt x="87033" y="40109"/>
                    </a:moveTo>
                    <a:cubicBezTo>
                      <a:pt x="96048" y="44459"/>
                      <a:pt x="105733" y="49545"/>
                      <a:pt x="109876" y="58723"/>
                    </a:cubicBezTo>
                    <a:cubicBezTo>
                      <a:pt x="112302" y="64106"/>
                      <a:pt x="112480" y="70225"/>
                      <a:pt x="112598" y="76145"/>
                    </a:cubicBezTo>
                    <a:cubicBezTo>
                      <a:pt x="113387" y="114724"/>
                      <a:pt x="114058" y="154098"/>
                      <a:pt x="102518" y="190889"/>
                    </a:cubicBezTo>
                    <a:cubicBezTo>
                      <a:pt x="92655" y="161269"/>
                      <a:pt x="102518" y="127617"/>
                      <a:pt x="91866" y="98275"/>
                    </a:cubicBezTo>
                    <a:cubicBezTo>
                      <a:pt x="84054" y="76741"/>
                      <a:pt x="66616" y="61444"/>
                      <a:pt x="49316" y="47538"/>
                    </a:cubicBezTo>
                    <a:cubicBezTo>
                      <a:pt x="34146" y="35361"/>
                      <a:pt x="5918" y="19349"/>
                      <a:pt x="0" y="0"/>
                    </a:cubicBezTo>
                    <a:cubicBezTo>
                      <a:pt x="29313" y="7311"/>
                      <a:pt x="59653" y="26838"/>
                      <a:pt x="87033" y="40109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4748" name="Graphic 235">
              <a:extLst>
                <a:ext uri="{FF2B5EF4-FFF2-40B4-BE49-F238E27FC236}">
                  <a16:creationId xmlns:a16="http://schemas.microsoft.com/office/drawing/2014/main" id="{8DBC63FD-87C6-2B0A-2B71-3FA901B9837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483435" y="4110793"/>
              <a:ext cx="457210" cy="435449"/>
              <a:chOff x="2486626" y="4109955"/>
              <a:chExt cx="457210" cy="435449"/>
            </a:xfrm>
          </p:grpSpPr>
          <p:sp>
            <p:nvSpPr>
              <p:cNvPr id="35927" name="Freeform 19">
                <a:extLst>
                  <a:ext uri="{FF2B5EF4-FFF2-40B4-BE49-F238E27FC236}">
                    <a16:creationId xmlns:a16="http://schemas.microsoft.com/office/drawing/2014/main" id="{C3643893-84EB-0985-EBC7-5D6F177F5114}"/>
                  </a:ext>
                </a:extLst>
              </p:cNvPr>
              <p:cNvSpPr/>
              <p:nvPr/>
            </p:nvSpPr>
            <p:spPr>
              <a:xfrm>
                <a:off x="2486458" y="4109605"/>
                <a:ext cx="456914" cy="435799"/>
              </a:xfrm>
              <a:custGeom>
                <a:avLst/>
                <a:gdLst>
                  <a:gd name="connsiteX0" fmla="*/ 153872 w 457210"/>
                  <a:gd name="connsiteY0" fmla="*/ 20403 h 435449"/>
                  <a:gd name="connsiteX1" fmla="*/ 179714 w 457210"/>
                  <a:gd name="connsiteY1" fmla="*/ 4987 h 435449"/>
                  <a:gd name="connsiteX2" fmla="*/ 221139 w 457210"/>
                  <a:gd name="connsiteY2" fmla="*/ 498 h 435449"/>
                  <a:gd name="connsiteX3" fmla="*/ 355831 w 457210"/>
                  <a:gd name="connsiteY3" fmla="*/ 50778 h 435449"/>
                  <a:gd name="connsiteX4" fmla="*/ 422092 w 457210"/>
                  <a:gd name="connsiteY4" fmla="*/ 86536 h 435449"/>
                  <a:gd name="connsiteX5" fmla="*/ 449709 w 457210"/>
                  <a:gd name="connsiteY5" fmla="*/ 107971 h 435449"/>
                  <a:gd name="connsiteX6" fmla="*/ 456909 w 457210"/>
                  <a:gd name="connsiteY6" fmla="*/ 150821 h 435449"/>
                  <a:gd name="connsiteX7" fmla="*/ 450873 w 457210"/>
                  <a:gd name="connsiteY7" fmla="*/ 235071 h 435449"/>
                  <a:gd name="connsiteX8" fmla="*/ 432587 w 457210"/>
                  <a:gd name="connsiteY8" fmla="*/ 326453 h 435449"/>
                  <a:gd name="connsiteX9" fmla="*/ 374986 w 457210"/>
                  <a:gd name="connsiteY9" fmla="*/ 397314 h 435449"/>
                  <a:gd name="connsiteX10" fmla="*/ 309888 w 457210"/>
                  <a:gd name="connsiteY10" fmla="*/ 415730 h 435449"/>
                  <a:gd name="connsiteX11" fmla="*/ 230529 w 457210"/>
                  <a:gd name="connsiteY11" fmla="*/ 428801 h 435449"/>
                  <a:gd name="connsiteX12" fmla="*/ 116767 w 457210"/>
                  <a:gd name="connsiteY12" fmla="*/ 426179 h 435449"/>
                  <a:gd name="connsiteX13" fmla="*/ 46186 w 457210"/>
                  <a:gd name="connsiteY13" fmla="*/ 361953 h 435449"/>
                  <a:gd name="connsiteX14" fmla="*/ 362 w 457210"/>
                  <a:gd name="connsiteY14" fmla="*/ 251739 h 435449"/>
                  <a:gd name="connsiteX15" fmla="*/ 48257 w 457210"/>
                  <a:gd name="connsiteY15" fmla="*/ 136240 h 435449"/>
                  <a:gd name="connsiteX16" fmla="*/ 153872 w 457210"/>
                  <a:gd name="connsiteY16" fmla="*/ 20403 h 435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7210" h="435449">
                    <a:moveTo>
                      <a:pt x="153872" y="20403"/>
                    </a:moveTo>
                    <a:cubicBezTo>
                      <a:pt x="161751" y="14107"/>
                      <a:pt x="170445" y="8921"/>
                      <a:pt x="179714" y="4987"/>
                    </a:cubicBezTo>
                    <a:cubicBezTo>
                      <a:pt x="192773" y="-58"/>
                      <a:pt x="207153" y="-654"/>
                      <a:pt x="221139" y="498"/>
                    </a:cubicBezTo>
                    <a:cubicBezTo>
                      <a:pt x="269232" y="4471"/>
                      <a:pt x="313301" y="27853"/>
                      <a:pt x="355831" y="50778"/>
                    </a:cubicBezTo>
                    <a:lnTo>
                      <a:pt x="422092" y="86536"/>
                    </a:lnTo>
                    <a:cubicBezTo>
                      <a:pt x="432449" y="92118"/>
                      <a:pt x="443259" y="98098"/>
                      <a:pt x="449709" y="107971"/>
                    </a:cubicBezTo>
                    <a:cubicBezTo>
                      <a:pt x="457777" y="120268"/>
                      <a:pt x="457600" y="136101"/>
                      <a:pt x="456909" y="150821"/>
                    </a:cubicBezTo>
                    <a:cubicBezTo>
                      <a:pt x="455593" y="178951"/>
                      <a:pt x="453581" y="207035"/>
                      <a:pt x="450873" y="235071"/>
                    </a:cubicBezTo>
                    <a:cubicBezTo>
                      <a:pt x="447815" y="266082"/>
                      <a:pt x="443811" y="297390"/>
                      <a:pt x="432587" y="326453"/>
                    </a:cubicBezTo>
                    <a:cubicBezTo>
                      <a:pt x="421362" y="355517"/>
                      <a:pt x="402168" y="382435"/>
                      <a:pt x="374986" y="397314"/>
                    </a:cubicBezTo>
                    <a:cubicBezTo>
                      <a:pt x="355062" y="408220"/>
                      <a:pt x="332219" y="412054"/>
                      <a:pt x="309888" y="415730"/>
                    </a:cubicBezTo>
                    <a:lnTo>
                      <a:pt x="230529" y="428801"/>
                    </a:lnTo>
                    <a:cubicBezTo>
                      <a:pt x="192556" y="435059"/>
                      <a:pt x="152275" y="441019"/>
                      <a:pt x="116767" y="426179"/>
                    </a:cubicBezTo>
                    <a:cubicBezTo>
                      <a:pt x="87178" y="413803"/>
                      <a:pt x="64768" y="388434"/>
                      <a:pt x="46186" y="361953"/>
                    </a:cubicBezTo>
                    <a:cubicBezTo>
                      <a:pt x="23047" y="329056"/>
                      <a:pt x="3518" y="292026"/>
                      <a:pt x="362" y="251739"/>
                    </a:cubicBezTo>
                    <a:cubicBezTo>
                      <a:pt x="-3445" y="202790"/>
                      <a:pt x="23501" y="173885"/>
                      <a:pt x="48257" y="136240"/>
                    </a:cubicBezTo>
                    <a:cubicBezTo>
                      <a:pt x="77571" y="91661"/>
                      <a:pt x="110889" y="52486"/>
                      <a:pt x="153872" y="20403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5928" name="Freeform 20">
                <a:extLst>
                  <a:ext uri="{FF2B5EF4-FFF2-40B4-BE49-F238E27FC236}">
                    <a16:creationId xmlns:a16="http://schemas.microsoft.com/office/drawing/2014/main" id="{5EB0EC32-7513-29F9-A5DB-D687B6A62766}"/>
                  </a:ext>
                </a:extLst>
              </p:cNvPr>
              <p:cNvSpPr/>
              <p:nvPr/>
            </p:nvSpPr>
            <p:spPr>
              <a:xfrm>
                <a:off x="2623955" y="4249230"/>
                <a:ext cx="194612" cy="217900"/>
              </a:xfrm>
              <a:custGeom>
                <a:avLst/>
                <a:gdLst>
                  <a:gd name="connsiteX0" fmla="*/ 195291 w 195291"/>
                  <a:gd name="connsiteY0" fmla="*/ 109261 h 218522"/>
                  <a:gd name="connsiteX1" fmla="*/ 97646 w 195291"/>
                  <a:gd name="connsiteY1" fmla="*/ 218522 h 218522"/>
                  <a:gd name="connsiteX2" fmla="*/ 0 w 195291"/>
                  <a:gd name="connsiteY2" fmla="*/ 109261 h 218522"/>
                  <a:gd name="connsiteX3" fmla="*/ 97646 w 195291"/>
                  <a:gd name="connsiteY3" fmla="*/ 0 h 218522"/>
                  <a:gd name="connsiteX4" fmla="*/ 195291 w 195291"/>
                  <a:gd name="connsiteY4" fmla="*/ 109261 h 218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5291" h="218521">
                    <a:moveTo>
                      <a:pt x="195291" y="109261"/>
                    </a:moveTo>
                    <a:cubicBezTo>
                      <a:pt x="195291" y="169604"/>
                      <a:pt x="151574" y="218522"/>
                      <a:pt x="97646" y="218522"/>
                    </a:cubicBezTo>
                    <a:cubicBezTo>
                      <a:pt x="43717" y="218522"/>
                      <a:pt x="0" y="169604"/>
                      <a:pt x="0" y="109261"/>
                    </a:cubicBezTo>
                    <a:cubicBezTo>
                      <a:pt x="0" y="48918"/>
                      <a:pt x="43717" y="0"/>
                      <a:pt x="97646" y="0"/>
                    </a:cubicBezTo>
                    <a:cubicBezTo>
                      <a:pt x="151574" y="0"/>
                      <a:pt x="195291" y="48918"/>
                      <a:pt x="195291" y="109261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5929" name="Freeform 21">
                <a:extLst>
                  <a:ext uri="{FF2B5EF4-FFF2-40B4-BE49-F238E27FC236}">
                    <a16:creationId xmlns:a16="http://schemas.microsoft.com/office/drawing/2014/main" id="{2C8F77D2-4926-FBD9-8AEA-D8C8B8B2BEE2}"/>
                  </a:ext>
                </a:extLst>
              </p:cNvPr>
              <p:cNvSpPr/>
              <p:nvPr/>
            </p:nvSpPr>
            <p:spPr>
              <a:xfrm>
                <a:off x="2793182" y="4177302"/>
                <a:ext cx="114229" cy="192514"/>
              </a:xfrm>
              <a:custGeom>
                <a:avLst/>
                <a:gdLst>
                  <a:gd name="connsiteX0" fmla="*/ 87033 w 112979"/>
                  <a:gd name="connsiteY0" fmla="*/ 40109 h 190888"/>
                  <a:gd name="connsiteX1" fmla="*/ 109876 w 112979"/>
                  <a:gd name="connsiteY1" fmla="*/ 58723 h 190888"/>
                  <a:gd name="connsiteX2" fmla="*/ 112598 w 112979"/>
                  <a:gd name="connsiteY2" fmla="*/ 76145 h 190888"/>
                  <a:gd name="connsiteX3" fmla="*/ 102518 w 112979"/>
                  <a:gd name="connsiteY3" fmla="*/ 190889 h 190888"/>
                  <a:gd name="connsiteX4" fmla="*/ 91866 w 112979"/>
                  <a:gd name="connsiteY4" fmla="*/ 98275 h 190888"/>
                  <a:gd name="connsiteX5" fmla="*/ 49316 w 112979"/>
                  <a:gd name="connsiteY5" fmla="*/ 47538 h 190888"/>
                  <a:gd name="connsiteX6" fmla="*/ 0 w 112979"/>
                  <a:gd name="connsiteY6" fmla="*/ 0 h 190888"/>
                  <a:gd name="connsiteX7" fmla="*/ 87033 w 112979"/>
                  <a:gd name="connsiteY7" fmla="*/ 40109 h 190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978" h="190888">
                    <a:moveTo>
                      <a:pt x="87033" y="40109"/>
                    </a:moveTo>
                    <a:cubicBezTo>
                      <a:pt x="96048" y="44459"/>
                      <a:pt x="105733" y="49545"/>
                      <a:pt x="109876" y="58723"/>
                    </a:cubicBezTo>
                    <a:cubicBezTo>
                      <a:pt x="112302" y="64106"/>
                      <a:pt x="112480" y="70225"/>
                      <a:pt x="112598" y="76145"/>
                    </a:cubicBezTo>
                    <a:cubicBezTo>
                      <a:pt x="113387" y="114724"/>
                      <a:pt x="114058" y="154098"/>
                      <a:pt x="102518" y="190889"/>
                    </a:cubicBezTo>
                    <a:cubicBezTo>
                      <a:pt x="92655" y="161269"/>
                      <a:pt x="102518" y="127617"/>
                      <a:pt x="91866" y="98275"/>
                    </a:cubicBezTo>
                    <a:cubicBezTo>
                      <a:pt x="84054" y="76741"/>
                      <a:pt x="66616" y="61444"/>
                      <a:pt x="49316" y="47538"/>
                    </a:cubicBezTo>
                    <a:cubicBezTo>
                      <a:pt x="34146" y="35361"/>
                      <a:pt x="5918" y="19349"/>
                      <a:pt x="0" y="0"/>
                    </a:cubicBezTo>
                    <a:cubicBezTo>
                      <a:pt x="29313" y="7311"/>
                      <a:pt x="59653" y="26838"/>
                      <a:pt x="87033" y="40109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4752" name="Graphic 214">
              <a:extLst>
                <a:ext uri="{FF2B5EF4-FFF2-40B4-BE49-F238E27FC236}">
                  <a16:creationId xmlns:a16="http://schemas.microsoft.com/office/drawing/2014/main" id="{D9E5C9F5-99A8-5B02-4129-A5009B41591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66544" y="3853529"/>
              <a:ext cx="466344" cy="448056"/>
              <a:chOff x="2069735" y="3860643"/>
              <a:chExt cx="457210" cy="435449"/>
            </a:xfrm>
          </p:grpSpPr>
          <p:sp>
            <p:nvSpPr>
              <p:cNvPr id="35924" name="Freeform 23">
                <a:extLst>
                  <a:ext uri="{FF2B5EF4-FFF2-40B4-BE49-F238E27FC236}">
                    <a16:creationId xmlns:a16="http://schemas.microsoft.com/office/drawing/2014/main" id="{1D07F435-C601-243A-253F-7D394706B582}"/>
                  </a:ext>
                </a:extLst>
              </p:cNvPr>
              <p:cNvSpPr/>
              <p:nvPr/>
            </p:nvSpPr>
            <p:spPr>
              <a:xfrm>
                <a:off x="2069735" y="3861552"/>
                <a:ext cx="456260" cy="433816"/>
              </a:xfrm>
              <a:custGeom>
                <a:avLst/>
                <a:gdLst>
                  <a:gd name="connsiteX0" fmla="*/ 153872 w 457210"/>
                  <a:gd name="connsiteY0" fmla="*/ 20403 h 435449"/>
                  <a:gd name="connsiteX1" fmla="*/ 179714 w 457210"/>
                  <a:gd name="connsiteY1" fmla="*/ 4987 h 435449"/>
                  <a:gd name="connsiteX2" fmla="*/ 221139 w 457210"/>
                  <a:gd name="connsiteY2" fmla="*/ 498 h 435449"/>
                  <a:gd name="connsiteX3" fmla="*/ 355831 w 457210"/>
                  <a:gd name="connsiteY3" fmla="*/ 50778 h 435449"/>
                  <a:gd name="connsiteX4" fmla="*/ 422092 w 457210"/>
                  <a:gd name="connsiteY4" fmla="*/ 86536 h 435449"/>
                  <a:gd name="connsiteX5" fmla="*/ 449709 w 457210"/>
                  <a:gd name="connsiteY5" fmla="*/ 107971 h 435449"/>
                  <a:gd name="connsiteX6" fmla="*/ 456909 w 457210"/>
                  <a:gd name="connsiteY6" fmla="*/ 150821 h 435449"/>
                  <a:gd name="connsiteX7" fmla="*/ 450873 w 457210"/>
                  <a:gd name="connsiteY7" fmla="*/ 235071 h 435449"/>
                  <a:gd name="connsiteX8" fmla="*/ 432587 w 457210"/>
                  <a:gd name="connsiteY8" fmla="*/ 326453 h 435449"/>
                  <a:gd name="connsiteX9" fmla="*/ 374986 w 457210"/>
                  <a:gd name="connsiteY9" fmla="*/ 397314 h 435449"/>
                  <a:gd name="connsiteX10" fmla="*/ 309888 w 457210"/>
                  <a:gd name="connsiteY10" fmla="*/ 415730 h 435449"/>
                  <a:gd name="connsiteX11" fmla="*/ 230529 w 457210"/>
                  <a:gd name="connsiteY11" fmla="*/ 428801 h 435449"/>
                  <a:gd name="connsiteX12" fmla="*/ 116767 w 457210"/>
                  <a:gd name="connsiteY12" fmla="*/ 426179 h 435449"/>
                  <a:gd name="connsiteX13" fmla="*/ 46186 w 457210"/>
                  <a:gd name="connsiteY13" fmla="*/ 361953 h 435449"/>
                  <a:gd name="connsiteX14" fmla="*/ 362 w 457210"/>
                  <a:gd name="connsiteY14" fmla="*/ 251739 h 435449"/>
                  <a:gd name="connsiteX15" fmla="*/ 48257 w 457210"/>
                  <a:gd name="connsiteY15" fmla="*/ 136240 h 435449"/>
                  <a:gd name="connsiteX16" fmla="*/ 153872 w 457210"/>
                  <a:gd name="connsiteY16" fmla="*/ 20403 h 435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7210" h="435449">
                    <a:moveTo>
                      <a:pt x="153872" y="20403"/>
                    </a:moveTo>
                    <a:cubicBezTo>
                      <a:pt x="161751" y="14107"/>
                      <a:pt x="170445" y="8921"/>
                      <a:pt x="179714" y="4987"/>
                    </a:cubicBezTo>
                    <a:cubicBezTo>
                      <a:pt x="192773" y="-58"/>
                      <a:pt x="207153" y="-654"/>
                      <a:pt x="221139" y="498"/>
                    </a:cubicBezTo>
                    <a:cubicBezTo>
                      <a:pt x="269232" y="4471"/>
                      <a:pt x="313301" y="27853"/>
                      <a:pt x="355831" y="50778"/>
                    </a:cubicBezTo>
                    <a:lnTo>
                      <a:pt x="422092" y="86536"/>
                    </a:lnTo>
                    <a:cubicBezTo>
                      <a:pt x="432449" y="92118"/>
                      <a:pt x="443259" y="98098"/>
                      <a:pt x="449709" y="107971"/>
                    </a:cubicBezTo>
                    <a:cubicBezTo>
                      <a:pt x="457777" y="120268"/>
                      <a:pt x="457600" y="136101"/>
                      <a:pt x="456909" y="150821"/>
                    </a:cubicBezTo>
                    <a:cubicBezTo>
                      <a:pt x="455593" y="178951"/>
                      <a:pt x="453581" y="207035"/>
                      <a:pt x="450873" y="235071"/>
                    </a:cubicBezTo>
                    <a:cubicBezTo>
                      <a:pt x="447815" y="266082"/>
                      <a:pt x="443811" y="297390"/>
                      <a:pt x="432587" y="326453"/>
                    </a:cubicBezTo>
                    <a:cubicBezTo>
                      <a:pt x="421362" y="355517"/>
                      <a:pt x="402168" y="382435"/>
                      <a:pt x="374986" y="397314"/>
                    </a:cubicBezTo>
                    <a:cubicBezTo>
                      <a:pt x="355062" y="408220"/>
                      <a:pt x="332219" y="412054"/>
                      <a:pt x="309888" y="415730"/>
                    </a:cubicBezTo>
                    <a:lnTo>
                      <a:pt x="230529" y="428801"/>
                    </a:lnTo>
                    <a:cubicBezTo>
                      <a:pt x="192556" y="435059"/>
                      <a:pt x="152275" y="441019"/>
                      <a:pt x="116767" y="426179"/>
                    </a:cubicBezTo>
                    <a:cubicBezTo>
                      <a:pt x="87178" y="413803"/>
                      <a:pt x="64768" y="388434"/>
                      <a:pt x="46186" y="361953"/>
                    </a:cubicBezTo>
                    <a:cubicBezTo>
                      <a:pt x="23047" y="329056"/>
                      <a:pt x="3518" y="292026"/>
                      <a:pt x="362" y="251739"/>
                    </a:cubicBezTo>
                    <a:cubicBezTo>
                      <a:pt x="-3445" y="202790"/>
                      <a:pt x="23501" y="173885"/>
                      <a:pt x="48257" y="136240"/>
                    </a:cubicBezTo>
                    <a:cubicBezTo>
                      <a:pt x="77571" y="91661"/>
                      <a:pt x="110889" y="52486"/>
                      <a:pt x="153872" y="20403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5925" name="Freeform 24">
                <a:extLst>
                  <a:ext uri="{FF2B5EF4-FFF2-40B4-BE49-F238E27FC236}">
                    <a16:creationId xmlns:a16="http://schemas.microsoft.com/office/drawing/2014/main" id="{1C1536A1-CB8B-F991-FDF0-988D2A52BE8B}"/>
                  </a:ext>
                </a:extLst>
              </p:cNvPr>
              <p:cNvSpPr/>
              <p:nvPr/>
            </p:nvSpPr>
            <p:spPr>
              <a:xfrm>
                <a:off x="2206613" y="3999304"/>
                <a:ext cx="194948" cy="217936"/>
              </a:xfrm>
              <a:custGeom>
                <a:avLst/>
                <a:gdLst>
                  <a:gd name="connsiteX0" fmla="*/ 195291 w 195291"/>
                  <a:gd name="connsiteY0" fmla="*/ 109261 h 218522"/>
                  <a:gd name="connsiteX1" fmla="*/ 97646 w 195291"/>
                  <a:gd name="connsiteY1" fmla="*/ 218522 h 218522"/>
                  <a:gd name="connsiteX2" fmla="*/ 0 w 195291"/>
                  <a:gd name="connsiteY2" fmla="*/ 109261 h 218522"/>
                  <a:gd name="connsiteX3" fmla="*/ 97646 w 195291"/>
                  <a:gd name="connsiteY3" fmla="*/ 0 h 218522"/>
                  <a:gd name="connsiteX4" fmla="*/ 195291 w 195291"/>
                  <a:gd name="connsiteY4" fmla="*/ 109261 h 218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5291" h="218521">
                    <a:moveTo>
                      <a:pt x="195291" y="109261"/>
                    </a:moveTo>
                    <a:cubicBezTo>
                      <a:pt x="195291" y="169604"/>
                      <a:pt x="151574" y="218522"/>
                      <a:pt x="97646" y="218522"/>
                    </a:cubicBezTo>
                    <a:cubicBezTo>
                      <a:pt x="43717" y="218522"/>
                      <a:pt x="0" y="169604"/>
                      <a:pt x="0" y="109261"/>
                    </a:cubicBezTo>
                    <a:cubicBezTo>
                      <a:pt x="0" y="48918"/>
                      <a:pt x="43717" y="0"/>
                      <a:pt x="97646" y="0"/>
                    </a:cubicBezTo>
                    <a:cubicBezTo>
                      <a:pt x="151574" y="0"/>
                      <a:pt x="195291" y="48918"/>
                      <a:pt x="195291" y="109261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5926" name="Freeform 25">
                <a:extLst>
                  <a:ext uri="{FF2B5EF4-FFF2-40B4-BE49-F238E27FC236}">
                    <a16:creationId xmlns:a16="http://schemas.microsoft.com/office/drawing/2014/main" id="{AC98DE97-D5FD-C7DD-944A-CF7A81E56680}"/>
                  </a:ext>
                </a:extLst>
              </p:cNvPr>
              <p:cNvSpPr/>
              <p:nvPr/>
            </p:nvSpPr>
            <p:spPr>
              <a:xfrm>
                <a:off x="2376674" y="3929400"/>
                <a:ext cx="111991" cy="191209"/>
              </a:xfrm>
              <a:custGeom>
                <a:avLst/>
                <a:gdLst>
                  <a:gd name="connsiteX0" fmla="*/ 87033 w 112979"/>
                  <a:gd name="connsiteY0" fmla="*/ 40109 h 190888"/>
                  <a:gd name="connsiteX1" fmla="*/ 109876 w 112979"/>
                  <a:gd name="connsiteY1" fmla="*/ 58723 h 190888"/>
                  <a:gd name="connsiteX2" fmla="*/ 112598 w 112979"/>
                  <a:gd name="connsiteY2" fmla="*/ 76145 h 190888"/>
                  <a:gd name="connsiteX3" fmla="*/ 102518 w 112979"/>
                  <a:gd name="connsiteY3" fmla="*/ 190889 h 190888"/>
                  <a:gd name="connsiteX4" fmla="*/ 91866 w 112979"/>
                  <a:gd name="connsiteY4" fmla="*/ 98275 h 190888"/>
                  <a:gd name="connsiteX5" fmla="*/ 49316 w 112979"/>
                  <a:gd name="connsiteY5" fmla="*/ 47538 h 190888"/>
                  <a:gd name="connsiteX6" fmla="*/ 0 w 112979"/>
                  <a:gd name="connsiteY6" fmla="*/ 0 h 190888"/>
                  <a:gd name="connsiteX7" fmla="*/ 87033 w 112979"/>
                  <a:gd name="connsiteY7" fmla="*/ 40109 h 190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978" h="190888">
                    <a:moveTo>
                      <a:pt x="87033" y="40109"/>
                    </a:moveTo>
                    <a:cubicBezTo>
                      <a:pt x="96048" y="44459"/>
                      <a:pt x="105733" y="49545"/>
                      <a:pt x="109876" y="58723"/>
                    </a:cubicBezTo>
                    <a:cubicBezTo>
                      <a:pt x="112302" y="64106"/>
                      <a:pt x="112480" y="70225"/>
                      <a:pt x="112598" y="76145"/>
                    </a:cubicBezTo>
                    <a:cubicBezTo>
                      <a:pt x="113387" y="114724"/>
                      <a:pt x="114058" y="154098"/>
                      <a:pt x="102518" y="190889"/>
                    </a:cubicBezTo>
                    <a:cubicBezTo>
                      <a:pt x="92655" y="161269"/>
                      <a:pt x="102518" y="127617"/>
                      <a:pt x="91866" y="98275"/>
                    </a:cubicBezTo>
                    <a:cubicBezTo>
                      <a:pt x="84054" y="76741"/>
                      <a:pt x="66616" y="61444"/>
                      <a:pt x="49316" y="47538"/>
                    </a:cubicBezTo>
                    <a:cubicBezTo>
                      <a:pt x="34146" y="35361"/>
                      <a:pt x="5918" y="19349"/>
                      <a:pt x="0" y="0"/>
                    </a:cubicBezTo>
                    <a:cubicBezTo>
                      <a:pt x="29313" y="7311"/>
                      <a:pt x="59653" y="26838"/>
                      <a:pt x="87033" y="40109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4756" name="Group 151">
              <a:extLst>
                <a:ext uri="{FF2B5EF4-FFF2-40B4-BE49-F238E27FC236}">
                  <a16:creationId xmlns:a16="http://schemas.microsoft.com/office/drawing/2014/main" id="{43D0FD6D-C840-54F5-41EE-7E7EB4FA6D3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145999" y="3143521"/>
              <a:ext cx="457210" cy="435449"/>
              <a:chOff x="3152143" y="4173079"/>
              <a:chExt cx="457210" cy="435449"/>
            </a:xfrm>
          </p:grpSpPr>
          <p:sp>
            <p:nvSpPr>
              <p:cNvPr id="35921" name="Freeform 200">
                <a:extLst>
                  <a:ext uri="{FF2B5EF4-FFF2-40B4-BE49-F238E27FC236}">
                    <a16:creationId xmlns:a16="http://schemas.microsoft.com/office/drawing/2014/main" id="{8679FC21-9BB7-0469-AC83-0BC26F34AF4E}"/>
                  </a:ext>
                </a:extLst>
              </p:cNvPr>
              <p:cNvSpPr/>
              <p:nvPr/>
            </p:nvSpPr>
            <p:spPr>
              <a:xfrm>
                <a:off x="3151511" y="4173206"/>
                <a:ext cx="456914" cy="435799"/>
              </a:xfrm>
              <a:custGeom>
                <a:avLst/>
                <a:gdLst>
                  <a:gd name="connsiteX0" fmla="*/ 153872 w 457210"/>
                  <a:gd name="connsiteY0" fmla="*/ 20403 h 435449"/>
                  <a:gd name="connsiteX1" fmla="*/ 179714 w 457210"/>
                  <a:gd name="connsiteY1" fmla="*/ 4987 h 435449"/>
                  <a:gd name="connsiteX2" fmla="*/ 221139 w 457210"/>
                  <a:gd name="connsiteY2" fmla="*/ 498 h 435449"/>
                  <a:gd name="connsiteX3" fmla="*/ 355831 w 457210"/>
                  <a:gd name="connsiteY3" fmla="*/ 50778 h 435449"/>
                  <a:gd name="connsiteX4" fmla="*/ 422092 w 457210"/>
                  <a:gd name="connsiteY4" fmla="*/ 86536 h 435449"/>
                  <a:gd name="connsiteX5" fmla="*/ 449709 w 457210"/>
                  <a:gd name="connsiteY5" fmla="*/ 107971 h 435449"/>
                  <a:gd name="connsiteX6" fmla="*/ 456909 w 457210"/>
                  <a:gd name="connsiteY6" fmla="*/ 150821 h 435449"/>
                  <a:gd name="connsiteX7" fmla="*/ 450873 w 457210"/>
                  <a:gd name="connsiteY7" fmla="*/ 235071 h 435449"/>
                  <a:gd name="connsiteX8" fmla="*/ 432587 w 457210"/>
                  <a:gd name="connsiteY8" fmla="*/ 326453 h 435449"/>
                  <a:gd name="connsiteX9" fmla="*/ 374986 w 457210"/>
                  <a:gd name="connsiteY9" fmla="*/ 397314 h 435449"/>
                  <a:gd name="connsiteX10" fmla="*/ 309888 w 457210"/>
                  <a:gd name="connsiteY10" fmla="*/ 415730 h 435449"/>
                  <a:gd name="connsiteX11" fmla="*/ 230529 w 457210"/>
                  <a:gd name="connsiteY11" fmla="*/ 428801 h 435449"/>
                  <a:gd name="connsiteX12" fmla="*/ 116767 w 457210"/>
                  <a:gd name="connsiteY12" fmla="*/ 426179 h 435449"/>
                  <a:gd name="connsiteX13" fmla="*/ 46186 w 457210"/>
                  <a:gd name="connsiteY13" fmla="*/ 361953 h 435449"/>
                  <a:gd name="connsiteX14" fmla="*/ 362 w 457210"/>
                  <a:gd name="connsiteY14" fmla="*/ 251739 h 435449"/>
                  <a:gd name="connsiteX15" fmla="*/ 48257 w 457210"/>
                  <a:gd name="connsiteY15" fmla="*/ 136240 h 435449"/>
                  <a:gd name="connsiteX16" fmla="*/ 153872 w 457210"/>
                  <a:gd name="connsiteY16" fmla="*/ 20403 h 435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7210" h="435449">
                    <a:moveTo>
                      <a:pt x="153872" y="20403"/>
                    </a:moveTo>
                    <a:cubicBezTo>
                      <a:pt x="161751" y="14107"/>
                      <a:pt x="170445" y="8921"/>
                      <a:pt x="179714" y="4987"/>
                    </a:cubicBezTo>
                    <a:cubicBezTo>
                      <a:pt x="192773" y="-58"/>
                      <a:pt x="207153" y="-654"/>
                      <a:pt x="221139" y="498"/>
                    </a:cubicBezTo>
                    <a:cubicBezTo>
                      <a:pt x="269232" y="4471"/>
                      <a:pt x="313301" y="27853"/>
                      <a:pt x="355831" y="50778"/>
                    </a:cubicBezTo>
                    <a:lnTo>
                      <a:pt x="422092" y="86536"/>
                    </a:lnTo>
                    <a:cubicBezTo>
                      <a:pt x="432449" y="92118"/>
                      <a:pt x="443259" y="98098"/>
                      <a:pt x="449709" y="107971"/>
                    </a:cubicBezTo>
                    <a:cubicBezTo>
                      <a:pt x="457777" y="120268"/>
                      <a:pt x="457600" y="136101"/>
                      <a:pt x="456909" y="150821"/>
                    </a:cubicBezTo>
                    <a:cubicBezTo>
                      <a:pt x="455593" y="178951"/>
                      <a:pt x="453581" y="207035"/>
                      <a:pt x="450873" y="235071"/>
                    </a:cubicBezTo>
                    <a:cubicBezTo>
                      <a:pt x="447815" y="266082"/>
                      <a:pt x="443811" y="297390"/>
                      <a:pt x="432587" y="326453"/>
                    </a:cubicBezTo>
                    <a:cubicBezTo>
                      <a:pt x="421362" y="355517"/>
                      <a:pt x="402168" y="382435"/>
                      <a:pt x="374986" y="397314"/>
                    </a:cubicBezTo>
                    <a:cubicBezTo>
                      <a:pt x="355062" y="408220"/>
                      <a:pt x="332219" y="412054"/>
                      <a:pt x="309888" y="415730"/>
                    </a:cubicBezTo>
                    <a:lnTo>
                      <a:pt x="230529" y="428801"/>
                    </a:lnTo>
                    <a:cubicBezTo>
                      <a:pt x="192556" y="435059"/>
                      <a:pt x="152275" y="441019"/>
                      <a:pt x="116767" y="426179"/>
                    </a:cubicBezTo>
                    <a:cubicBezTo>
                      <a:pt x="87178" y="413803"/>
                      <a:pt x="64768" y="388434"/>
                      <a:pt x="46186" y="361953"/>
                    </a:cubicBezTo>
                    <a:cubicBezTo>
                      <a:pt x="23047" y="329056"/>
                      <a:pt x="3518" y="292026"/>
                      <a:pt x="362" y="251739"/>
                    </a:cubicBezTo>
                    <a:cubicBezTo>
                      <a:pt x="-3445" y="202790"/>
                      <a:pt x="23501" y="173885"/>
                      <a:pt x="48257" y="136240"/>
                    </a:cubicBezTo>
                    <a:cubicBezTo>
                      <a:pt x="77571" y="91661"/>
                      <a:pt x="110889" y="52486"/>
                      <a:pt x="153872" y="20403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5922" name="Freeform 201">
                <a:extLst>
                  <a:ext uri="{FF2B5EF4-FFF2-40B4-BE49-F238E27FC236}">
                    <a16:creationId xmlns:a16="http://schemas.microsoft.com/office/drawing/2014/main" id="{9ABF884D-FEA7-726C-F313-EB988139F3A7}"/>
                  </a:ext>
                </a:extLst>
              </p:cNvPr>
              <p:cNvSpPr/>
              <p:nvPr/>
            </p:nvSpPr>
            <p:spPr>
              <a:xfrm>
                <a:off x="3286893" y="4338217"/>
                <a:ext cx="194612" cy="217899"/>
              </a:xfrm>
              <a:custGeom>
                <a:avLst/>
                <a:gdLst>
                  <a:gd name="connsiteX0" fmla="*/ 195291 w 195291"/>
                  <a:gd name="connsiteY0" fmla="*/ 109261 h 218522"/>
                  <a:gd name="connsiteX1" fmla="*/ 97646 w 195291"/>
                  <a:gd name="connsiteY1" fmla="*/ 218522 h 218522"/>
                  <a:gd name="connsiteX2" fmla="*/ 0 w 195291"/>
                  <a:gd name="connsiteY2" fmla="*/ 109261 h 218522"/>
                  <a:gd name="connsiteX3" fmla="*/ 97646 w 195291"/>
                  <a:gd name="connsiteY3" fmla="*/ 0 h 218522"/>
                  <a:gd name="connsiteX4" fmla="*/ 195291 w 195291"/>
                  <a:gd name="connsiteY4" fmla="*/ 109261 h 218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5291" h="218521">
                    <a:moveTo>
                      <a:pt x="195291" y="109261"/>
                    </a:moveTo>
                    <a:cubicBezTo>
                      <a:pt x="195291" y="169604"/>
                      <a:pt x="151574" y="218522"/>
                      <a:pt x="97646" y="218522"/>
                    </a:cubicBezTo>
                    <a:cubicBezTo>
                      <a:pt x="43717" y="218522"/>
                      <a:pt x="0" y="169604"/>
                      <a:pt x="0" y="109261"/>
                    </a:cubicBezTo>
                    <a:cubicBezTo>
                      <a:pt x="0" y="48918"/>
                      <a:pt x="43717" y="0"/>
                      <a:pt x="97646" y="0"/>
                    </a:cubicBezTo>
                    <a:cubicBezTo>
                      <a:pt x="151574" y="0"/>
                      <a:pt x="195291" y="48918"/>
                      <a:pt x="195291" y="109261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35923" name="Freeform 202">
                <a:extLst>
                  <a:ext uri="{FF2B5EF4-FFF2-40B4-BE49-F238E27FC236}">
                    <a16:creationId xmlns:a16="http://schemas.microsoft.com/office/drawing/2014/main" id="{7098BC1C-05F1-558B-D316-2F6AF3147AD6}"/>
                  </a:ext>
                </a:extLst>
              </p:cNvPr>
              <p:cNvSpPr/>
              <p:nvPr/>
            </p:nvSpPr>
            <p:spPr>
              <a:xfrm>
                <a:off x="3456121" y="4266289"/>
                <a:ext cx="112114" cy="192513"/>
              </a:xfrm>
              <a:custGeom>
                <a:avLst/>
                <a:gdLst>
                  <a:gd name="connsiteX0" fmla="*/ 87033 w 112979"/>
                  <a:gd name="connsiteY0" fmla="*/ 40109 h 190888"/>
                  <a:gd name="connsiteX1" fmla="*/ 109876 w 112979"/>
                  <a:gd name="connsiteY1" fmla="*/ 58723 h 190888"/>
                  <a:gd name="connsiteX2" fmla="*/ 112598 w 112979"/>
                  <a:gd name="connsiteY2" fmla="*/ 76145 h 190888"/>
                  <a:gd name="connsiteX3" fmla="*/ 102518 w 112979"/>
                  <a:gd name="connsiteY3" fmla="*/ 190889 h 190888"/>
                  <a:gd name="connsiteX4" fmla="*/ 91866 w 112979"/>
                  <a:gd name="connsiteY4" fmla="*/ 98275 h 190888"/>
                  <a:gd name="connsiteX5" fmla="*/ 49316 w 112979"/>
                  <a:gd name="connsiteY5" fmla="*/ 47538 h 190888"/>
                  <a:gd name="connsiteX6" fmla="*/ 0 w 112979"/>
                  <a:gd name="connsiteY6" fmla="*/ 0 h 190888"/>
                  <a:gd name="connsiteX7" fmla="*/ 87033 w 112979"/>
                  <a:gd name="connsiteY7" fmla="*/ 40109 h 190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978" h="190888">
                    <a:moveTo>
                      <a:pt x="87033" y="40109"/>
                    </a:moveTo>
                    <a:cubicBezTo>
                      <a:pt x="96048" y="44459"/>
                      <a:pt x="105733" y="49545"/>
                      <a:pt x="109876" y="58723"/>
                    </a:cubicBezTo>
                    <a:cubicBezTo>
                      <a:pt x="112302" y="64106"/>
                      <a:pt x="112480" y="70225"/>
                      <a:pt x="112598" y="76145"/>
                    </a:cubicBezTo>
                    <a:cubicBezTo>
                      <a:pt x="113387" y="114724"/>
                      <a:pt x="114058" y="154098"/>
                      <a:pt x="102518" y="190889"/>
                    </a:cubicBezTo>
                    <a:cubicBezTo>
                      <a:pt x="92655" y="161269"/>
                      <a:pt x="102518" y="127617"/>
                      <a:pt x="91866" y="98275"/>
                    </a:cubicBezTo>
                    <a:cubicBezTo>
                      <a:pt x="84054" y="76741"/>
                      <a:pt x="66616" y="61444"/>
                      <a:pt x="49316" y="47538"/>
                    </a:cubicBezTo>
                    <a:cubicBezTo>
                      <a:pt x="34146" y="35361"/>
                      <a:pt x="5918" y="19349"/>
                      <a:pt x="0" y="0"/>
                    </a:cubicBezTo>
                    <a:cubicBezTo>
                      <a:pt x="29313" y="7311"/>
                      <a:pt x="59653" y="26838"/>
                      <a:pt x="87033" y="40109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</p:grpSp>
      <p:pic>
        <p:nvPicPr>
          <p:cNvPr id="24760" name="T-Cells infiltrate 4">
            <a:extLst>
              <a:ext uri="{FF2B5EF4-FFF2-40B4-BE49-F238E27FC236}">
                <a16:creationId xmlns:a16="http://schemas.microsoft.com/office/drawing/2014/main" id="{57933965-B8BC-5E8E-9375-560C574171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2687" y="2459831"/>
            <a:ext cx="129779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761" name="T-Cells infiltrate 4">
            <a:extLst>
              <a:ext uri="{FF2B5EF4-FFF2-40B4-BE49-F238E27FC236}">
                <a16:creationId xmlns:a16="http://schemas.microsoft.com/office/drawing/2014/main" id="{49208240-55FC-D0B6-DF18-B24562238A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7456" y="2191941"/>
            <a:ext cx="128588" cy="148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762" name="T-Cells infiltrate 4">
            <a:extLst>
              <a:ext uri="{FF2B5EF4-FFF2-40B4-BE49-F238E27FC236}">
                <a16:creationId xmlns:a16="http://schemas.microsoft.com/office/drawing/2014/main" id="{9738FD19-A1CC-5E09-8606-F600873467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8673" y="2290762"/>
            <a:ext cx="129778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763" name="T-Cells infiltrate 4">
            <a:extLst>
              <a:ext uri="{FF2B5EF4-FFF2-40B4-BE49-F238E27FC236}">
                <a16:creationId xmlns:a16="http://schemas.microsoft.com/office/drawing/2014/main" id="{330E766F-66C0-608D-AD92-39F2A29BFB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844" y="2093119"/>
            <a:ext cx="128588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764" name="T-Cells infiltrate 4">
            <a:extLst>
              <a:ext uri="{FF2B5EF4-FFF2-40B4-BE49-F238E27FC236}">
                <a16:creationId xmlns:a16="http://schemas.microsoft.com/office/drawing/2014/main" id="{DDA16502-CE82-85B8-BEAF-7E27EC35A5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731" y="2818210"/>
            <a:ext cx="128588" cy="148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765" name="T-Cells infiltrate 4">
            <a:extLst>
              <a:ext uri="{FF2B5EF4-FFF2-40B4-BE49-F238E27FC236}">
                <a16:creationId xmlns:a16="http://schemas.microsoft.com/office/drawing/2014/main" id="{742C928A-9CC5-61CC-A4CD-E00A60177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5835" y="2669381"/>
            <a:ext cx="128588" cy="148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766" name="T-Cells infiltrate 4">
            <a:extLst>
              <a:ext uri="{FF2B5EF4-FFF2-40B4-BE49-F238E27FC236}">
                <a16:creationId xmlns:a16="http://schemas.microsoft.com/office/drawing/2014/main" id="{73E6821C-F58A-2219-105C-706DCCA289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2954" y="3293269"/>
            <a:ext cx="129778" cy="148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767" name="T-Cells infiltrate 4">
            <a:extLst>
              <a:ext uri="{FF2B5EF4-FFF2-40B4-BE49-F238E27FC236}">
                <a16:creationId xmlns:a16="http://schemas.microsoft.com/office/drawing/2014/main" id="{82E9D40F-1992-129F-BC73-BC9D473C0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2287" y="3240881"/>
            <a:ext cx="128588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768" name="T-Cells infiltrate 4">
            <a:extLst>
              <a:ext uri="{FF2B5EF4-FFF2-40B4-BE49-F238E27FC236}">
                <a16:creationId xmlns:a16="http://schemas.microsoft.com/office/drawing/2014/main" id="{E733A314-50EC-D5C1-1A40-1460BAC5AA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7310" y="1866900"/>
            <a:ext cx="128588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913" name="insulin production text">
            <a:extLst>
              <a:ext uri="{FF2B5EF4-FFF2-40B4-BE49-F238E27FC236}">
                <a16:creationId xmlns:a16="http://schemas.microsoft.com/office/drawing/2014/main" id="{D9360B38-F4AE-19F4-49CE-5EF7D5AA27E8}"/>
              </a:ext>
            </a:extLst>
          </p:cNvPr>
          <p:cNvSpPr txBox="1"/>
          <p:nvPr/>
        </p:nvSpPr>
        <p:spPr>
          <a:xfrm>
            <a:off x="3436137" y="3300104"/>
            <a:ext cx="2218877" cy="334835"/>
          </a:xfrm>
          <a:prstGeom prst="rect">
            <a:avLst/>
          </a:prstGeom>
          <a:solidFill>
            <a:srgbClr val="F5F3F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>
            <a:spAutoFit/>
          </a:bodyPr>
          <a:lstStyle/>
          <a:p>
            <a:pPr algn="ctr" defTabSz="514337"/>
            <a:r>
              <a:rPr lang="de" sz="788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Wenig oder keine Insulinsekretion/</a:t>
            </a:r>
            <a:br>
              <a:rPr sz="788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a typeface="Arial"/>
                <a:sym typeface="Wingdings"/>
              </a:rPr>
            </a:br>
            <a:r>
              <a:rPr lang="de" sz="788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exogenes Insulin erforderlich</a:t>
            </a:r>
            <a:r>
              <a:rPr lang="de" sz="788" b="1" baseline="3000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1,4</a:t>
            </a:r>
          </a:p>
        </p:txBody>
      </p:sp>
      <p:sp>
        <p:nvSpPr>
          <p:cNvPr id="6" name="TextBox 3037">
            <a:extLst>
              <a:ext uri="{FF2B5EF4-FFF2-40B4-BE49-F238E27FC236}">
                <a16:creationId xmlns:a16="http://schemas.microsoft.com/office/drawing/2014/main" id="{2346BCC9-C313-0382-14A4-15C4BE7E60D0}"/>
              </a:ext>
            </a:extLst>
          </p:cNvPr>
          <p:cNvSpPr txBox="1"/>
          <p:nvPr/>
        </p:nvSpPr>
        <p:spPr>
          <a:xfrm>
            <a:off x="363944" y="4742556"/>
            <a:ext cx="8544017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685766">
              <a:buClr>
                <a:srgbClr val="2F4B95"/>
              </a:buClr>
              <a:defRPr/>
            </a:pP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1. 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Insel RA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et al. Diabetes Care 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2015; 38: 1964–74. </a:t>
            </a: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2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Pugliese A.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J Clin Invest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2017; 127: 2881–91. </a:t>
            </a: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3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American Diabetes </a:t>
            </a:r>
            <a:r>
              <a:rPr lang="de-DE" sz="600" dirty="0" err="1">
                <a:solidFill>
                  <a:srgbClr val="404040"/>
                </a:solidFill>
                <a:ea typeface="Arial"/>
                <a:cs typeface="Arial"/>
              </a:rPr>
              <a:t>Association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 Professional Practice Committee. </a:t>
            </a:r>
            <a:r>
              <a:rPr lang="de-DE" sz="600" i="1" dirty="0">
                <a:solidFill>
                  <a:srgbClr val="404040"/>
                </a:solidFill>
                <a:ea typeface="Arial"/>
                <a:cs typeface="Arial"/>
              </a:rPr>
              <a:t>Diabetes Care 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2026; 49 (</a:t>
            </a:r>
            <a:r>
              <a:rPr lang="de-DE" sz="600" dirty="0" err="1">
                <a:solidFill>
                  <a:srgbClr val="404040"/>
                </a:solidFill>
                <a:ea typeface="Arial"/>
                <a:cs typeface="Arial"/>
              </a:rPr>
              <a:t>Suppl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. 1): S27–S49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. </a:t>
            </a: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4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McCall AL &amp; Farhy LS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. Minerva Endocrinol 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2013; 38: 145–63. </a:t>
            </a: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5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</a:t>
            </a:r>
            <a:r>
              <a:rPr lang="de-DE" sz="600" dirty="0" err="1">
                <a:solidFill>
                  <a:srgbClr val="404040"/>
                </a:solidFill>
                <a:ea typeface="Arial"/>
                <a:cs typeface="Arial"/>
              </a:rPr>
              <a:t>diabinfo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: Was ist Diabetes Typ 1? Erhältlich unter 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  <a:hlinkClick r:id="rId13"/>
              </a:rPr>
              <a:t>https://www.diabinfo.de/leben/typ-1-diabetes/grundlagen/krankheitsbild-und-symptome.html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. Zuletzt abgerufen am 12.01.2026.</a:t>
            </a:r>
            <a:endParaRPr lang="en-US" sz="600" dirty="0">
              <a:solidFill>
                <a:srgbClr val="404040"/>
              </a:solidFill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0E7276CA-51B2-7B26-20C3-575315510135}"/>
              </a:ext>
            </a:extLst>
          </p:cNvPr>
          <p:cNvSpPr txBox="1">
            <a:spLocks/>
          </p:cNvSpPr>
          <p:nvPr/>
        </p:nvSpPr>
        <p:spPr>
          <a:xfrm>
            <a:off x="363944" y="133354"/>
            <a:ext cx="8485200" cy="672166"/>
          </a:xfrm>
          <a:prstGeom prst="rect">
            <a:avLst/>
          </a:prstGeom>
          <a:ln cap="flat" algn="ctr">
            <a:miter lim="800000"/>
            <a:headEnd type="none" w="med" len="med"/>
            <a:tailEnd type="none" w="med" len="med"/>
          </a:ln>
        </p:spPr>
        <p:txBody>
          <a:bodyPr vert="horz" lIns="45720" tIns="45720" rIns="45720" bIns="45720" rtlCol="0" anchor="ctr">
            <a:noAutofit/>
          </a:bodyPr>
          <a:lstStyle>
            <a:lvl1pPr marL="0" indent="0" algn="l" defTabSz="68421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2800" b="1" i="0" u="none" kern="1200" baseline="0">
                <a:solidFill>
                  <a:schemeClr val="tx2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1pPr>
          </a:lstStyle>
          <a:p>
            <a:pPr eaLnBrk="1" hangingPunct="1"/>
            <a:r>
              <a:rPr lang="de-DE" sz="20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7030A0"/>
                </a:solidFill>
                <a:latin typeface="+mj-lt"/>
                <a:ea typeface="Arial"/>
                <a:cs typeface="Arial"/>
              </a:rPr>
              <a:t>Der Verlust der Betazellfunktion tritt über 3 Stadien der T1D-Progression auf,…</a:t>
            </a:r>
            <a:r>
              <a:rPr lang="de-DE" sz="2000" baseline="300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7030A0"/>
                </a:solidFill>
                <a:latin typeface="+mj-lt"/>
                <a:ea typeface="Arial"/>
                <a:cs typeface="Arial"/>
              </a:rPr>
              <a:t>1</a:t>
            </a:r>
            <a:endParaRPr lang="de-DE" sz="2000" baseline="30000" dirty="0">
              <a:solidFill>
                <a:srgbClr val="7030A0"/>
              </a:solidFill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8C4D76-F2CF-F216-A809-63D7204C20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">
            <a:extLst>
              <a:ext uri="{FF2B5EF4-FFF2-40B4-BE49-F238E27FC236}">
                <a16:creationId xmlns:a16="http://schemas.microsoft.com/office/drawing/2014/main" id="{7CC0C36E-D41F-FCAF-60FD-EF1D0065CC68}"/>
              </a:ext>
            </a:extLst>
          </p:cNvPr>
          <p:cNvSpPr txBox="1">
            <a:spLocks/>
          </p:cNvSpPr>
          <p:nvPr/>
        </p:nvSpPr>
        <p:spPr>
          <a:xfrm>
            <a:off x="369291" y="119332"/>
            <a:ext cx="8485200" cy="700087"/>
          </a:xfrm>
          <a:prstGeom prst="rect">
            <a:avLst/>
          </a:prstGeom>
          <a:ln cap="flat" algn="ctr">
            <a:miter lim="800000"/>
            <a:headEnd type="none" w="med" len="med"/>
            <a:tailEnd type="none" w="med" len="med"/>
          </a:ln>
        </p:spPr>
        <p:txBody>
          <a:bodyPr vert="horz" lIns="45720" tIns="45720" rIns="45720" bIns="45720" rtlCol="0" anchor="ctr">
            <a:noAutofit/>
          </a:bodyPr>
          <a:lstStyle>
            <a:lvl1pPr marL="0" indent="0" algn="l" defTabSz="68421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2800" b="1" i="0" u="none" kern="1200" baseline="0">
                <a:solidFill>
                  <a:schemeClr val="tx2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1pPr>
          </a:lstStyle>
          <a:p>
            <a:pPr eaLnBrk="1" hangingPunct="1"/>
            <a:r>
              <a:rPr lang="de-DE" sz="20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7030A0"/>
                </a:solidFill>
                <a:latin typeface="+mj-lt"/>
                <a:ea typeface="Arial"/>
                <a:cs typeface="Arial"/>
              </a:rPr>
              <a:t>…bevor der T1D in das Stadium 4 des Langzeit-T1D über geht</a:t>
            </a:r>
            <a:r>
              <a:rPr lang="de-DE" sz="2000" baseline="300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7030A0"/>
                </a:solidFill>
                <a:latin typeface="+mj-lt"/>
                <a:ea typeface="Arial"/>
                <a:cs typeface="Arial"/>
              </a:rPr>
              <a:t>1</a:t>
            </a:r>
            <a:endParaRPr lang="de-DE" sz="2000" baseline="30000" dirty="0">
              <a:solidFill>
                <a:srgbClr val="7030A0"/>
              </a:solidFill>
              <a:latin typeface="+mj-lt"/>
            </a:endParaRPr>
          </a:p>
        </p:txBody>
      </p:sp>
      <p:sp>
        <p:nvSpPr>
          <p:cNvPr id="41" name="Freeform 102">
            <a:extLst>
              <a:ext uri="{FF2B5EF4-FFF2-40B4-BE49-F238E27FC236}">
                <a16:creationId xmlns:a16="http://schemas.microsoft.com/office/drawing/2014/main" id="{3F144EE1-510D-BE62-B3BB-67B2932992AD}"/>
              </a:ext>
            </a:extLst>
          </p:cNvPr>
          <p:cNvSpPr>
            <a:spLocks/>
          </p:cNvSpPr>
          <p:nvPr/>
        </p:nvSpPr>
        <p:spPr bwMode="auto">
          <a:xfrm rot="20700000">
            <a:off x="3030141" y="2124075"/>
            <a:ext cx="1227534" cy="570310"/>
          </a:xfrm>
          <a:custGeom>
            <a:avLst/>
            <a:gdLst>
              <a:gd name="T0" fmla="*/ 0 w 2336800"/>
              <a:gd name="T1" fmla="*/ 474133 h 1210733"/>
              <a:gd name="T2" fmla="*/ 2336800 w 2336800"/>
              <a:gd name="T3" fmla="*/ 0 h 1210733"/>
              <a:gd name="T4" fmla="*/ 2336800 w 2336800"/>
              <a:gd name="T5" fmla="*/ 1210733 h 1210733"/>
              <a:gd name="T6" fmla="*/ 0 w 2336800"/>
              <a:gd name="T7" fmla="*/ 474133 h 12107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36800" h="1210733">
                <a:moveTo>
                  <a:pt x="0" y="474133"/>
                </a:moveTo>
                <a:lnTo>
                  <a:pt x="2336800" y="0"/>
                </a:lnTo>
                <a:lnTo>
                  <a:pt x="2336800" y="1210733"/>
                </a:lnTo>
                <a:lnTo>
                  <a:pt x="0" y="474133"/>
                </a:lnTo>
                <a:close/>
              </a:path>
            </a:pathLst>
          </a:custGeom>
          <a:gradFill rotWithShape="1">
            <a:gsLst>
              <a:gs pos="0">
                <a:srgbClr val="E4E1F2">
                  <a:alpha val="25098"/>
                </a:srgbClr>
              </a:gs>
              <a:gs pos="100000">
                <a:srgbClr val="D1D7EE">
                  <a:alpha val="50195"/>
                </a:srgbClr>
              </a:gs>
              <a:gs pos="65999">
                <a:srgbClr val="D1D7EE">
                  <a:alpha val="41662"/>
                </a:srgbClr>
              </a:gs>
              <a:gs pos="100000">
                <a:srgbClr val="D1D7EE">
                  <a:alpha val="50195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 cap="flat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/>
          <a:p>
            <a:pPr algn="ctr" defTabSz="514337"/>
            <a:endParaRPr lang="en-US" sz="1013">
              <a:solidFill>
                <a:srgbClr val="FFFFFF"/>
              </a:solidFill>
            </a:endParaRPr>
          </a:p>
        </p:txBody>
      </p:sp>
      <p:sp>
        <p:nvSpPr>
          <p:cNvPr id="29722" name="Freeform 96">
            <a:extLst>
              <a:ext uri="{FF2B5EF4-FFF2-40B4-BE49-F238E27FC236}">
                <a16:creationId xmlns:a16="http://schemas.microsoft.com/office/drawing/2014/main" id="{02DF0CDD-41F5-4003-39A3-3EAA8DDBFA2A}"/>
              </a:ext>
            </a:extLst>
          </p:cNvPr>
          <p:cNvSpPr/>
          <p:nvPr/>
        </p:nvSpPr>
        <p:spPr>
          <a:xfrm rot="10800000">
            <a:off x="5645944" y="1858567"/>
            <a:ext cx="133350" cy="1697831"/>
          </a:xfrm>
          <a:custGeom>
            <a:avLst/>
            <a:gdLst>
              <a:gd name="connsiteX0" fmla="*/ 185980 w 185980"/>
              <a:gd name="connsiteY0" fmla="*/ 0 h 1015139"/>
              <a:gd name="connsiteX1" fmla="*/ 0 w 185980"/>
              <a:gd name="connsiteY1" fmla="*/ 0 h 1015139"/>
              <a:gd name="connsiteX2" fmla="*/ 0 w 185980"/>
              <a:gd name="connsiteY2" fmla="*/ 1015139 h 1015139"/>
              <a:gd name="connsiteX3" fmla="*/ 185980 w 185980"/>
              <a:gd name="connsiteY3" fmla="*/ 1015139 h 1015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980" h="1015139">
                <a:moveTo>
                  <a:pt x="185980" y="0"/>
                </a:moveTo>
                <a:lnTo>
                  <a:pt x="0" y="0"/>
                </a:lnTo>
                <a:lnTo>
                  <a:pt x="0" y="1015139"/>
                </a:lnTo>
                <a:lnTo>
                  <a:pt x="185980" y="1015139"/>
                </a:lnTo>
              </a:path>
            </a:pathLst>
          </a:custGeom>
          <a:noFill/>
          <a:ln w="9525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anchor="ctr"/>
          <a:lstStyle/>
          <a:p>
            <a:pPr algn="ctr" defTabSz="514337"/>
            <a:endParaRPr lang="en-US" sz="1013">
              <a:solidFill>
                <a:srgbClr val="FFFFFF"/>
              </a:solidFill>
            </a:endParaRPr>
          </a:p>
        </p:txBody>
      </p:sp>
      <p:grpSp>
        <p:nvGrpSpPr>
          <p:cNvPr id="21547" name="Group 20">
            <a:extLst>
              <a:ext uri="{FF2B5EF4-FFF2-40B4-BE49-F238E27FC236}">
                <a16:creationId xmlns:a16="http://schemas.microsoft.com/office/drawing/2014/main" id="{3913CD66-8F47-8A3B-308C-0FAEFD6BF7ED}"/>
              </a:ext>
            </a:extLst>
          </p:cNvPr>
          <p:cNvGrpSpPr>
            <a:grpSpLocks/>
          </p:cNvGrpSpPr>
          <p:nvPr/>
        </p:nvGrpSpPr>
        <p:grpSpPr bwMode="auto">
          <a:xfrm>
            <a:off x="1584722" y="3452818"/>
            <a:ext cx="3888384" cy="406949"/>
            <a:chOff x="784859" y="5617965"/>
            <a:chExt cx="6912767" cy="722533"/>
          </a:xfrm>
        </p:grpSpPr>
        <p:grpSp>
          <p:nvGrpSpPr>
            <p:cNvPr id="21548" name="Group 21">
              <a:extLst>
                <a:ext uri="{FF2B5EF4-FFF2-40B4-BE49-F238E27FC236}">
                  <a16:creationId xmlns:a16="http://schemas.microsoft.com/office/drawing/2014/main" id="{CB655DC0-3A42-57B2-E90F-116804F6F88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610919" y="5990019"/>
              <a:ext cx="2086707" cy="348365"/>
              <a:chOff x="5531747" y="5879622"/>
              <a:chExt cx="2086707" cy="348365"/>
            </a:xfrm>
          </p:grpSpPr>
          <p:pic>
            <p:nvPicPr>
              <p:cNvPr id="21549" name="T-Cells infiltrate 4">
                <a:extLst>
                  <a:ext uri="{FF2B5EF4-FFF2-40B4-BE49-F238E27FC236}">
                    <a16:creationId xmlns:a16="http://schemas.microsoft.com/office/drawing/2014/main" id="{06C1CEEB-E1C0-48DD-F72D-C80D5558683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31747" y="5890193"/>
                <a:ext cx="228603" cy="2621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797" name="TextBox 43">
                <a:extLst>
                  <a:ext uri="{FF2B5EF4-FFF2-40B4-BE49-F238E27FC236}">
                    <a16:creationId xmlns:a16="http://schemas.microsoft.com/office/drawing/2014/main" id="{037BBC40-60DA-C3CB-0E17-47D19A7B63B5}"/>
                  </a:ext>
                </a:extLst>
              </p:cNvPr>
              <p:cNvSpPr txBox="1"/>
              <p:nvPr/>
            </p:nvSpPr>
            <p:spPr>
              <a:xfrm>
                <a:off x="5717054" y="5879622"/>
                <a:ext cx="1901400" cy="34836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>
                <a:spAutoFit/>
              </a:bodyPr>
              <a:lstStyle/>
              <a:p>
                <a:pPr defTabSz="514337"/>
                <a:r>
                  <a:rPr lang="de" sz="675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404040"/>
                    </a:solidFill>
                    <a:ea typeface="Arial"/>
                  </a:rPr>
                  <a:t>Autoreaktive T-Zelle</a:t>
                </a:r>
              </a:p>
            </p:txBody>
          </p:sp>
        </p:grpSp>
        <p:grpSp>
          <p:nvGrpSpPr>
            <p:cNvPr id="21551" name="Group 23">
              <a:extLst>
                <a:ext uri="{FF2B5EF4-FFF2-40B4-BE49-F238E27FC236}">
                  <a16:creationId xmlns:a16="http://schemas.microsoft.com/office/drawing/2014/main" id="{FF5EB8BA-3535-4684-3C4E-CAACB3CD4AC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70870" y="5990019"/>
              <a:ext cx="1793819" cy="348365"/>
              <a:chOff x="5456249" y="5609252"/>
              <a:chExt cx="1793819" cy="348365"/>
            </a:xfrm>
          </p:grpSpPr>
          <p:sp>
            <p:nvSpPr>
              <p:cNvPr id="21552" name="Isosceles Triangle 85">
                <a:extLst>
                  <a:ext uri="{FF2B5EF4-FFF2-40B4-BE49-F238E27FC236}">
                    <a16:creationId xmlns:a16="http://schemas.microsoft.com/office/drawing/2014/main" id="{5C7773DB-B77D-5271-D2C4-B358785B37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9900000">
                <a:off x="5456249" y="5693810"/>
                <a:ext cx="156635" cy="133179"/>
              </a:xfrm>
              <a:prstGeom prst="triangle">
                <a:avLst>
                  <a:gd name="adj" fmla="val 50000"/>
                </a:avLst>
              </a:prstGeom>
              <a:solidFill>
                <a:srgbClr val="70A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1pPr>
                <a:lvl2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2pPr>
                <a:lvl3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3pPr>
                <a:lvl4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4pPr>
                <a:lvl5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5pPr>
                <a:lvl6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6pPr>
                <a:lvl7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7pPr>
                <a:lvl8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8pPr>
                <a:lvl9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/>
                <a:endParaRPr lang="de-DE" altLang="de-DE" sz="975">
                  <a:solidFill>
                    <a:srgbClr val="404040"/>
                  </a:solidFill>
                  <a:latin typeface="+mn-lt"/>
                </a:endParaRPr>
              </a:p>
            </p:txBody>
          </p:sp>
          <p:sp>
            <p:nvSpPr>
              <p:cNvPr id="29795" name="TextBox 41">
                <a:extLst>
                  <a:ext uri="{FF2B5EF4-FFF2-40B4-BE49-F238E27FC236}">
                    <a16:creationId xmlns:a16="http://schemas.microsoft.com/office/drawing/2014/main" id="{627BCCEF-264C-0154-0997-DDB808111F50}"/>
                  </a:ext>
                </a:extLst>
              </p:cNvPr>
              <p:cNvSpPr txBox="1"/>
              <p:nvPr/>
            </p:nvSpPr>
            <p:spPr>
              <a:xfrm>
                <a:off x="5602302" y="5609252"/>
                <a:ext cx="1647766" cy="34836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>
                <a:spAutoFit/>
              </a:bodyPr>
              <a:lstStyle/>
              <a:p>
                <a:pPr defTabSz="514337"/>
                <a:r>
                  <a:rPr lang="de" sz="675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404040"/>
                    </a:solidFill>
                    <a:ea typeface="Arial"/>
                  </a:rPr>
                  <a:t>Betazell-Antigen </a:t>
                </a:r>
              </a:p>
            </p:txBody>
          </p:sp>
        </p:grpSp>
        <p:grpSp>
          <p:nvGrpSpPr>
            <p:cNvPr id="21554" name="Group 24">
              <a:extLst>
                <a:ext uri="{FF2B5EF4-FFF2-40B4-BE49-F238E27FC236}">
                  <a16:creationId xmlns:a16="http://schemas.microsoft.com/office/drawing/2014/main" id="{A09D9F03-315C-E628-3866-98AA3253B21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5077" y="5617965"/>
              <a:ext cx="2392638" cy="711963"/>
              <a:chOff x="1068125" y="5622206"/>
              <a:chExt cx="2392638" cy="711963"/>
            </a:xfrm>
          </p:grpSpPr>
          <p:grpSp>
            <p:nvGrpSpPr>
              <p:cNvPr id="21555" name="Group 30">
                <a:extLst>
                  <a:ext uri="{FF2B5EF4-FFF2-40B4-BE49-F238E27FC236}">
                    <a16:creationId xmlns:a16="http://schemas.microsoft.com/office/drawing/2014/main" id="{026660F0-C213-34D7-DD36-963F3F84E94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68125" y="5985805"/>
                <a:ext cx="1110943" cy="348364"/>
                <a:chOff x="2337782" y="5616898"/>
                <a:chExt cx="1110943" cy="348364"/>
              </a:xfrm>
            </p:grpSpPr>
            <p:pic>
              <p:nvPicPr>
                <p:cNvPr id="21556" name="Graphic 38">
                  <a:extLst>
                    <a:ext uri="{FF2B5EF4-FFF2-40B4-BE49-F238E27FC236}">
                      <a16:creationId xmlns:a16="http://schemas.microsoft.com/office/drawing/2014/main" id="{1070DCD7-CE62-5F1A-2A8A-DD4919034B8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337782" y="5623240"/>
                  <a:ext cx="289988" cy="2748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9793" name="TextBox 39">
                  <a:extLst>
                    <a:ext uri="{FF2B5EF4-FFF2-40B4-BE49-F238E27FC236}">
                      <a16:creationId xmlns:a16="http://schemas.microsoft.com/office/drawing/2014/main" id="{898F34F8-E9A8-2DE7-1D62-475F316BCBC3}"/>
                    </a:ext>
                  </a:extLst>
                </p:cNvPr>
                <p:cNvSpPr txBox="1"/>
                <p:nvPr/>
              </p:nvSpPr>
              <p:spPr>
                <a:xfrm>
                  <a:off x="2539063" y="5616898"/>
                  <a:ext cx="909662" cy="34836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>
                  <a:spAutoFit/>
                </a:bodyPr>
                <a:lstStyle/>
                <a:p>
                  <a:pPr defTabSz="514337"/>
                  <a:r>
                    <a:rPr lang="de" sz="675">
                      <a:ln w="952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solidFill>
                        <a:srgbClr val="404040"/>
                      </a:solidFill>
                      <a:ea typeface="Arial"/>
                    </a:rPr>
                    <a:t>Gesund</a:t>
                  </a:r>
                </a:p>
              </p:txBody>
            </p:sp>
          </p:grpSp>
          <p:grpSp>
            <p:nvGrpSpPr>
              <p:cNvPr id="21558" name="Group 31">
                <a:extLst>
                  <a:ext uri="{FF2B5EF4-FFF2-40B4-BE49-F238E27FC236}">
                    <a16:creationId xmlns:a16="http://schemas.microsoft.com/office/drawing/2014/main" id="{810DE406-D0B3-62A6-FB75-84DF530CAF0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092783" y="5985805"/>
                <a:ext cx="1367980" cy="348364"/>
                <a:chOff x="2342461" y="5976830"/>
                <a:chExt cx="1367980" cy="348364"/>
              </a:xfrm>
            </p:grpSpPr>
            <p:sp>
              <p:nvSpPr>
                <p:cNvPr id="29787" name="TextBox 33">
                  <a:extLst>
                    <a:ext uri="{FF2B5EF4-FFF2-40B4-BE49-F238E27FC236}">
                      <a16:creationId xmlns:a16="http://schemas.microsoft.com/office/drawing/2014/main" id="{96011099-C9CB-BC51-B53F-C591BC5F150C}"/>
                    </a:ext>
                  </a:extLst>
                </p:cNvPr>
                <p:cNvSpPr txBox="1"/>
                <p:nvPr/>
              </p:nvSpPr>
              <p:spPr>
                <a:xfrm>
                  <a:off x="2541446" y="5976830"/>
                  <a:ext cx="1168995" cy="34836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>
                  <a:spAutoFit/>
                </a:bodyPr>
                <a:lstStyle/>
                <a:p>
                  <a:pPr defTabSz="514337"/>
                  <a:r>
                    <a:rPr lang="de" sz="675">
                      <a:ln w="952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solidFill>
                        <a:srgbClr val="404040"/>
                      </a:solidFill>
                      <a:ea typeface="Arial"/>
                    </a:rPr>
                    <a:t>Beschädigt</a:t>
                  </a:r>
                </a:p>
              </p:txBody>
            </p:sp>
            <p:grpSp>
              <p:nvGrpSpPr>
                <p:cNvPr id="21560" name="Graphic 305">
                  <a:extLst>
                    <a:ext uri="{FF2B5EF4-FFF2-40B4-BE49-F238E27FC236}">
                      <a16:creationId xmlns:a16="http://schemas.microsoft.com/office/drawing/2014/main" id="{FB0F2E9F-A9EB-CFC9-2DA5-20002087C671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342461" y="5985964"/>
                  <a:ext cx="283048" cy="267245"/>
                  <a:chOff x="2342461" y="5985964"/>
                  <a:chExt cx="283048" cy="267245"/>
                </a:xfrm>
              </p:grpSpPr>
              <p:sp>
                <p:nvSpPr>
                  <p:cNvPr id="29789" name="Freeform 3">
                    <a:extLst>
                      <a:ext uri="{FF2B5EF4-FFF2-40B4-BE49-F238E27FC236}">
                        <a16:creationId xmlns:a16="http://schemas.microsoft.com/office/drawing/2014/main" id="{0627553F-FF8C-AAEA-6CC6-6B727223610C}"/>
                      </a:ext>
                    </a:extLst>
                  </p:cNvPr>
                  <p:cNvSpPr/>
                  <p:nvPr/>
                </p:nvSpPr>
                <p:spPr>
                  <a:xfrm>
                    <a:off x="2342282" y="5985285"/>
                    <a:ext cx="283637" cy="268471"/>
                  </a:xfrm>
                  <a:custGeom>
                    <a:avLst/>
                    <a:gdLst>
                      <a:gd name="connsiteX0" fmla="*/ 95259 w 283048"/>
                      <a:gd name="connsiteY0" fmla="*/ 12522 h 267245"/>
                      <a:gd name="connsiteX1" fmla="*/ 111257 w 283048"/>
                      <a:gd name="connsiteY1" fmla="*/ 3061 h 267245"/>
                      <a:gd name="connsiteX2" fmla="*/ 136902 w 283048"/>
                      <a:gd name="connsiteY2" fmla="*/ 306 h 267245"/>
                      <a:gd name="connsiteX3" fmla="*/ 220287 w 283048"/>
                      <a:gd name="connsiteY3" fmla="*/ 31163 h 267245"/>
                      <a:gd name="connsiteX4" fmla="*/ 261307 w 283048"/>
                      <a:gd name="connsiteY4" fmla="*/ 53109 h 267245"/>
                      <a:gd name="connsiteX5" fmla="*/ 278404 w 283048"/>
                      <a:gd name="connsiteY5" fmla="*/ 66264 h 267245"/>
                      <a:gd name="connsiteX6" fmla="*/ 282862 w 283048"/>
                      <a:gd name="connsiteY6" fmla="*/ 92562 h 267245"/>
                      <a:gd name="connsiteX7" fmla="*/ 279125 w 283048"/>
                      <a:gd name="connsiteY7" fmla="*/ 144269 h 267245"/>
                      <a:gd name="connsiteX8" fmla="*/ 267804 w 283048"/>
                      <a:gd name="connsiteY8" fmla="*/ 200352 h 267245"/>
                      <a:gd name="connsiteX9" fmla="*/ 232145 w 283048"/>
                      <a:gd name="connsiteY9" fmla="*/ 243841 h 267245"/>
                      <a:gd name="connsiteX10" fmla="*/ 191845 w 283048"/>
                      <a:gd name="connsiteY10" fmla="*/ 255143 h 267245"/>
                      <a:gd name="connsiteX11" fmla="*/ 142715 w 283048"/>
                      <a:gd name="connsiteY11" fmla="*/ 263165 h 267245"/>
                      <a:gd name="connsiteX12" fmla="*/ 72288 w 283048"/>
                      <a:gd name="connsiteY12" fmla="*/ 261556 h 267245"/>
                      <a:gd name="connsiteX13" fmla="*/ 28593 w 283048"/>
                      <a:gd name="connsiteY13" fmla="*/ 222139 h 267245"/>
                      <a:gd name="connsiteX14" fmla="*/ 224 w 283048"/>
                      <a:gd name="connsiteY14" fmla="*/ 154498 h 267245"/>
                      <a:gd name="connsiteX15" fmla="*/ 29875 w 283048"/>
                      <a:gd name="connsiteY15" fmla="*/ 83613 h 267245"/>
                      <a:gd name="connsiteX16" fmla="*/ 95259 w 283048"/>
                      <a:gd name="connsiteY16" fmla="*/ 12522 h 2672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283048" h="267245">
                        <a:moveTo>
                          <a:pt x="95259" y="12522"/>
                        </a:moveTo>
                        <a:cubicBezTo>
                          <a:pt x="100136" y="8658"/>
                          <a:pt x="105519" y="5475"/>
                          <a:pt x="111257" y="3061"/>
                        </a:cubicBezTo>
                        <a:cubicBezTo>
                          <a:pt x="119341" y="-36"/>
                          <a:pt x="128244" y="-402"/>
                          <a:pt x="136902" y="306"/>
                        </a:cubicBezTo>
                        <a:cubicBezTo>
                          <a:pt x="166675" y="2744"/>
                          <a:pt x="193957" y="17094"/>
                          <a:pt x="220287" y="31163"/>
                        </a:cubicBezTo>
                        <a:lnTo>
                          <a:pt x="261307" y="53109"/>
                        </a:lnTo>
                        <a:cubicBezTo>
                          <a:pt x="267719" y="56535"/>
                          <a:pt x="274411" y="60205"/>
                          <a:pt x="278404" y="66264"/>
                        </a:cubicBezTo>
                        <a:cubicBezTo>
                          <a:pt x="283399" y="73811"/>
                          <a:pt x="283289" y="83528"/>
                          <a:pt x="282862" y="92562"/>
                        </a:cubicBezTo>
                        <a:cubicBezTo>
                          <a:pt x="282047" y="109826"/>
                          <a:pt x="280802" y="127062"/>
                          <a:pt x="279125" y="144269"/>
                        </a:cubicBezTo>
                        <a:cubicBezTo>
                          <a:pt x="277232" y="163300"/>
                          <a:pt x="274753" y="182515"/>
                          <a:pt x="267804" y="200352"/>
                        </a:cubicBezTo>
                        <a:cubicBezTo>
                          <a:pt x="260856" y="218189"/>
                          <a:pt x="248973" y="234709"/>
                          <a:pt x="232145" y="243841"/>
                        </a:cubicBezTo>
                        <a:cubicBezTo>
                          <a:pt x="219810" y="250534"/>
                          <a:pt x="205669" y="252887"/>
                          <a:pt x="191845" y="255143"/>
                        </a:cubicBezTo>
                        <a:lnTo>
                          <a:pt x="142715" y="263165"/>
                        </a:lnTo>
                        <a:cubicBezTo>
                          <a:pt x="119207" y="267006"/>
                          <a:pt x="94270" y="270663"/>
                          <a:pt x="72288" y="261556"/>
                        </a:cubicBezTo>
                        <a:cubicBezTo>
                          <a:pt x="53970" y="253960"/>
                          <a:pt x="40097" y="238391"/>
                          <a:pt x="28593" y="222139"/>
                        </a:cubicBezTo>
                        <a:cubicBezTo>
                          <a:pt x="14268" y="201949"/>
                          <a:pt x="2178" y="179223"/>
                          <a:pt x="224" y="154498"/>
                        </a:cubicBezTo>
                        <a:cubicBezTo>
                          <a:pt x="-2133" y="124457"/>
                          <a:pt x="14549" y="106717"/>
                          <a:pt x="29875" y="83613"/>
                        </a:cubicBezTo>
                        <a:cubicBezTo>
                          <a:pt x="48022" y="56255"/>
                          <a:pt x="68649" y="32212"/>
                          <a:pt x="95259" y="12522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 w="7204" cap="flat">
                    <a:solidFill>
                      <a:srgbClr val="585863"/>
                    </a:solidFill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29790" name="Freeform 4">
                    <a:extLst>
                      <a:ext uri="{FF2B5EF4-FFF2-40B4-BE49-F238E27FC236}">
                        <a16:creationId xmlns:a16="http://schemas.microsoft.com/office/drawing/2014/main" id="{DC984E92-CA94-3E4F-8230-91A7077E67D7}"/>
                      </a:ext>
                    </a:extLst>
                  </p:cNvPr>
                  <p:cNvSpPr/>
                  <p:nvPr/>
                </p:nvSpPr>
                <p:spPr>
                  <a:xfrm>
                    <a:off x="2426950" y="6071957"/>
                    <a:ext cx="122768" cy="133178"/>
                  </a:xfrm>
                  <a:custGeom>
                    <a:avLst/>
                    <a:gdLst>
                      <a:gd name="connsiteX0" fmla="*/ 120900 w 120900"/>
                      <a:gd name="connsiteY0" fmla="*/ 67056 h 134112"/>
                      <a:gd name="connsiteX1" fmla="*/ 60450 w 120900"/>
                      <a:gd name="connsiteY1" fmla="*/ 134112 h 134112"/>
                      <a:gd name="connsiteX2" fmla="*/ 0 w 120900"/>
                      <a:gd name="connsiteY2" fmla="*/ 67056 h 134112"/>
                      <a:gd name="connsiteX3" fmla="*/ 60450 w 120900"/>
                      <a:gd name="connsiteY3" fmla="*/ 0 h 134112"/>
                      <a:gd name="connsiteX4" fmla="*/ 120900 w 120900"/>
                      <a:gd name="connsiteY4" fmla="*/ 67056 h 1341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900" h="134112">
                        <a:moveTo>
                          <a:pt x="120900" y="67056"/>
                        </a:moveTo>
                        <a:cubicBezTo>
                          <a:pt x="120900" y="104090"/>
                          <a:pt x="93836" y="134112"/>
                          <a:pt x="60450" y="134112"/>
                        </a:cubicBezTo>
                        <a:cubicBezTo>
                          <a:pt x="27064" y="134112"/>
                          <a:pt x="0" y="104090"/>
                          <a:pt x="0" y="67056"/>
                        </a:cubicBezTo>
                        <a:cubicBezTo>
                          <a:pt x="0" y="30022"/>
                          <a:pt x="27064" y="0"/>
                          <a:pt x="60450" y="0"/>
                        </a:cubicBezTo>
                        <a:cubicBezTo>
                          <a:pt x="93836" y="0"/>
                          <a:pt x="120900" y="30022"/>
                          <a:pt x="120900" y="67056"/>
                        </a:cubicBezTo>
                        <a:close/>
                      </a:path>
                    </a:pathLst>
                  </a:custGeom>
                  <a:solidFill>
                    <a:srgbClr val="E3E7F7">
                      <a:alpha val="48000"/>
                    </a:srgbClr>
                  </a:solidFill>
                  <a:ln w="1201" cap="flat">
                    <a:noFill/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29791" name="Freeform 5">
                    <a:extLst>
                      <a:ext uri="{FF2B5EF4-FFF2-40B4-BE49-F238E27FC236}">
                        <a16:creationId xmlns:a16="http://schemas.microsoft.com/office/drawing/2014/main" id="{C1A49621-6A71-4C4B-6172-8723AA9A0C1C}"/>
                      </a:ext>
                    </a:extLst>
                  </p:cNvPr>
                  <p:cNvSpPr/>
                  <p:nvPr/>
                </p:nvSpPr>
                <p:spPr>
                  <a:xfrm>
                    <a:off x="2532785" y="6027564"/>
                    <a:ext cx="69852" cy="118381"/>
                  </a:xfrm>
                  <a:custGeom>
                    <a:avLst/>
                    <a:gdLst>
                      <a:gd name="connsiteX0" fmla="*/ 53880 w 69942"/>
                      <a:gd name="connsiteY0" fmla="*/ 24616 h 117152"/>
                      <a:gd name="connsiteX1" fmla="*/ 68022 w 69942"/>
                      <a:gd name="connsiteY1" fmla="*/ 36040 h 117152"/>
                      <a:gd name="connsiteX2" fmla="*/ 69707 w 69942"/>
                      <a:gd name="connsiteY2" fmla="*/ 46732 h 117152"/>
                      <a:gd name="connsiteX3" fmla="*/ 63467 w 69942"/>
                      <a:gd name="connsiteY3" fmla="*/ 117153 h 117152"/>
                      <a:gd name="connsiteX4" fmla="*/ 56872 w 69942"/>
                      <a:gd name="connsiteY4" fmla="*/ 60314 h 117152"/>
                      <a:gd name="connsiteX5" fmla="*/ 30530 w 69942"/>
                      <a:gd name="connsiteY5" fmla="*/ 29175 h 117152"/>
                      <a:gd name="connsiteX6" fmla="*/ 0 w 69942"/>
                      <a:gd name="connsiteY6" fmla="*/ 0 h 117152"/>
                      <a:gd name="connsiteX7" fmla="*/ 53880 w 69942"/>
                      <a:gd name="connsiteY7" fmla="*/ 24616 h 1171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9942" h="117152">
                        <a:moveTo>
                          <a:pt x="53880" y="24616"/>
                        </a:moveTo>
                        <a:cubicBezTo>
                          <a:pt x="59461" y="27286"/>
                          <a:pt x="65457" y="30407"/>
                          <a:pt x="68022" y="36040"/>
                        </a:cubicBezTo>
                        <a:cubicBezTo>
                          <a:pt x="69524" y="39344"/>
                          <a:pt x="69634" y="43099"/>
                          <a:pt x="69707" y="46732"/>
                        </a:cubicBezTo>
                        <a:cubicBezTo>
                          <a:pt x="70195" y="70409"/>
                          <a:pt x="70611" y="94573"/>
                          <a:pt x="63467" y="117153"/>
                        </a:cubicBezTo>
                        <a:cubicBezTo>
                          <a:pt x="57360" y="98975"/>
                          <a:pt x="63467" y="78321"/>
                          <a:pt x="56872" y="60314"/>
                        </a:cubicBezTo>
                        <a:cubicBezTo>
                          <a:pt x="52036" y="47098"/>
                          <a:pt x="41240" y="37710"/>
                          <a:pt x="30530" y="29175"/>
                        </a:cubicBezTo>
                        <a:cubicBezTo>
                          <a:pt x="21139" y="21702"/>
                          <a:pt x="3664" y="11875"/>
                          <a:pt x="0" y="0"/>
                        </a:cubicBezTo>
                        <a:cubicBezTo>
                          <a:pt x="18147" y="4487"/>
                          <a:pt x="36930" y="16471"/>
                          <a:pt x="53880" y="246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201" cap="flat">
                    <a:noFill/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p:grpSp>
          </p:grpSp>
          <p:sp>
            <p:nvSpPr>
              <p:cNvPr id="29786" name="TextBox 32">
                <a:extLst>
                  <a:ext uri="{FF2B5EF4-FFF2-40B4-BE49-F238E27FC236}">
                    <a16:creationId xmlns:a16="http://schemas.microsoft.com/office/drawing/2014/main" id="{C66E1E1B-616B-CC32-35F8-D06A6435381F}"/>
                  </a:ext>
                </a:extLst>
              </p:cNvPr>
              <p:cNvSpPr txBox="1"/>
              <p:nvPr/>
            </p:nvSpPr>
            <p:spPr>
              <a:xfrm>
                <a:off x="2113772" y="5622206"/>
                <a:ext cx="1228842" cy="34836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>
                <a:spAutoFit/>
              </a:bodyPr>
              <a:lstStyle/>
              <a:p>
                <a:pPr defTabSz="514337"/>
                <a:r>
                  <a:rPr lang="de" sz="675" b="1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404040"/>
                    </a:solidFill>
                    <a:ea typeface="Arial"/>
                  </a:rPr>
                  <a:t>Betazellen</a:t>
                </a:r>
              </a:p>
            </p:txBody>
          </p:sp>
        </p:grpSp>
        <p:sp>
          <p:nvSpPr>
            <p:cNvPr id="29780" name="Freeform 310">
              <a:extLst>
                <a:ext uri="{FF2B5EF4-FFF2-40B4-BE49-F238E27FC236}">
                  <a16:creationId xmlns:a16="http://schemas.microsoft.com/office/drawing/2014/main" id="{FB1DBC23-47B0-DDFA-AF54-B49BF0FF1060}"/>
                </a:ext>
              </a:extLst>
            </p:cNvPr>
            <p:cNvSpPr/>
            <p:nvPr/>
          </p:nvSpPr>
          <p:spPr>
            <a:xfrm rot="5400000">
              <a:off x="2260234" y="4411063"/>
              <a:ext cx="61304" cy="3012053"/>
            </a:xfrm>
            <a:custGeom>
              <a:avLst/>
              <a:gdLst>
                <a:gd name="connsiteX0" fmla="*/ 185980 w 185980"/>
                <a:gd name="connsiteY0" fmla="*/ 0 h 1015139"/>
                <a:gd name="connsiteX1" fmla="*/ 0 w 185980"/>
                <a:gd name="connsiteY1" fmla="*/ 0 h 1015139"/>
                <a:gd name="connsiteX2" fmla="*/ 0 w 185980"/>
                <a:gd name="connsiteY2" fmla="*/ 1015139 h 1015139"/>
                <a:gd name="connsiteX3" fmla="*/ 185980 w 185980"/>
                <a:gd name="connsiteY3" fmla="*/ 1015139 h 1015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980" h="1015139">
                  <a:moveTo>
                    <a:pt x="185980" y="0"/>
                  </a:moveTo>
                  <a:lnTo>
                    <a:pt x="0" y="0"/>
                  </a:lnTo>
                  <a:lnTo>
                    <a:pt x="0" y="1015139"/>
                  </a:lnTo>
                  <a:lnTo>
                    <a:pt x="185980" y="1015139"/>
                  </a:lnTo>
                </a:path>
              </a:pathLst>
            </a:custGeom>
            <a:noFill/>
            <a:ln w="9525" cap="flat" cmpd="sng" algn="ctr">
              <a:solidFill>
                <a:srgbClr val="BFBFB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 defTabSz="514337"/>
              <a:endParaRPr lang="en-US" sz="1013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21566" name="Graphic 26">
              <a:extLst>
                <a:ext uri="{FF2B5EF4-FFF2-40B4-BE49-F238E27FC236}">
                  <a16:creationId xmlns:a16="http://schemas.microsoft.com/office/drawing/2014/main" id="{5102DE5A-5BE6-1A68-7223-9D841D953C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4487" y="5999585"/>
              <a:ext cx="289986" cy="2748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782" name="TextBox 27">
              <a:extLst>
                <a:ext uri="{FF2B5EF4-FFF2-40B4-BE49-F238E27FC236}">
                  <a16:creationId xmlns:a16="http://schemas.microsoft.com/office/drawing/2014/main" id="{5D56C6D5-BDFF-9CAC-4C91-B0BD70715DD8}"/>
                </a:ext>
              </a:extLst>
            </p:cNvPr>
            <p:cNvSpPr txBox="1"/>
            <p:nvPr/>
          </p:nvSpPr>
          <p:spPr>
            <a:xfrm>
              <a:off x="3299491" y="5992133"/>
              <a:ext cx="576235" cy="34836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none">
              <a:spAutoFit/>
            </a:bodyPr>
            <a:lstStyle/>
            <a:p>
              <a:pPr defTabSz="514337"/>
              <a:r>
                <a:rPr lang="de" sz="675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404040"/>
                  </a:solidFill>
                  <a:ea typeface="Arial"/>
                </a:rPr>
                <a:t>Tot</a:t>
              </a:r>
            </a:p>
          </p:txBody>
        </p:sp>
        <p:sp>
          <p:nvSpPr>
            <p:cNvPr id="29783" name="Freeform 676">
              <a:extLst>
                <a:ext uri="{FF2B5EF4-FFF2-40B4-BE49-F238E27FC236}">
                  <a16:creationId xmlns:a16="http://schemas.microsoft.com/office/drawing/2014/main" id="{B040F754-FC92-20C4-6B3C-5D3FA71AEFE3}"/>
                </a:ext>
              </a:extLst>
            </p:cNvPr>
            <p:cNvSpPr/>
            <p:nvPr/>
          </p:nvSpPr>
          <p:spPr>
            <a:xfrm rot="960000">
              <a:off x="7473609" y="6087261"/>
              <a:ext cx="31750" cy="42279"/>
            </a:xfrm>
            <a:custGeom>
              <a:avLst/>
              <a:gdLst>
                <a:gd name="connsiteX0" fmla="*/ 0 w 96767"/>
                <a:gd name="connsiteY0" fmla="*/ 150303 h 150303"/>
                <a:gd name="connsiteX1" fmla="*/ 70960 w 96767"/>
                <a:gd name="connsiteY1" fmla="*/ 66010 h 150303"/>
                <a:gd name="connsiteX2" fmla="*/ 96767 w 96767"/>
                <a:gd name="connsiteY2" fmla="*/ 0 h 150303"/>
                <a:gd name="connsiteX3" fmla="*/ 47276 w 96767"/>
                <a:gd name="connsiteY3" fmla="*/ 73536 h 150303"/>
                <a:gd name="connsiteX4" fmla="*/ 23277 w 96767"/>
                <a:gd name="connsiteY4" fmla="*/ 111682 h 150303"/>
                <a:gd name="connsiteX5" fmla="*/ 0 w 96767"/>
                <a:gd name="connsiteY5" fmla="*/ 150303 h 15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767" h="150303">
                  <a:moveTo>
                    <a:pt x="0" y="150303"/>
                  </a:moveTo>
                  <a:cubicBezTo>
                    <a:pt x="27276" y="125445"/>
                    <a:pt x="55163" y="99434"/>
                    <a:pt x="70960" y="66010"/>
                  </a:cubicBezTo>
                  <a:cubicBezTo>
                    <a:pt x="80587" y="45672"/>
                    <a:pt x="91095" y="21695"/>
                    <a:pt x="96767" y="0"/>
                  </a:cubicBezTo>
                  <a:cubicBezTo>
                    <a:pt x="78688" y="23051"/>
                    <a:pt x="63095" y="48971"/>
                    <a:pt x="47276" y="73536"/>
                  </a:cubicBezTo>
                  <a:cubicBezTo>
                    <a:pt x="39170" y="86191"/>
                    <a:pt x="31170" y="98906"/>
                    <a:pt x="23277" y="111682"/>
                  </a:cubicBezTo>
                  <a:cubicBezTo>
                    <a:pt x="16474" y="122733"/>
                    <a:pt x="9446" y="141625"/>
                    <a:pt x="0" y="150303"/>
                  </a:cubicBezTo>
                  <a:close/>
                </a:path>
              </a:pathLst>
            </a:custGeom>
            <a:solidFill>
              <a:srgbClr val="FFFFFF"/>
            </a:solidFill>
            <a:ln w="2228" cap="flat">
              <a:noFill/>
              <a:prstDash val="solid"/>
              <a:miter/>
            </a:ln>
          </p:spPr>
          <p:txBody>
            <a:bodyPr anchor="ctr"/>
            <a:lstStyle/>
            <a:p>
              <a:pPr defTabSz="514337"/>
              <a:endParaRPr lang="en-US" sz="1013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1570" name="Group 47">
            <a:extLst>
              <a:ext uri="{FF2B5EF4-FFF2-40B4-BE49-F238E27FC236}">
                <a16:creationId xmlns:a16="http://schemas.microsoft.com/office/drawing/2014/main" id="{ED3DEC02-79C7-CCF4-CD98-9374DBBFCFC8}"/>
              </a:ext>
            </a:extLst>
          </p:cNvPr>
          <p:cNvGrpSpPr>
            <a:grpSpLocks/>
          </p:cNvGrpSpPr>
          <p:nvPr/>
        </p:nvGrpSpPr>
        <p:grpSpPr bwMode="auto">
          <a:xfrm>
            <a:off x="3981449" y="1885950"/>
            <a:ext cx="889397" cy="985880"/>
            <a:chOff x="5076805" y="2210007"/>
            <a:chExt cx="1581586" cy="1752401"/>
          </a:xfrm>
        </p:grpSpPr>
        <p:pic>
          <p:nvPicPr>
            <p:cNvPr id="21573" name="Graphic 67">
              <a:extLst>
                <a:ext uri="{FF2B5EF4-FFF2-40B4-BE49-F238E27FC236}">
                  <a16:creationId xmlns:a16="http://schemas.microsoft.com/office/drawing/2014/main" id="{D2CA6FF6-DD43-3FDE-DC1E-CAC89AFD9D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6805" y="2210007"/>
              <a:ext cx="1581586" cy="12444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1574" name="Group 68">
              <a:extLst>
                <a:ext uri="{FF2B5EF4-FFF2-40B4-BE49-F238E27FC236}">
                  <a16:creationId xmlns:a16="http://schemas.microsoft.com/office/drawing/2014/main" id="{24BBDBE9-EFD8-FA00-FBB4-64CB53FCA67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20560" y="2763871"/>
              <a:ext cx="1189197" cy="1198537"/>
              <a:chOff x="5120560" y="2928900"/>
              <a:chExt cx="1189197" cy="1198537"/>
            </a:xfrm>
          </p:grpSpPr>
          <p:pic>
            <p:nvPicPr>
              <p:cNvPr id="21587" name="Graphic 1911">
                <a:extLst>
                  <a:ext uri="{FF2B5EF4-FFF2-40B4-BE49-F238E27FC236}">
                    <a16:creationId xmlns:a16="http://schemas.microsoft.com/office/drawing/2014/main" id="{B6A9730F-9B60-F29A-26F0-607BDFC8B7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43998" y="3846259"/>
                <a:ext cx="365759" cy="281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21598" name="Group 72">
                <a:extLst>
                  <a:ext uri="{FF2B5EF4-FFF2-40B4-BE49-F238E27FC236}">
                    <a16:creationId xmlns:a16="http://schemas.microsoft.com/office/drawing/2014/main" id="{5EE1C975-55A7-8E49-ED53-2D429D6AF4F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20560" y="2928900"/>
                <a:ext cx="662859" cy="732454"/>
                <a:chOff x="7789815" y="2098273"/>
                <a:chExt cx="701285" cy="774914"/>
              </a:xfrm>
            </p:grpSpPr>
            <p:pic>
              <p:nvPicPr>
                <p:cNvPr id="21600" name="Graphic 117">
                  <a:extLst>
                    <a:ext uri="{FF2B5EF4-FFF2-40B4-BE49-F238E27FC236}">
                      <a16:creationId xmlns:a16="http://schemas.microsoft.com/office/drawing/2014/main" id="{A1C9B151-0FE7-7CAF-CE7F-5EAC14A9443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1440000">
                  <a:off x="7886081" y="2331831"/>
                  <a:ext cx="386963" cy="2974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1602" name="Graphic 119">
                  <a:extLst>
                    <a:ext uri="{FF2B5EF4-FFF2-40B4-BE49-F238E27FC236}">
                      <a16:creationId xmlns:a16="http://schemas.microsoft.com/office/drawing/2014/main" id="{A1C7FDB6-C56C-C4CC-A1F6-EF900B25F68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10800000">
                  <a:off x="8104137" y="2575709"/>
                  <a:ext cx="386963" cy="2974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1603" name="Graphic 120">
                  <a:extLst>
                    <a:ext uri="{FF2B5EF4-FFF2-40B4-BE49-F238E27FC236}">
                      <a16:creationId xmlns:a16="http://schemas.microsoft.com/office/drawing/2014/main" id="{B1CF8EFA-91E7-9A32-2537-59AC0BCC21C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12600000">
                  <a:off x="7789815" y="2098273"/>
                  <a:ext cx="386963" cy="2974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21607" name="Graphic 106">
                <a:extLst>
                  <a:ext uri="{FF2B5EF4-FFF2-40B4-BE49-F238E27FC236}">
                    <a16:creationId xmlns:a16="http://schemas.microsoft.com/office/drawing/2014/main" id="{04807932-E000-1447-21C8-412DDDF8B8E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0800000">
                <a:off x="5754264" y="3374625"/>
                <a:ext cx="365760" cy="281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pic>
        <p:nvPicPr>
          <p:cNvPr id="21617" name="Graphic 1893">
            <a:extLst>
              <a:ext uri="{FF2B5EF4-FFF2-40B4-BE49-F238E27FC236}">
                <a16:creationId xmlns:a16="http://schemas.microsoft.com/office/drawing/2014/main" id="{82CC616F-07B4-801F-C36E-ECF0A689C1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6444" y="2887269"/>
            <a:ext cx="2619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037">
            <a:extLst>
              <a:ext uri="{FF2B5EF4-FFF2-40B4-BE49-F238E27FC236}">
                <a16:creationId xmlns:a16="http://schemas.microsoft.com/office/drawing/2014/main" id="{D0810D83-1AAC-FA0E-373D-E8A0046B3E8D}"/>
              </a:ext>
            </a:extLst>
          </p:cNvPr>
          <p:cNvSpPr txBox="1"/>
          <p:nvPr/>
        </p:nvSpPr>
        <p:spPr>
          <a:xfrm>
            <a:off x="369291" y="4825129"/>
            <a:ext cx="8538670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685766">
              <a:buClr>
                <a:srgbClr val="2F4B95"/>
              </a:buClr>
              <a:defRPr/>
            </a:pP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1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Haller MJ </a:t>
            </a:r>
            <a:r>
              <a:rPr lang="de-DE" sz="600" i="1" dirty="0">
                <a:solidFill>
                  <a:srgbClr val="404040"/>
                </a:solidFill>
                <a:ea typeface="Arial"/>
                <a:cs typeface="Arial"/>
              </a:rPr>
              <a:t>et al. </a:t>
            </a:r>
            <a:r>
              <a:rPr lang="de-DE" sz="600" i="1" dirty="0" err="1">
                <a:solidFill>
                  <a:srgbClr val="404040"/>
                </a:solidFill>
                <a:ea typeface="Arial"/>
                <a:cs typeface="Arial"/>
              </a:rPr>
              <a:t>Horm</a:t>
            </a:r>
            <a:r>
              <a:rPr lang="de-DE" sz="600" i="1" dirty="0">
                <a:solidFill>
                  <a:srgbClr val="404040"/>
                </a:solidFill>
                <a:ea typeface="Arial"/>
                <a:cs typeface="Arial"/>
              </a:rPr>
              <a:t> Res </a:t>
            </a:r>
            <a:r>
              <a:rPr lang="de-DE" sz="600" i="1" dirty="0" err="1">
                <a:solidFill>
                  <a:srgbClr val="404040"/>
                </a:solidFill>
                <a:ea typeface="Arial"/>
                <a:cs typeface="Arial"/>
              </a:rPr>
              <a:t>Paediatr</a:t>
            </a:r>
            <a:r>
              <a:rPr lang="de-DE" sz="600" i="1" dirty="0">
                <a:solidFill>
                  <a:srgbClr val="404040"/>
                </a:solidFill>
                <a:ea typeface="Arial"/>
                <a:cs typeface="Arial"/>
              </a:rPr>
              <a:t> 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2024; 97: 529–45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</a:t>
            </a: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2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Pugliese A.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J Clin Invest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2017; 127: 2881–91. </a:t>
            </a: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3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</a:t>
            </a:r>
            <a:r>
              <a:rPr lang="de-DE" sz="600" dirty="0" err="1">
                <a:solidFill>
                  <a:srgbClr val="404040"/>
                </a:solidFill>
                <a:ea typeface="Arial"/>
                <a:cs typeface="Arial"/>
              </a:rPr>
              <a:t>diabinfo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: Was ist Diabetes Typ 1? Erhältlich unter 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  <a:hlinkClick r:id="rId7"/>
              </a:rPr>
              <a:t>https://www.diabinfo.de/leben/typ-1-diabetes/grundlagen/krankheitsbild-und-symptome.html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. Zuletzt abgerufen am 12.01.2026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.</a:t>
            </a:r>
            <a:endParaRPr lang="en-US" sz="600" dirty="0">
              <a:solidFill>
                <a:srgbClr val="404040"/>
              </a:solidFill>
            </a:endParaRPr>
          </a:p>
        </p:txBody>
      </p:sp>
      <p:sp>
        <p:nvSpPr>
          <p:cNvPr id="6" name="TextBox 28">
            <a:extLst>
              <a:ext uri="{FF2B5EF4-FFF2-40B4-BE49-F238E27FC236}">
                <a16:creationId xmlns:a16="http://schemas.microsoft.com/office/drawing/2014/main" id="{BB6A9B32-4026-BF9D-A5B9-EEC4928D5345}"/>
              </a:ext>
            </a:extLst>
          </p:cNvPr>
          <p:cNvSpPr txBox="1"/>
          <p:nvPr/>
        </p:nvSpPr>
        <p:spPr>
          <a:xfrm>
            <a:off x="369291" y="4437643"/>
            <a:ext cx="6482845" cy="3462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anchor="b">
            <a:spAutoFit/>
          </a:bodyPr>
          <a:lstStyle/>
          <a:p>
            <a:pPr defTabSz="514337">
              <a:spcAft>
                <a:spcPts val="338"/>
              </a:spcAft>
            </a:pPr>
            <a:r>
              <a:rPr lang="de" sz="7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404040"/>
                </a:solidFill>
                <a:ea typeface="Arial"/>
              </a:rPr>
              <a:t>T1D: Typ-1-Diabetes.</a:t>
            </a:r>
          </a:p>
          <a:p>
            <a:pPr defTabSz="514337">
              <a:spcAft>
                <a:spcPts val="338"/>
              </a:spcAft>
            </a:pPr>
            <a:r>
              <a:rPr lang="de" sz="7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404040"/>
                </a:solidFill>
                <a:ea typeface="Arial"/>
              </a:rPr>
              <a:t>Hinweis: Abbildung ist ein Beispiel für Veranschaulichungszwecke.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0133B11F-E602-444B-2ACA-3191A8C7BEFA}"/>
              </a:ext>
            </a:extLst>
          </p:cNvPr>
          <p:cNvGrpSpPr/>
          <p:nvPr/>
        </p:nvGrpSpPr>
        <p:grpSpPr>
          <a:xfrm>
            <a:off x="3063835" y="2325671"/>
            <a:ext cx="257175" cy="245269"/>
            <a:chOff x="3144440" y="2206228"/>
            <a:chExt cx="257175" cy="245269"/>
          </a:xfrm>
        </p:grpSpPr>
        <p:sp>
          <p:nvSpPr>
            <p:cNvPr id="7" name="Freeform 195">
              <a:extLst>
                <a:ext uri="{FF2B5EF4-FFF2-40B4-BE49-F238E27FC236}">
                  <a16:creationId xmlns:a16="http://schemas.microsoft.com/office/drawing/2014/main" id="{D9EA8DF6-EDAD-8B65-E8A2-CF8EB32B3FDD}"/>
                </a:ext>
              </a:extLst>
            </p:cNvPr>
            <p:cNvSpPr/>
            <p:nvPr/>
          </p:nvSpPr>
          <p:spPr bwMode="auto">
            <a:xfrm>
              <a:off x="3144440" y="2206228"/>
              <a:ext cx="257175" cy="245269"/>
            </a:xfrm>
            <a:custGeom>
              <a:avLst/>
              <a:gdLst>
                <a:gd name="connsiteX0" fmla="*/ 153872 w 457210"/>
                <a:gd name="connsiteY0" fmla="*/ 20403 h 435449"/>
                <a:gd name="connsiteX1" fmla="*/ 179714 w 457210"/>
                <a:gd name="connsiteY1" fmla="*/ 4987 h 435449"/>
                <a:gd name="connsiteX2" fmla="*/ 221139 w 457210"/>
                <a:gd name="connsiteY2" fmla="*/ 498 h 435449"/>
                <a:gd name="connsiteX3" fmla="*/ 355831 w 457210"/>
                <a:gd name="connsiteY3" fmla="*/ 50778 h 435449"/>
                <a:gd name="connsiteX4" fmla="*/ 422092 w 457210"/>
                <a:gd name="connsiteY4" fmla="*/ 86536 h 435449"/>
                <a:gd name="connsiteX5" fmla="*/ 449709 w 457210"/>
                <a:gd name="connsiteY5" fmla="*/ 107971 h 435449"/>
                <a:gd name="connsiteX6" fmla="*/ 456909 w 457210"/>
                <a:gd name="connsiteY6" fmla="*/ 150821 h 435449"/>
                <a:gd name="connsiteX7" fmla="*/ 450873 w 457210"/>
                <a:gd name="connsiteY7" fmla="*/ 235071 h 435449"/>
                <a:gd name="connsiteX8" fmla="*/ 432587 w 457210"/>
                <a:gd name="connsiteY8" fmla="*/ 326453 h 435449"/>
                <a:gd name="connsiteX9" fmla="*/ 374986 w 457210"/>
                <a:gd name="connsiteY9" fmla="*/ 397314 h 435449"/>
                <a:gd name="connsiteX10" fmla="*/ 309888 w 457210"/>
                <a:gd name="connsiteY10" fmla="*/ 415730 h 435449"/>
                <a:gd name="connsiteX11" fmla="*/ 230529 w 457210"/>
                <a:gd name="connsiteY11" fmla="*/ 428801 h 435449"/>
                <a:gd name="connsiteX12" fmla="*/ 116767 w 457210"/>
                <a:gd name="connsiteY12" fmla="*/ 426179 h 435449"/>
                <a:gd name="connsiteX13" fmla="*/ 46186 w 457210"/>
                <a:gd name="connsiteY13" fmla="*/ 361953 h 435449"/>
                <a:gd name="connsiteX14" fmla="*/ 362 w 457210"/>
                <a:gd name="connsiteY14" fmla="*/ 251739 h 435449"/>
                <a:gd name="connsiteX15" fmla="*/ 48257 w 457210"/>
                <a:gd name="connsiteY15" fmla="*/ 136240 h 435449"/>
                <a:gd name="connsiteX16" fmla="*/ 153872 w 457210"/>
                <a:gd name="connsiteY16" fmla="*/ 20403 h 435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7210" h="435449">
                  <a:moveTo>
                    <a:pt x="153872" y="20403"/>
                  </a:moveTo>
                  <a:cubicBezTo>
                    <a:pt x="161751" y="14107"/>
                    <a:pt x="170445" y="8921"/>
                    <a:pt x="179714" y="4987"/>
                  </a:cubicBezTo>
                  <a:cubicBezTo>
                    <a:pt x="192773" y="-58"/>
                    <a:pt x="207153" y="-654"/>
                    <a:pt x="221139" y="498"/>
                  </a:cubicBezTo>
                  <a:cubicBezTo>
                    <a:pt x="269232" y="4471"/>
                    <a:pt x="313301" y="27853"/>
                    <a:pt x="355831" y="50778"/>
                  </a:cubicBezTo>
                  <a:lnTo>
                    <a:pt x="422092" y="86536"/>
                  </a:lnTo>
                  <a:cubicBezTo>
                    <a:pt x="432449" y="92118"/>
                    <a:pt x="443259" y="98098"/>
                    <a:pt x="449709" y="107971"/>
                  </a:cubicBezTo>
                  <a:cubicBezTo>
                    <a:pt x="457777" y="120268"/>
                    <a:pt x="457600" y="136101"/>
                    <a:pt x="456909" y="150821"/>
                  </a:cubicBezTo>
                  <a:cubicBezTo>
                    <a:pt x="455593" y="178951"/>
                    <a:pt x="453581" y="207035"/>
                    <a:pt x="450873" y="235071"/>
                  </a:cubicBezTo>
                  <a:cubicBezTo>
                    <a:pt x="447815" y="266082"/>
                    <a:pt x="443811" y="297390"/>
                    <a:pt x="432587" y="326453"/>
                  </a:cubicBezTo>
                  <a:cubicBezTo>
                    <a:pt x="421362" y="355517"/>
                    <a:pt x="402168" y="382435"/>
                    <a:pt x="374986" y="397314"/>
                  </a:cubicBezTo>
                  <a:cubicBezTo>
                    <a:pt x="355062" y="408220"/>
                    <a:pt x="332219" y="412054"/>
                    <a:pt x="309888" y="415730"/>
                  </a:cubicBezTo>
                  <a:lnTo>
                    <a:pt x="230529" y="428801"/>
                  </a:lnTo>
                  <a:cubicBezTo>
                    <a:pt x="192556" y="435059"/>
                    <a:pt x="152275" y="441019"/>
                    <a:pt x="116767" y="426179"/>
                  </a:cubicBezTo>
                  <a:cubicBezTo>
                    <a:pt x="87178" y="413803"/>
                    <a:pt x="64768" y="388434"/>
                    <a:pt x="46186" y="361953"/>
                  </a:cubicBezTo>
                  <a:cubicBezTo>
                    <a:pt x="23047" y="329056"/>
                    <a:pt x="3518" y="292026"/>
                    <a:pt x="362" y="251739"/>
                  </a:cubicBezTo>
                  <a:cubicBezTo>
                    <a:pt x="-3445" y="202790"/>
                    <a:pt x="23501" y="173885"/>
                    <a:pt x="48257" y="136240"/>
                  </a:cubicBezTo>
                  <a:cubicBezTo>
                    <a:pt x="77571" y="91661"/>
                    <a:pt x="110889" y="52486"/>
                    <a:pt x="153872" y="20403"/>
                  </a:cubicBezTo>
                  <a:close/>
                </a:path>
              </a:pathLst>
            </a:custGeom>
            <a:solidFill>
              <a:schemeClr val="tx2"/>
            </a:solidFill>
            <a:ln w="11766" cap="flat">
              <a:solidFill>
                <a:srgbClr val="585863"/>
              </a:solidFill>
              <a:prstDash val="solid"/>
              <a:miter/>
            </a:ln>
          </p:spPr>
          <p:txBody>
            <a:bodyPr anchor="ctr"/>
            <a:lstStyle/>
            <a:p>
              <a:pPr fontAlgn="auto">
                <a:buSzTx/>
              </a:pPr>
              <a:endParaRPr lang="en-US" sz="1013"/>
            </a:p>
          </p:txBody>
        </p:sp>
        <p:sp>
          <p:nvSpPr>
            <p:cNvPr id="8" name="Freeform 196">
              <a:extLst>
                <a:ext uri="{FF2B5EF4-FFF2-40B4-BE49-F238E27FC236}">
                  <a16:creationId xmlns:a16="http://schemas.microsoft.com/office/drawing/2014/main" id="{5F614B29-CBDB-14C1-9771-2F3C86717AC0}"/>
                </a:ext>
              </a:extLst>
            </p:cNvPr>
            <p:cNvSpPr/>
            <p:nvPr/>
          </p:nvSpPr>
          <p:spPr bwMode="auto">
            <a:xfrm>
              <a:off x="3221831" y="2284809"/>
              <a:ext cx="109538" cy="122634"/>
            </a:xfrm>
            <a:custGeom>
              <a:avLst/>
              <a:gdLst>
                <a:gd name="connsiteX0" fmla="*/ 195291 w 195291"/>
                <a:gd name="connsiteY0" fmla="*/ 109261 h 218522"/>
                <a:gd name="connsiteX1" fmla="*/ 97646 w 195291"/>
                <a:gd name="connsiteY1" fmla="*/ 218522 h 218522"/>
                <a:gd name="connsiteX2" fmla="*/ 0 w 195291"/>
                <a:gd name="connsiteY2" fmla="*/ 109261 h 218522"/>
                <a:gd name="connsiteX3" fmla="*/ 97646 w 195291"/>
                <a:gd name="connsiteY3" fmla="*/ 0 h 218522"/>
                <a:gd name="connsiteX4" fmla="*/ 195291 w 195291"/>
                <a:gd name="connsiteY4" fmla="*/ 109261 h 218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291" h="218521">
                  <a:moveTo>
                    <a:pt x="195291" y="109261"/>
                  </a:moveTo>
                  <a:cubicBezTo>
                    <a:pt x="195291" y="169604"/>
                    <a:pt x="151574" y="218522"/>
                    <a:pt x="97646" y="218522"/>
                  </a:cubicBezTo>
                  <a:cubicBezTo>
                    <a:pt x="43717" y="218522"/>
                    <a:pt x="0" y="169604"/>
                    <a:pt x="0" y="109261"/>
                  </a:cubicBezTo>
                  <a:cubicBezTo>
                    <a:pt x="0" y="48918"/>
                    <a:pt x="43717" y="0"/>
                    <a:pt x="97646" y="0"/>
                  </a:cubicBezTo>
                  <a:cubicBezTo>
                    <a:pt x="151574" y="0"/>
                    <a:pt x="195291" y="48918"/>
                    <a:pt x="195291" y="109261"/>
                  </a:cubicBezTo>
                  <a:close/>
                </a:path>
              </a:pathLst>
            </a:custGeom>
            <a:solidFill>
              <a:srgbClr val="E3E7F7">
                <a:alpha val="48000"/>
              </a:srgbClr>
            </a:solidFill>
            <a:ln w="1961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buSzTx/>
              </a:pPr>
              <a:endParaRPr lang="en-US" sz="1013"/>
            </a:p>
          </p:txBody>
        </p:sp>
      </p:grpSp>
      <p:grpSp>
        <p:nvGrpSpPr>
          <p:cNvPr id="42" name="Graphic 130">
            <a:extLst>
              <a:ext uri="{FF2B5EF4-FFF2-40B4-BE49-F238E27FC236}">
                <a16:creationId xmlns:a16="http://schemas.microsoft.com/office/drawing/2014/main" id="{ED6203ED-3CA3-97EA-47D3-6DDEB5E7BCCF}"/>
              </a:ext>
            </a:extLst>
          </p:cNvPr>
          <p:cNvGrpSpPr>
            <a:grpSpLocks/>
          </p:cNvGrpSpPr>
          <p:nvPr/>
        </p:nvGrpSpPr>
        <p:grpSpPr bwMode="auto">
          <a:xfrm>
            <a:off x="3976688" y="1885950"/>
            <a:ext cx="889397" cy="700088"/>
            <a:chOff x="5090414" y="2222373"/>
            <a:chExt cx="1542161" cy="1216422"/>
          </a:xfrm>
        </p:grpSpPr>
        <p:sp>
          <p:nvSpPr>
            <p:cNvPr id="43" name="Freeform 3">
              <a:extLst>
                <a:ext uri="{FF2B5EF4-FFF2-40B4-BE49-F238E27FC236}">
                  <a16:creationId xmlns:a16="http://schemas.microsoft.com/office/drawing/2014/main" id="{D253DADA-3F4D-4CCD-3D73-59EF14778858}"/>
                </a:ext>
              </a:extLst>
            </p:cNvPr>
            <p:cNvSpPr/>
            <p:nvPr/>
          </p:nvSpPr>
          <p:spPr>
            <a:xfrm>
              <a:off x="5090414" y="2222373"/>
              <a:ext cx="1542161" cy="1216422"/>
            </a:xfrm>
            <a:custGeom>
              <a:avLst/>
              <a:gdLst>
                <a:gd name="connsiteX0" fmla="*/ 524276 w 1557813"/>
                <a:gd name="connsiteY0" fmla="*/ 57229 h 1221401"/>
                <a:gd name="connsiteX1" fmla="*/ 612324 w 1557813"/>
                <a:gd name="connsiteY1" fmla="*/ 13989 h 1221401"/>
                <a:gd name="connsiteX2" fmla="*/ 753469 w 1557813"/>
                <a:gd name="connsiteY2" fmla="*/ 1396 h 1221401"/>
                <a:gd name="connsiteX3" fmla="*/ 1212392 w 1557813"/>
                <a:gd name="connsiteY3" fmla="*/ 142427 h 1221401"/>
                <a:gd name="connsiteX4" fmla="*/ 1438157 w 1557813"/>
                <a:gd name="connsiteY4" fmla="*/ 242726 h 1221401"/>
                <a:gd name="connsiteX5" fmla="*/ 1532254 w 1557813"/>
                <a:gd name="connsiteY5" fmla="*/ 302850 h 1221401"/>
                <a:gd name="connsiteX6" fmla="*/ 1556786 w 1557813"/>
                <a:gd name="connsiteY6" fmla="*/ 423041 h 1221401"/>
                <a:gd name="connsiteX7" fmla="*/ 1536220 w 1557813"/>
                <a:gd name="connsiteY7" fmla="*/ 659356 h 1221401"/>
                <a:gd name="connsiteX8" fmla="*/ 1473914 w 1557813"/>
                <a:gd name="connsiteY8" fmla="*/ 915675 h 1221401"/>
                <a:gd name="connsiteX9" fmla="*/ 1277655 w 1557813"/>
                <a:gd name="connsiteY9" fmla="*/ 1114434 h 1221401"/>
                <a:gd name="connsiteX10" fmla="*/ 1055856 w 1557813"/>
                <a:gd name="connsiteY10" fmla="*/ 1166087 h 1221401"/>
                <a:gd name="connsiteX11" fmla="*/ 785462 w 1557813"/>
                <a:gd name="connsiteY11" fmla="*/ 1202752 h 1221401"/>
                <a:gd name="connsiteX12" fmla="*/ 397850 w 1557813"/>
                <a:gd name="connsiteY12" fmla="*/ 1195397 h 1221401"/>
                <a:gd name="connsiteX13" fmla="*/ 157366 w 1557813"/>
                <a:gd name="connsiteY13" fmla="*/ 1015249 h 1221401"/>
                <a:gd name="connsiteX14" fmla="*/ 1232 w 1557813"/>
                <a:gd name="connsiteY14" fmla="*/ 706106 h 1221401"/>
                <a:gd name="connsiteX15" fmla="*/ 164423 w 1557813"/>
                <a:gd name="connsiteY15" fmla="*/ 382141 h 1221401"/>
                <a:gd name="connsiteX16" fmla="*/ 524276 w 1557813"/>
                <a:gd name="connsiteY16" fmla="*/ 57229 h 1221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57813" h="1221401">
                  <a:moveTo>
                    <a:pt x="524276" y="57229"/>
                  </a:moveTo>
                  <a:cubicBezTo>
                    <a:pt x="551121" y="39568"/>
                    <a:pt x="580743" y="25022"/>
                    <a:pt x="612324" y="13989"/>
                  </a:cubicBezTo>
                  <a:cubicBezTo>
                    <a:pt x="656818" y="-164"/>
                    <a:pt x="705816" y="-1835"/>
                    <a:pt x="753469" y="1396"/>
                  </a:cubicBezTo>
                  <a:cubicBezTo>
                    <a:pt x="917332" y="12541"/>
                    <a:pt x="1067483" y="78125"/>
                    <a:pt x="1212392" y="142427"/>
                  </a:cubicBezTo>
                  <a:lnTo>
                    <a:pt x="1438157" y="242726"/>
                  </a:lnTo>
                  <a:cubicBezTo>
                    <a:pt x="1473444" y="258384"/>
                    <a:pt x="1510276" y="275156"/>
                    <a:pt x="1532254" y="302850"/>
                  </a:cubicBezTo>
                  <a:cubicBezTo>
                    <a:pt x="1559744" y="337341"/>
                    <a:pt x="1559139" y="381751"/>
                    <a:pt x="1556786" y="423041"/>
                  </a:cubicBezTo>
                  <a:cubicBezTo>
                    <a:pt x="1552303" y="501943"/>
                    <a:pt x="1545448" y="580716"/>
                    <a:pt x="1536220" y="659356"/>
                  </a:cubicBezTo>
                  <a:cubicBezTo>
                    <a:pt x="1525802" y="746337"/>
                    <a:pt x="1512158" y="834154"/>
                    <a:pt x="1473914" y="915675"/>
                  </a:cubicBezTo>
                  <a:cubicBezTo>
                    <a:pt x="1435671" y="997196"/>
                    <a:pt x="1370273" y="1072698"/>
                    <a:pt x="1277655" y="1114434"/>
                  </a:cubicBezTo>
                  <a:cubicBezTo>
                    <a:pt x="1209771" y="1145025"/>
                    <a:pt x="1131940" y="1155779"/>
                    <a:pt x="1055856" y="1166087"/>
                  </a:cubicBezTo>
                  <a:lnTo>
                    <a:pt x="785462" y="1202752"/>
                  </a:lnTo>
                  <a:cubicBezTo>
                    <a:pt x="656079" y="1220304"/>
                    <a:pt x="518832" y="1237021"/>
                    <a:pt x="397850" y="1195397"/>
                  </a:cubicBezTo>
                  <a:cubicBezTo>
                    <a:pt x="297032" y="1160682"/>
                    <a:pt x="220680" y="1089526"/>
                    <a:pt x="157366" y="1015249"/>
                  </a:cubicBezTo>
                  <a:cubicBezTo>
                    <a:pt x="78526" y="922974"/>
                    <a:pt x="11986" y="819110"/>
                    <a:pt x="1232" y="706106"/>
                  </a:cubicBezTo>
                  <a:cubicBezTo>
                    <a:pt x="-11739" y="568809"/>
                    <a:pt x="80072" y="487734"/>
                    <a:pt x="164423" y="382141"/>
                  </a:cubicBezTo>
                  <a:cubicBezTo>
                    <a:pt x="264300" y="257102"/>
                    <a:pt x="377821" y="147220"/>
                    <a:pt x="524276" y="57229"/>
                  </a:cubicBezTo>
                  <a:close/>
                </a:path>
              </a:pathLst>
            </a:custGeom>
            <a:solidFill>
              <a:schemeClr val="tx2"/>
            </a:solidFill>
            <a:ln w="34925" cap="flat">
              <a:solidFill>
                <a:srgbClr val="585863"/>
              </a:solidFill>
              <a:prstDash val="solid"/>
              <a:miter/>
            </a:ln>
          </p:spPr>
          <p:txBody>
            <a:bodyPr anchor="ctr"/>
            <a:lstStyle/>
            <a:p>
              <a:pPr fontAlgn="auto">
                <a:buSzTx/>
              </a:pPr>
              <a:endParaRPr lang="en-US" sz="1013"/>
            </a:p>
          </p:txBody>
        </p:sp>
        <p:sp>
          <p:nvSpPr>
            <p:cNvPr id="44" name="Freeform 4">
              <a:extLst>
                <a:ext uri="{FF2B5EF4-FFF2-40B4-BE49-F238E27FC236}">
                  <a16:creationId xmlns:a16="http://schemas.microsoft.com/office/drawing/2014/main" id="{52441BB0-0E01-B89E-9045-F90D69547B5D}"/>
                </a:ext>
              </a:extLst>
            </p:cNvPr>
            <p:cNvSpPr/>
            <p:nvPr/>
          </p:nvSpPr>
          <p:spPr>
            <a:xfrm>
              <a:off x="5565242" y="2619572"/>
              <a:ext cx="664760" cy="612348"/>
            </a:xfrm>
            <a:custGeom>
              <a:avLst/>
              <a:gdLst>
                <a:gd name="connsiteX0" fmla="*/ 665399 w 665398"/>
                <a:gd name="connsiteY0" fmla="*/ 306468 h 612936"/>
                <a:gd name="connsiteX1" fmla="*/ 332699 w 665398"/>
                <a:gd name="connsiteY1" fmla="*/ 612937 h 612936"/>
                <a:gd name="connsiteX2" fmla="*/ 0 w 665398"/>
                <a:gd name="connsiteY2" fmla="*/ 306468 h 612936"/>
                <a:gd name="connsiteX3" fmla="*/ 332699 w 665398"/>
                <a:gd name="connsiteY3" fmla="*/ 0 h 612936"/>
                <a:gd name="connsiteX4" fmla="*/ 665399 w 665398"/>
                <a:gd name="connsiteY4" fmla="*/ 306468 h 6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5398" h="612936">
                  <a:moveTo>
                    <a:pt x="665399" y="306468"/>
                  </a:moveTo>
                  <a:cubicBezTo>
                    <a:pt x="665399" y="475726"/>
                    <a:pt x="516444" y="612937"/>
                    <a:pt x="332699" y="612937"/>
                  </a:cubicBezTo>
                  <a:cubicBezTo>
                    <a:pt x="148955" y="612937"/>
                    <a:pt x="0" y="475726"/>
                    <a:pt x="0" y="306468"/>
                  </a:cubicBezTo>
                  <a:cubicBezTo>
                    <a:pt x="0" y="137211"/>
                    <a:pt x="148955" y="0"/>
                    <a:pt x="332699" y="0"/>
                  </a:cubicBezTo>
                  <a:cubicBezTo>
                    <a:pt x="516444" y="0"/>
                    <a:pt x="665399" y="137211"/>
                    <a:pt x="665399" y="306468"/>
                  </a:cubicBezTo>
                  <a:close/>
                </a:path>
              </a:pathLst>
            </a:custGeom>
            <a:solidFill>
              <a:srgbClr val="E3E7F7">
                <a:alpha val="48000"/>
              </a:srgbClr>
            </a:solidFill>
            <a:ln w="6684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buSzTx/>
              </a:pPr>
              <a:endParaRPr lang="en-US" sz="1013"/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55D8B092-AF8F-CAA8-50CB-DEFFDA13BDBD}"/>
                </a:ext>
              </a:extLst>
            </p:cNvPr>
            <p:cNvSpPr/>
            <p:nvPr/>
          </p:nvSpPr>
          <p:spPr>
            <a:xfrm>
              <a:off x="6143295" y="2420973"/>
              <a:ext cx="386057" cy="535806"/>
            </a:xfrm>
            <a:custGeom>
              <a:avLst/>
              <a:gdLst>
                <a:gd name="connsiteX0" fmla="*/ 296539 w 384943"/>
                <a:gd name="connsiteY0" fmla="*/ 112502 h 535428"/>
                <a:gd name="connsiteX1" fmla="*/ 374371 w 384943"/>
                <a:gd name="connsiteY1" fmla="*/ 164713 h 535428"/>
                <a:gd name="connsiteX2" fmla="*/ 383646 w 384943"/>
                <a:gd name="connsiteY2" fmla="*/ 213581 h 535428"/>
                <a:gd name="connsiteX3" fmla="*/ 349301 w 384943"/>
                <a:gd name="connsiteY3" fmla="*/ 535428 h 535428"/>
                <a:gd name="connsiteX4" fmla="*/ 313006 w 384943"/>
                <a:gd name="connsiteY4" fmla="*/ 275654 h 535428"/>
                <a:gd name="connsiteX5" fmla="*/ 168030 w 384943"/>
                <a:gd name="connsiteY5" fmla="*/ 133342 h 535428"/>
                <a:gd name="connsiteX6" fmla="*/ 0 w 384943"/>
                <a:gd name="connsiteY6" fmla="*/ 0 h 535428"/>
                <a:gd name="connsiteX7" fmla="*/ 296539 w 384943"/>
                <a:gd name="connsiteY7" fmla="*/ 112502 h 5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943" h="535428">
                  <a:moveTo>
                    <a:pt x="296539" y="112502"/>
                  </a:moveTo>
                  <a:cubicBezTo>
                    <a:pt x="327255" y="124705"/>
                    <a:pt x="360256" y="138969"/>
                    <a:pt x="374371" y="164713"/>
                  </a:cubicBezTo>
                  <a:cubicBezTo>
                    <a:pt x="382638" y="179813"/>
                    <a:pt x="383243" y="196976"/>
                    <a:pt x="383646" y="213581"/>
                  </a:cubicBezTo>
                  <a:cubicBezTo>
                    <a:pt x="386334" y="321792"/>
                    <a:pt x="388620" y="432232"/>
                    <a:pt x="349301" y="535428"/>
                  </a:cubicBezTo>
                  <a:cubicBezTo>
                    <a:pt x="315695" y="452347"/>
                    <a:pt x="349301" y="357955"/>
                    <a:pt x="313006" y="275654"/>
                  </a:cubicBezTo>
                  <a:cubicBezTo>
                    <a:pt x="286390" y="215252"/>
                    <a:pt x="226975" y="172347"/>
                    <a:pt x="168030" y="133342"/>
                  </a:cubicBezTo>
                  <a:cubicBezTo>
                    <a:pt x="116344" y="99184"/>
                    <a:pt x="20164" y="54273"/>
                    <a:pt x="0" y="0"/>
                  </a:cubicBezTo>
                  <a:cubicBezTo>
                    <a:pt x="99877" y="20506"/>
                    <a:pt x="203249" y="75280"/>
                    <a:pt x="296539" y="112502"/>
                  </a:cubicBezTo>
                  <a:close/>
                </a:path>
              </a:pathLst>
            </a:custGeom>
            <a:solidFill>
              <a:srgbClr val="FFFFFF"/>
            </a:solidFill>
            <a:ln w="6684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buSzTx/>
              </a:pPr>
              <a:endParaRPr lang="en-US" sz="1013"/>
            </a:p>
          </p:txBody>
        </p:sp>
      </p:grpSp>
      <p:sp>
        <p:nvSpPr>
          <p:cNvPr id="47" name="insulin production text">
            <a:extLst>
              <a:ext uri="{FF2B5EF4-FFF2-40B4-BE49-F238E27FC236}">
                <a16:creationId xmlns:a16="http://schemas.microsoft.com/office/drawing/2014/main" id="{2E9B7E68-F16B-B806-B6BE-ECFBD2C2AE9C}"/>
              </a:ext>
            </a:extLst>
          </p:cNvPr>
          <p:cNvSpPr txBox="1"/>
          <p:nvPr/>
        </p:nvSpPr>
        <p:spPr>
          <a:xfrm>
            <a:off x="3553156" y="3300104"/>
            <a:ext cx="1984838" cy="334835"/>
          </a:xfrm>
          <a:prstGeom prst="rect">
            <a:avLst/>
          </a:prstGeom>
          <a:solidFill>
            <a:srgbClr val="F5F3F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>
            <a:spAutoFit/>
          </a:bodyPr>
          <a:lstStyle/>
          <a:p>
            <a:pPr algn="ctr" defTabSz="514337"/>
            <a:r>
              <a:rPr lang="de" sz="788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Keine Insulinsekretion/</a:t>
            </a:r>
            <a:br>
              <a:rPr sz="788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a typeface="Arial"/>
                <a:sym typeface="Wingdings"/>
              </a:rPr>
            </a:br>
            <a:r>
              <a:rPr lang="de" sz="788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exogenes Insulin erforderlich</a:t>
            </a:r>
            <a:r>
              <a:rPr lang="de" sz="788" b="1" baseline="3000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1,4</a:t>
            </a:r>
          </a:p>
        </p:txBody>
      </p:sp>
      <p:grpSp>
        <p:nvGrpSpPr>
          <p:cNvPr id="48" name="Group 166">
            <a:extLst>
              <a:ext uri="{FF2B5EF4-FFF2-40B4-BE49-F238E27FC236}">
                <a16:creationId xmlns:a16="http://schemas.microsoft.com/office/drawing/2014/main" id="{BD6A0EEB-7ED4-FB07-49B2-4F7A903905EB}"/>
              </a:ext>
            </a:extLst>
          </p:cNvPr>
          <p:cNvGrpSpPr>
            <a:grpSpLocks/>
          </p:cNvGrpSpPr>
          <p:nvPr/>
        </p:nvGrpSpPr>
        <p:grpSpPr bwMode="auto">
          <a:xfrm>
            <a:off x="5645944" y="1823285"/>
            <a:ext cx="2725423" cy="1740039"/>
            <a:chOff x="8004951" y="2086867"/>
            <a:chExt cx="4846754" cy="3092536"/>
          </a:xfrm>
        </p:grpSpPr>
        <p:sp>
          <p:nvSpPr>
            <p:cNvPr id="49" name="Freeform 96">
              <a:extLst>
                <a:ext uri="{FF2B5EF4-FFF2-40B4-BE49-F238E27FC236}">
                  <a16:creationId xmlns:a16="http://schemas.microsoft.com/office/drawing/2014/main" id="{2715BC51-26F4-AA91-9BDE-41227035DCBD}"/>
                </a:ext>
              </a:extLst>
            </p:cNvPr>
            <p:cNvSpPr/>
            <p:nvPr/>
          </p:nvSpPr>
          <p:spPr>
            <a:xfrm rot="10800000">
              <a:off x="8004951" y="2161883"/>
              <a:ext cx="237143" cy="3017520"/>
            </a:xfrm>
            <a:custGeom>
              <a:avLst/>
              <a:gdLst>
                <a:gd name="connsiteX0" fmla="*/ 185980 w 185980"/>
                <a:gd name="connsiteY0" fmla="*/ 0 h 1015139"/>
                <a:gd name="connsiteX1" fmla="*/ 0 w 185980"/>
                <a:gd name="connsiteY1" fmla="*/ 0 h 1015139"/>
                <a:gd name="connsiteX2" fmla="*/ 0 w 185980"/>
                <a:gd name="connsiteY2" fmla="*/ 1015139 h 1015139"/>
                <a:gd name="connsiteX3" fmla="*/ 185980 w 185980"/>
                <a:gd name="connsiteY3" fmla="*/ 1015139 h 1015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980" h="1015139">
                  <a:moveTo>
                    <a:pt x="185980" y="0"/>
                  </a:moveTo>
                  <a:lnTo>
                    <a:pt x="0" y="0"/>
                  </a:lnTo>
                  <a:lnTo>
                    <a:pt x="0" y="1015139"/>
                  </a:lnTo>
                  <a:lnTo>
                    <a:pt x="185980" y="1015139"/>
                  </a:lnTo>
                </a:path>
              </a:pathLst>
            </a:custGeom>
            <a:noFill/>
            <a:ln w="9525" cap="flat" cmpd="sng" algn="ctr">
              <a:solidFill>
                <a:srgbClr val="BFBFB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 defTabSz="514337"/>
              <a:endParaRPr lang="en-US" sz="1013">
                <a:solidFill>
                  <a:srgbClr val="FFFFFF"/>
                </a:solidFill>
              </a:endParaRPr>
            </a:p>
          </p:txBody>
        </p:sp>
        <p:sp>
          <p:nvSpPr>
            <p:cNvPr id="50" name="TextBox 44">
              <a:extLst>
                <a:ext uri="{FF2B5EF4-FFF2-40B4-BE49-F238E27FC236}">
                  <a16:creationId xmlns:a16="http://schemas.microsoft.com/office/drawing/2014/main" id="{A811A1CA-58D4-EFA0-12A2-2E4B335A49BD}"/>
                </a:ext>
              </a:extLst>
            </p:cNvPr>
            <p:cNvSpPr txBox="1"/>
            <p:nvPr/>
          </p:nvSpPr>
          <p:spPr>
            <a:xfrm>
              <a:off x="8311965" y="2086867"/>
              <a:ext cx="4539740" cy="220625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>
              <a:spAutoFit/>
            </a:bodyPr>
            <a:lstStyle/>
            <a:p>
              <a:pPr marL="128585" indent="-128585">
                <a:spcBef>
                  <a:spcPts val="675"/>
                </a:spcBef>
                <a:buClr>
                  <a:srgbClr val="FBA329"/>
                </a:buClr>
                <a:buFont typeface="Arial" pitchFamily="34" charset="0"/>
                <a:buChar char="•"/>
              </a:pPr>
              <a:r>
                <a:rPr lang="de" sz="900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Im Stadium 4 des T1D hat sich die Erkrankung etabliert</a:t>
              </a:r>
              <a:r>
                <a:rPr lang="de" sz="900" baseline="30000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1</a:t>
              </a:r>
            </a:p>
            <a:p>
              <a:pPr marL="128585" indent="-128585">
                <a:spcBef>
                  <a:spcPts val="675"/>
                </a:spcBef>
                <a:buClr>
                  <a:srgbClr val="FBA329"/>
                </a:buClr>
                <a:buFont typeface="Arial" pitchFamily="34" charset="0"/>
                <a:buChar char="•"/>
              </a:pPr>
              <a:r>
                <a:rPr lang="de" sz="900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Es gibt kaum noch messbare Insulinsekretion</a:t>
              </a:r>
              <a:r>
                <a:rPr lang="de" sz="900" baseline="30000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1,2</a:t>
              </a:r>
            </a:p>
            <a:p>
              <a:pPr marL="128585" indent="-128585">
                <a:spcBef>
                  <a:spcPts val="675"/>
                </a:spcBef>
                <a:buClr>
                  <a:srgbClr val="FBA329"/>
                </a:buClr>
                <a:buFont typeface="Arial" pitchFamily="34" charset="0"/>
                <a:buChar char="•"/>
              </a:pPr>
              <a:r>
                <a:rPr lang="de" sz="900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Eine exogene Insulintherapie ist erforderlich, um die glykämische Kontrolle aufrechtzuerhalten</a:t>
              </a:r>
              <a:r>
                <a:rPr lang="de" sz="900" baseline="30000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3</a:t>
              </a:r>
            </a:p>
          </p:txBody>
        </p:sp>
      </p:grpSp>
      <p:sp>
        <p:nvSpPr>
          <p:cNvPr id="51" name="TextBox 61">
            <a:extLst>
              <a:ext uri="{FF2B5EF4-FFF2-40B4-BE49-F238E27FC236}">
                <a16:creationId xmlns:a16="http://schemas.microsoft.com/office/drawing/2014/main" id="{5EB401A2-9053-ABC2-E7DE-56169E895D3D}"/>
              </a:ext>
            </a:extLst>
          </p:cNvPr>
          <p:cNvSpPr txBox="1"/>
          <p:nvPr/>
        </p:nvSpPr>
        <p:spPr>
          <a:xfrm>
            <a:off x="5729288" y="1628775"/>
            <a:ext cx="1460897" cy="1212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>
            <a:spAutoFit/>
          </a:bodyPr>
          <a:lstStyle/>
          <a:p>
            <a:pPr algn="ctr" defTabSz="514337">
              <a:spcBef>
                <a:spcPts val="113"/>
              </a:spcBef>
            </a:pPr>
            <a:r>
              <a:rPr lang="de" sz="788" b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HYPERGLYKÄMIE</a:t>
            </a:r>
            <a:r>
              <a:rPr lang="de" sz="788" b="1" baseline="3000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4F72"/>
                </a:solidFill>
                <a:ea typeface="Arial"/>
              </a:rPr>
              <a:t>1,3</a:t>
            </a:r>
          </a:p>
        </p:txBody>
      </p:sp>
    </p:spTree>
    <p:extLst>
      <p:ext uri="{BB962C8B-B14F-4D97-AF65-F5344CB8AC3E}">
        <p14:creationId xmlns:p14="http://schemas.microsoft.com/office/powerpoint/2010/main" val="2509915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EDAC4B-0BC9-A9E3-BB7F-068C25162C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Grafik 149" descr="Ein Bild, das Screenshot, Kreis, Grafiken enthält.&#10;&#10;KI-generierte Inhalte können fehlerhaft sein.">
            <a:extLst>
              <a:ext uri="{FF2B5EF4-FFF2-40B4-BE49-F238E27FC236}">
                <a16:creationId xmlns:a16="http://schemas.microsoft.com/office/drawing/2014/main" id="{D6CFEA74-37C4-E6C1-FBF0-9E01954BE4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32"/>
          <a:stretch>
            <a:fillRect/>
          </a:stretch>
        </p:blipFill>
        <p:spPr>
          <a:xfrm>
            <a:off x="446437" y="-609419"/>
            <a:ext cx="8811635" cy="6245524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F41F83DB-69F2-8D5A-5AE3-55630B2BD74F}"/>
              </a:ext>
            </a:extLst>
          </p:cNvPr>
          <p:cNvSpPr/>
          <p:nvPr/>
        </p:nvSpPr>
        <p:spPr>
          <a:xfrm>
            <a:off x="446437" y="87713"/>
            <a:ext cx="7466740" cy="630362"/>
          </a:xfrm>
          <a:prstGeom prst="rect">
            <a:avLst/>
          </a:prstGeom>
          <a:solidFill>
            <a:srgbClr val="F5F3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67D7B47-098E-9B20-FC62-F528AD938F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3745" y="115142"/>
            <a:ext cx="8476488" cy="643493"/>
          </a:xfrm>
          <a:noFill/>
        </p:spPr>
        <p:txBody>
          <a:bodyPr/>
          <a:lstStyle/>
          <a:p>
            <a:pPr>
              <a:lnSpc>
                <a:spcPct val="100000"/>
              </a:lnSpc>
            </a:pPr>
            <a:r>
              <a:rPr lang="de" sz="2000" b="1" dirty="0">
                <a:solidFill>
                  <a:srgbClr val="7030A0"/>
                </a:solidFill>
              </a:rPr>
              <a:t>Fortschreiten des Typ-1-Diabetes in 3 Stadien,                bis zum Übergang ins Stadium 4 des Langzeit-T1D</a:t>
            </a:r>
            <a:r>
              <a:rPr lang="de" sz="2000" b="1" baseline="30000" dirty="0">
                <a:solidFill>
                  <a:srgbClr val="7030A0"/>
                </a:solidFill>
              </a:rPr>
              <a:t>1</a:t>
            </a:r>
            <a:endParaRPr lang="en-US" sz="2000" b="1" baseline="30000" dirty="0">
              <a:solidFill>
                <a:srgbClr val="7030A0"/>
              </a:solidFill>
            </a:endParaRPr>
          </a:p>
        </p:txBody>
      </p:sp>
      <p:sp>
        <p:nvSpPr>
          <p:cNvPr id="9" name="Pfeil: Fünfeck 8">
            <a:extLst>
              <a:ext uri="{FF2B5EF4-FFF2-40B4-BE49-F238E27FC236}">
                <a16:creationId xmlns:a16="http://schemas.microsoft.com/office/drawing/2014/main" id="{D7201008-4214-EED6-2BB9-38CB7D6C324A}"/>
              </a:ext>
            </a:extLst>
          </p:cNvPr>
          <p:cNvSpPr/>
          <p:nvPr/>
        </p:nvSpPr>
        <p:spPr>
          <a:xfrm>
            <a:off x="2253068" y="901979"/>
            <a:ext cx="1490030" cy="292795"/>
          </a:xfrm>
          <a:prstGeom prst="homePlate">
            <a:avLst>
              <a:gd name="adj" fmla="val 24815"/>
            </a:avLst>
          </a:prstGeom>
          <a:solidFill>
            <a:srgbClr val="EDF6F6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Pfeil: Fünfeck 9">
            <a:extLst>
              <a:ext uri="{FF2B5EF4-FFF2-40B4-BE49-F238E27FC236}">
                <a16:creationId xmlns:a16="http://schemas.microsoft.com/office/drawing/2014/main" id="{F80E7229-FCF3-2AAD-39B9-25871B21DDDB}"/>
              </a:ext>
            </a:extLst>
          </p:cNvPr>
          <p:cNvSpPr/>
          <p:nvPr/>
        </p:nvSpPr>
        <p:spPr>
          <a:xfrm>
            <a:off x="3868626" y="906856"/>
            <a:ext cx="1105611" cy="292795"/>
          </a:xfrm>
          <a:prstGeom prst="homePlate">
            <a:avLst>
              <a:gd name="adj" fmla="val 24815"/>
            </a:avLst>
          </a:prstGeom>
          <a:solidFill>
            <a:srgbClr val="EDF6F6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84" name="Grafik 183">
            <a:extLst>
              <a:ext uri="{FF2B5EF4-FFF2-40B4-BE49-F238E27FC236}">
                <a16:creationId xmlns:a16="http://schemas.microsoft.com/office/drawing/2014/main" id="{EAF63630-CE6E-9A53-C9DA-89842E629B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153" y="3631021"/>
            <a:ext cx="6153378" cy="154554"/>
          </a:xfrm>
          <a:prstGeom prst="rect">
            <a:avLst/>
          </a:prstGeom>
        </p:spPr>
      </p:pic>
      <p:sp>
        <p:nvSpPr>
          <p:cNvPr id="4" name="TextBox 3037">
            <a:extLst>
              <a:ext uri="{FF2B5EF4-FFF2-40B4-BE49-F238E27FC236}">
                <a16:creationId xmlns:a16="http://schemas.microsoft.com/office/drawing/2014/main" id="{2D3462B1-C2D8-7E89-C944-1269DB0A706C}"/>
              </a:ext>
            </a:extLst>
          </p:cNvPr>
          <p:cNvSpPr txBox="1"/>
          <p:nvPr/>
        </p:nvSpPr>
        <p:spPr>
          <a:xfrm>
            <a:off x="363746" y="4668435"/>
            <a:ext cx="836037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F4B95"/>
              </a:buClr>
              <a:buSzTx/>
              <a:buFontTx/>
              <a:buNone/>
              <a:tabLst/>
              <a:defRPr/>
            </a:pPr>
            <a:r>
              <a:rPr kumimoji="0" lang="de-DE" sz="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1.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Haller MJ </a:t>
            </a:r>
            <a:r>
              <a:rPr kumimoji="0" lang="de-DE" sz="6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et al. </a:t>
            </a:r>
            <a:r>
              <a:rPr kumimoji="0" lang="de-DE" sz="600" b="0" i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Horm</a:t>
            </a:r>
            <a:r>
              <a:rPr kumimoji="0" lang="de-DE" sz="6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Res </a:t>
            </a:r>
            <a:r>
              <a:rPr kumimoji="0" lang="de-DE" sz="600" b="0" i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Paediatr</a:t>
            </a:r>
            <a:r>
              <a:rPr kumimoji="0" lang="de-DE" sz="6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2024; 97: 529–45. </a:t>
            </a:r>
            <a:r>
              <a:rPr kumimoji="0" lang="de-DE" sz="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2.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Breakthrough T1D, The </a:t>
            </a:r>
            <a:r>
              <a:rPr kumimoji="0" lang="de-DE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stages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</a:t>
            </a:r>
            <a:r>
              <a:rPr kumimoji="0" lang="de-DE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of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type 1 </a:t>
            </a:r>
            <a:r>
              <a:rPr kumimoji="0" lang="de-DE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diabetes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; erhältlich unter 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  <a:hlinkClick r:id="rId5"/>
              </a:rPr>
              <a:t>https://breakthrought1d.org.au/what-is-t1d/stages/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. Zuletzt abgerufen am 12.01.2026. </a:t>
            </a:r>
            <a:r>
              <a:rPr kumimoji="0" lang="de-DE" sz="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3.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van Belle TL </a:t>
            </a:r>
            <a:r>
              <a:rPr kumimoji="0" lang="de-DE" sz="6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et al. </a:t>
            </a:r>
            <a:r>
              <a:rPr kumimoji="0" lang="de-DE" sz="600" b="0" i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Physiol</a:t>
            </a:r>
            <a:r>
              <a:rPr kumimoji="0" lang="de-DE" sz="6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Rev 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2011; 91: 79–118. </a:t>
            </a:r>
            <a:r>
              <a:rPr kumimoji="0" lang="de-DE" sz="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4.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Jacobsen LM </a:t>
            </a:r>
            <a:r>
              <a:rPr kumimoji="0" lang="de-DE" sz="6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et al. Front </a:t>
            </a:r>
            <a:r>
              <a:rPr kumimoji="0" lang="de-DE" sz="600" b="0" i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Endocrinol</a:t>
            </a:r>
            <a:r>
              <a:rPr kumimoji="0" lang="de-DE" sz="6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(Lausanne) 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2018; 9: 70. </a:t>
            </a:r>
            <a:r>
              <a:rPr kumimoji="0" lang="de-DE" sz="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5.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Insel RA </a:t>
            </a:r>
            <a:r>
              <a:rPr kumimoji="0" lang="de-DE" sz="6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et al. Diabetes Care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2015; 38: 1964–74. </a:t>
            </a:r>
            <a:r>
              <a:rPr kumimoji="0" lang="de-DE" sz="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6.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American Diabetes </a:t>
            </a:r>
            <a:r>
              <a:rPr kumimoji="0" lang="de-DE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Association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Professional Practice Committee. </a:t>
            </a:r>
            <a:r>
              <a:rPr kumimoji="0" lang="de-DE" sz="6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Diabetes Care 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2026; 49 (</a:t>
            </a:r>
            <a:r>
              <a:rPr kumimoji="0" lang="de-DE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Suppl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. 1): S27–S49.</a:t>
            </a:r>
            <a:r>
              <a:rPr kumimoji="0" lang="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</a:t>
            </a:r>
            <a:r>
              <a:rPr kumimoji="0" lang="de" sz="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7.</a:t>
            </a:r>
            <a:r>
              <a:rPr kumimoji="0" lang="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</a:t>
            </a:r>
            <a:r>
              <a:rPr kumimoji="0" lang="de-DE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diabinfo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: Was ist Diabetes Typ 1? </a:t>
            </a:r>
            <a:r>
              <a:rPr lang="de-DE" sz="600" dirty="0">
                <a:solidFill>
                  <a:srgbClr val="404040"/>
                </a:solidFill>
                <a:latin typeface="Verdana"/>
                <a:ea typeface="Arial"/>
                <a:cs typeface="Arial"/>
              </a:rPr>
              <a:t>Erhältlich unter </a:t>
            </a:r>
            <a:r>
              <a:rPr lang="de-DE" sz="600" dirty="0">
                <a:solidFill>
                  <a:srgbClr val="404040"/>
                </a:solidFill>
                <a:latin typeface="Verdana"/>
                <a:ea typeface="Arial"/>
                <a:cs typeface="Arial"/>
                <a:hlinkClick r:id="rId6"/>
              </a:rPr>
              <a:t>https://www.diabinfo.de/leben/typ-1-diabetes/grundlagen/krankheitsbild-und-symptome.html</a:t>
            </a:r>
            <a:r>
              <a:rPr lang="de-DE" sz="600" dirty="0">
                <a:solidFill>
                  <a:srgbClr val="404040"/>
                </a:solidFill>
                <a:latin typeface="Verdana"/>
                <a:ea typeface="Arial"/>
                <a:cs typeface="Arial"/>
              </a:rPr>
              <a:t>. Zuletzt abgerufen am 12.01.2026</a:t>
            </a:r>
            <a:r>
              <a:rPr kumimoji="0" lang="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. </a:t>
            </a:r>
            <a:r>
              <a:rPr kumimoji="0" lang="de-DE" sz="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8.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Phillip M </a:t>
            </a:r>
            <a:r>
              <a:rPr kumimoji="0" lang="de-DE" sz="6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et al. Diabetes Care 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2024; 47: 1276–98.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51" name="Gruppieren 150">
            <a:extLst>
              <a:ext uri="{FF2B5EF4-FFF2-40B4-BE49-F238E27FC236}">
                <a16:creationId xmlns:a16="http://schemas.microsoft.com/office/drawing/2014/main" id="{E090D2CF-38CE-D1C8-24CB-7A5E79ED2BC6}"/>
              </a:ext>
            </a:extLst>
          </p:cNvPr>
          <p:cNvGrpSpPr/>
          <p:nvPr/>
        </p:nvGrpSpPr>
        <p:grpSpPr>
          <a:xfrm>
            <a:off x="765207" y="896033"/>
            <a:ext cx="7111638" cy="3064939"/>
            <a:chOff x="1533331" y="1130269"/>
            <a:chExt cx="5095843" cy="2358423"/>
          </a:xfrm>
        </p:grpSpPr>
        <p:sp>
          <p:nvSpPr>
            <p:cNvPr id="153" name="Textfeld 152">
              <a:extLst>
                <a:ext uri="{FF2B5EF4-FFF2-40B4-BE49-F238E27FC236}">
                  <a16:creationId xmlns:a16="http://schemas.microsoft.com/office/drawing/2014/main" id="{E99446FF-F4F7-3353-71DB-7A7206CFE762}"/>
                </a:ext>
              </a:extLst>
            </p:cNvPr>
            <p:cNvSpPr txBox="1"/>
            <p:nvPr/>
          </p:nvSpPr>
          <p:spPr>
            <a:xfrm>
              <a:off x="3693064" y="1130269"/>
              <a:ext cx="919686" cy="236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0" b="1">
                  <a:solidFill>
                    <a:srgbClr val="00B1BC"/>
                  </a:solidFill>
                </a:rPr>
                <a:t>Präsymptomatisch</a:t>
              </a:r>
            </a:p>
            <a:p>
              <a:pPr algn="ctr"/>
              <a:r>
                <a:rPr lang="de-DE" sz="700" b="1" err="1">
                  <a:solidFill>
                    <a:srgbClr val="00B1BC"/>
                  </a:solidFill>
                </a:rPr>
                <a:t>Dysglykämie</a:t>
              </a:r>
              <a:r>
                <a:rPr lang="de-DE" sz="700" b="1" baseline="30000">
                  <a:solidFill>
                    <a:srgbClr val="00B1BC"/>
                  </a:solidFill>
                </a:rPr>
                <a:t>†</a:t>
              </a:r>
              <a:endParaRPr lang="de-DE" sz="700" baseline="30000">
                <a:solidFill>
                  <a:srgbClr val="00B1BC"/>
                </a:solidFill>
              </a:endParaRPr>
            </a:p>
          </p:txBody>
        </p:sp>
        <p:sp>
          <p:nvSpPr>
            <p:cNvPr id="155" name="Textfeld 154">
              <a:extLst>
                <a:ext uri="{FF2B5EF4-FFF2-40B4-BE49-F238E27FC236}">
                  <a16:creationId xmlns:a16="http://schemas.microsoft.com/office/drawing/2014/main" id="{9E6222AA-5BE3-CD7C-AFB5-DD7DF04593E9}"/>
                </a:ext>
              </a:extLst>
            </p:cNvPr>
            <p:cNvSpPr txBox="1"/>
            <p:nvPr/>
          </p:nvSpPr>
          <p:spPr>
            <a:xfrm>
              <a:off x="2772317" y="1673733"/>
              <a:ext cx="1516952" cy="26051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800" b="1">
                  <a:solidFill>
                    <a:srgbClr val="482477"/>
                  </a:solidFill>
                </a:rPr>
                <a:t>Früherkennung durch Autoantikörper-Test möglich</a:t>
              </a:r>
            </a:p>
          </p:txBody>
        </p:sp>
        <p:sp>
          <p:nvSpPr>
            <p:cNvPr id="156" name="Textfeld 155">
              <a:extLst>
                <a:ext uri="{FF2B5EF4-FFF2-40B4-BE49-F238E27FC236}">
                  <a16:creationId xmlns:a16="http://schemas.microsoft.com/office/drawing/2014/main" id="{CD84C5F5-BEE4-6CF5-6E72-F6E7A615CF5E}"/>
                </a:ext>
              </a:extLst>
            </p:cNvPr>
            <p:cNvSpPr txBox="1"/>
            <p:nvPr/>
          </p:nvSpPr>
          <p:spPr>
            <a:xfrm>
              <a:off x="2662687" y="1380920"/>
              <a:ext cx="919060" cy="1539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0" b="1">
                  <a:solidFill>
                    <a:srgbClr val="482477"/>
                  </a:solidFill>
                </a:rPr>
                <a:t>T1D STADIUM 1</a:t>
              </a:r>
              <a:r>
                <a:rPr lang="de-DE" sz="700" b="1" baseline="30000">
                  <a:solidFill>
                    <a:srgbClr val="482477"/>
                  </a:solidFill>
                </a:rPr>
                <a:t>5,6</a:t>
              </a:r>
            </a:p>
          </p:txBody>
        </p:sp>
        <p:sp>
          <p:nvSpPr>
            <p:cNvPr id="157" name="Textfeld 156">
              <a:extLst>
                <a:ext uri="{FF2B5EF4-FFF2-40B4-BE49-F238E27FC236}">
                  <a16:creationId xmlns:a16="http://schemas.microsoft.com/office/drawing/2014/main" id="{43FBFC47-CB7E-8DAA-0FEE-6699AECCD980}"/>
                </a:ext>
              </a:extLst>
            </p:cNvPr>
            <p:cNvSpPr txBox="1"/>
            <p:nvPr/>
          </p:nvSpPr>
          <p:spPr>
            <a:xfrm>
              <a:off x="3693064" y="1377698"/>
              <a:ext cx="919060" cy="1539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0" b="1">
                  <a:solidFill>
                    <a:srgbClr val="482477"/>
                  </a:solidFill>
                </a:rPr>
                <a:t>T1D STADIUM 2</a:t>
              </a:r>
              <a:r>
                <a:rPr lang="de-DE" sz="700" b="1" baseline="30000">
                  <a:solidFill>
                    <a:srgbClr val="482477"/>
                  </a:solidFill>
                </a:rPr>
                <a:t>5,6</a:t>
              </a:r>
            </a:p>
          </p:txBody>
        </p:sp>
        <p:sp>
          <p:nvSpPr>
            <p:cNvPr id="158" name="Textfeld 157">
              <a:extLst>
                <a:ext uri="{FF2B5EF4-FFF2-40B4-BE49-F238E27FC236}">
                  <a16:creationId xmlns:a16="http://schemas.microsoft.com/office/drawing/2014/main" id="{75390F64-7A3F-FDA0-A97C-B65DB1E0BA62}"/>
                </a:ext>
              </a:extLst>
            </p:cNvPr>
            <p:cNvSpPr txBox="1"/>
            <p:nvPr/>
          </p:nvSpPr>
          <p:spPr>
            <a:xfrm>
              <a:off x="4592230" y="1373793"/>
              <a:ext cx="919060" cy="1539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0" b="1">
                  <a:solidFill>
                    <a:srgbClr val="482477"/>
                  </a:solidFill>
                </a:rPr>
                <a:t>T1D STADIUM 3</a:t>
              </a:r>
              <a:r>
                <a:rPr lang="de-DE" sz="700" b="1" baseline="30000">
                  <a:solidFill>
                    <a:srgbClr val="482477"/>
                  </a:solidFill>
                </a:rPr>
                <a:t>5,6</a:t>
              </a:r>
            </a:p>
          </p:txBody>
        </p:sp>
        <p:sp>
          <p:nvSpPr>
            <p:cNvPr id="159" name="Textfeld 158">
              <a:extLst>
                <a:ext uri="{FF2B5EF4-FFF2-40B4-BE49-F238E27FC236}">
                  <a16:creationId xmlns:a16="http://schemas.microsoft.com/office/drawing/2014/main" id="{C071929D-9025-4707-A169-8EB36C715EC9}"/>
                </a:ext>
              </a:extLst>
            </p:cNvPr>
            <p:cNvSpPr txBox="1"/>
            <p:nvPr/>
          </p:nvSpPr>
          <p:spPr>
            <a:xfrm>
              <a:off x="5535398" y="1377698"/>
              <a:ext cx="919060" cy="1539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0" b="1">
                  <a:solidFill>
                    <a:srgbClr val="482477"/>
                  </a:solidFill>
                </a:rPr>
                <a:t>T1D STADIUM 4</a:t>
              </a:r>
              <a:r>
                <a:rPr lang="de-DE" sz="700" b="1" baseline="30000">
                  <a:solidFill>
                    <a:srgbClr val="482477"/>
                  </a:solidFill>
                </a:rPr>
                <a:t>1</a:t>
              </a:r>
            </a:p>
          </p:txBody>
        </p:sp>
        <p:sp>
          <p:nvSpPr>
            <p:cNvPr id="160" name="Textfeld 159">
              <a:extLst>
                <a:ext uri="{FF2B5EF4-FFF2-40B4-BE49-F238E27FC236}">
                  <a16:creationId xmlns:a16="http://schemas.microsoft.com/office/drawing/2014/main" id="{2A0D493D-FF7B-AFCF-2929-72E41DE1A1AA}"/>
                </a:ext>
              </a:extLst>
            </p:cNvPr>
            <p:cNvSpPr txBox="1"/>
            <p:nvPr/>
          </p:nvSpPr>
          <p:spPr>
            <a:xfrm>
              <a:off x="1710049" y="1579147"/>
              <a:ext cx="722402" cy="2605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de-DE" sz="800" b="1">
                  <a:solidFill>
                    <a:srgbClr val="00B1BC"/>
                  </a:solidFill>
                </a:rPr>
                <a:t>AUTOIMMUN-TRIGGER</a:t>
              </a:r>
              <a:r>
                <a:rPr lang="de-DE" sz="800" b="1" baseline="30000">
                  <a:solidFill>
                    <a:srgbClr val="00B1BC"/>
                  </a:solidFill>
                </a:rPr>
                <a:t>3,4</a:t>
              </a:r>
            </a:p>
          </p:txBody>
        </p:sp>
        <p:sp>
          <p:nvSpPr>
            <p:cNvPr id="161" name="Textfeld 160">
              <a:extLst>
                <a:ext uri="{FF2B5EF4-FFF2-40B4-BE49-F238E27FC236}">
                  <a16:creationId xmlns:a16="http://schemas.microsoft.com/office/drawing/2014/main" id="{BF3A38A5-671C-591F-0232-F291246C0B50}"/>
                </a:ext>
              </a:extLst>
            </p:cNvPr>
            <p:cNvSpPr txBox="1"/>
            <p:nvPr/>
          </p:nvSpPr>
          <p:spPr>
            <a:xfrm>
              <a:off x="4643614" y="1607036"/>
              <a:ext cx="722402" cy="2368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700" b="1"/>
                <a:t>Klinische Manifestation</a:t>
              </a:r>
            </a:p>
          </p:txBody>
        </p:sp>
        <p:sp>
          <p:nvSpPr>
            <p:cNvPr id="162" name="Textfeld 161">
              <a:extLst>
                <a:ext uri="{FF2B5EF4-FFF2-40B4-BE49-F238E27FC236}">
                  <a16:creationId xmlns:a16="http://schemas.microsoft.com/office/drawing/2014/main" id="{4C7EF3C7-8347-58DB-B96D-6229318CAB29}"/>
                </a:ext>
              </a:extLst>
            </p:cNvPr>
            <p:cNvSpPr txBox="1"/>
            <p:nvPr/>
          </p:nvSpPr>
          <p:spPr>
            <a:xfrm>
              <a:off x="5612595" y="1648643"/>
              <a:ext cx="722402" cy="15393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700" b="1"/>
                <a:t>Langzeit-T1D</a:t>
              </a:r>
            </a:p>
          </p:txBody>
        </p:sp>
        <p:sp>
          <p:nvSpPr>
            <p:cNvPr id="163" name="Textfeld 162">
              <a:extLst>
                <a:ext uri="{FF2B5EF4-FFF2-40B4-BE49-F238E27FC236}">
                  <a16:creationId xmlns:a16="http://schemas.microsoft.com/office/drawing/2014/main" id="{BEF3E727-26C7-64A7-D388-1CFEDE20DDA9}"/>
                </a:ext>
              </a:extLst>
            </p:cNvPr>
            <p:cNvSpPr txBox="1"/>
            <p:nvPr/>
          </p:nvSpPr>
          <p:spPr>
            <a:xfrm>
              <a:off x="4919578" y="1794120"/>
              <a:ext cx="1204503" cy="1539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0"/>
                <a:t>exogenes Insulin erforderlich</a:t>
              </a:r>
            </a:p>
          </p:txBody>
        </p:sp>
        <p:sp>
          <p:nvSpPr>
            <p:cNvPr id="164" name="Textfeld 163">
              <a:extLst>
                <a:ext uri="{FF2B5EF4-FFF2-40B4-BE49-F238E27FC236}">
                  <a16:creationId xmlns:a16="http://schemas.microsoft.com/office/drawing/2014/main" id="{C0EAFE69-3A66-2BA3-7384-F319F52DB00B}"/>
                </a:ext>
              </a:extLst>
            </p:cNvPr>
            <p:cNvSpPr txBox="1"/>
            <p:nvPr/>
          </p:nvSpPr>
          <p:spPr>
            <a:xfrm>
              <a:off x="2659922" y="1493567"/>
              <a:ext cx="919686" cy="1539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0">
                  <a:solidFill>
                    <a:srgbClr val="482477"/>
                  </a:solidFill>
                </a:rPr>
                <a:t>≥ 2 Autoantikörper</a:t>
              </a:r>
              <a:r>
                <a:rPr lang="de-DE" sz="700" baseline="30000">
                  <a:solidFill>
                    <a:srgbClr val="482477"/>
                  </a:solidFill>
                </a:rPr>
                <a:t>#</a:t>
              </a:r>
            </a:p>
          </p:txBody>
        </p:sp>
        <p:sp>
          <p:nvSpPr>
            <p:cNvPr id="165" name="Textfeld 164">
              <a:extLst>
                <a:ext uri="{FF2B5EF4-FFF2-40B4-BE49-F238E27FC236}">
                  <a16:creationId xmlns:a16="http://schemas.microsoft.com/office/drawing/2014/main" id="{1F74FA87-41A3-80F2-AD55-12391A5B2B42}"/>
                </a:ext>
              </a:extLst>
            </p:cNvPr>
            <p:cNvSpPr txBox="1"/>
            <p:nvPr/>
          </p:nvSpPr>
          <p:spPr>
            <a:xfrm>
              <a:off x="3708931" y="1493567"/>
              <a:ext cx="887325" cy="1539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0">
                  <a:solidFill>
                    <a:srgbClr val="482477"/>
                  </a:solidFill>
                </a:rPr>
                <a:t>≥ 2 Autoantikörper</a:t>
              </a:r>
              <a:r>
                <a:rPr lang="de-DE" sz="700" baseline="30000">
                  <a:solidFill>
                    <a:srgbClr val="482477"/>
                  </a:solidFill>
                </a:rPr>
                <a:t>§</a:t>
              </a:r>
            </a:p>
          </p:txBody>
        </p:sp>
        <p:sp>
          <p:nvSpPr>
            <p:cNvPr id="166" name="Textfeld 165">
              <a:extLst>
                <a:ext uri="{FF2B5EF4-FFF2-40B4-BE49-F238E27FC236}">
                  <a16:creationId xmlns:a16="http://schemas.microsoft.com/office/drawing/2014/main" id="{AF4D0958-A9D8-F531-145D-BA882D3CE1B2}"/>
                </a:ext>
              </a:extLst>
            </p:cNvPr>
            <p:cNvSpPr txBox="1"/>
            <p:nvPr/>
          </p:nvSpPr>
          <p:spPr>
            <a:xfrm>
              <a:off x="4605165" y="1493567"/>
              <a:ext cx="896467" cy="1539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0">
                  <a:solidFill>
                    <a:srgbClr val="482477"/>
                  </a:solidFill>
                </a:rPr>
                <a:t>≥ 1 Autoantikörper</a:t>
              </a:r>
              <a:r>
                <a:rPr lang="de-DE" sz="700" baseline="30000">
                  <a:solidFill>
                    <a:srgbClr val="482477"/>
                  </a:solidFill>
                </a:rPr>
                <a:t>&amp;</a:t>
              </a:r>
            </a:p>
          </p:txBody>
        </p:sp>
        <p:sp>
          <p:nvSpPr>
            <p:cNvPr id="167" name="Textfeld 166">
              <a:extLst>
                <a:ext uri="{FF2B5EF4-FFF2-40B4-BE49-F238E27FC236}">
                  <a16:creationId xmlns:a16="http://schemas.microsoft.com/office/drawing/2014/main" id="{CC9EFBB1-77BB-BE78-E3F4-B30F6925ED12}"/>
                </a:ext>
              </a:extLst>
            </p:cNvPr>
            <p:cNvSpPr txBox="1"/>
            <p:nvPr/>
          </p:nvSpPr>
          <p:spPr>
            <a:xfrm>
              <a:off x="1749357" y="2649707"/>
              <a:ext cx="674830" cy="2368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700"/>
                <a:t>Normale</a:t>
              </a:r>
            </a:p>
            <a:p>
              <a:pPr algn="ctr"/>
              <a:r>
                <a:rPr lang="de-DE" sz="700"/>
                <a:t>Betazellfunktion</a:t>
              </a:r>
            </a:p>
          </p:txBody>
        </p:sp>
        <p:sp>
          <p:nvSpPr>
            <p:cNvPr id="168" name="Textfeld 167">
              <a:extLst>
                <a:ext uri="{FF2B5EF4-FFF2-40B4-BE49-F238E27FC236}">
                  <a16:creationId xmlns:a16="http://schemas.microsoft.com/office/drawing/2014/main" id="{DE240B67-D101-D281-D5E4-167CCA7A5187}"/>
                </a:ext>
              </a:extLst>
            </p:cNvPr>
            <p:cNvSpPr txBox="1"/>
            <p:nvPr/>
          </p:nvSpPr>
          <p:spPr>
            <a:xfrm>
              <a:off x="2714644" y="2646102"/>
              <a:ext cx="799642" cy="2368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700"/>
                <a:t>Start des</a:t>
              </a:r>
            </a:p>
            <a:p>
              <a:pPr algn="ctr"/>
              <a:r>
                <a:rPr lang="de-DE" sz="700"/>
                <a:t>Betazellverlustes</a:t>
              </a:r>
            </a:p>
          </p:txBody>
        </p:sp>
        <p:sp>
          <p:nvSpPr>
            <p:cNvPr id="169" name="Textfeld 168">
              <a:extLst>
                <a:ext uri="{FF2B5EF4-FFF2-40B4-BE49-F238E27FC236}">
                  <a16:creationId xmlns:a16="http://schemas.microsoft.com/office/drawing/2014/main" id="{91EB7ACD-6AB1-C20B-788D-E756CDAE61FC}"/>
                </a:ext>
              </a:extLst>
            </p:cNvPr>
            <p:cNvSpPr txBox="1"/>
            <p:nvPr/>
          </p:nvSpPr>
          <p:spPr>
            <a:xfrm>
              <a:off x="3726724" y="2045243"/>
              <a:ext cx="860137" cy="402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0"/>
                <a:t>Fortschreitender</a:t>
              </a:r>
            </a:p>
            <a:p>
              <a:pPr algn="ctr"/>
              <a:r>
                <a:rPr lang="de-DE" sz="700"/>
                <a:t>Betazellverlust führt</a:t>
              </a:r>
            </a:p>
            <a:p>
              <a:pPr algn="ctr"/>
              <a:r>
                <a:rPr lang="de-DE" sz="700"/>
                <a:t>zu erhöhten</a:t>
              </a:r>
            </a:p>
            <a:p>
              <a:pPr algn="ctr"/>
              <a:r>
                <a:rPr lang="de-DE" sz="700"/>
                <a:t>Blutzuckerwerten</a:t>
              </a:r>
            </a:p>
          </p:txBody>
        </p:sp>
        <p:sp>
          <p:nvSpPr>
            <p:cNvPr id="170" name="Textfeld 169">
              <a:extLst>
                <a:ext uri="{FF2B5EF4-FFF2-40B4-BE49-F238E27FC236}">
                  <a16:creationId xmlns:a16="http://schemas.microsoft.com/office/drawing/2014/main" id="{9653EFC4-94BD-7D12-65AA-50D25C92FCF7}"/>
                </a:ext>
              </a:extLst>
            </p:cNvPr>
            <p:cNvSpPr txBox="1"/>
            <p:nvPr/>
          </p:nvSpPr>
          <p:spPr>
            <a:xfrm>
              <a:off x="4592230" y="2043793"/>
              <a:ext cx="919060" cy="48550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680"/>
                <a:t>Signifikanter Verlust der</a:t>
              </a:r>
            </a:p>
            <a:p>
              <a:pPr algn="ctr"/>
              <a:r>
                <a:rPr lang="de-DE" sz="680"/>
                <a:t>Betazellfunktion und</a:t>
              </a:r>
            </a:p>
            <a:p>
              <a:pPr algn="ctr"/>
              <a:r>
                <a:rPr lang="de-DE" sz="680"/>
                <a:t>Insulinproduktion mit</a:t>
              </a:r>
            </a:p>
            <a:p>
              <a:pPr algn="ctr"/>
              <a:r>
                <a:rPr lang="de-DE" sz="680"/>
                <a:t>schnellem Fortschreiten</a:t>
              </a:r>
            </a:p>
            <a:p>
              <a:pPr algn="ctr"/>
              <a:r>
                <a:rPr lang="de-DE" sz="680"/>
                <a:t>zur Insulinabhängigkeit</a:t>
              </a:r>
            </a:p>
          </p:txBody>
        </p:sp>
        <p:sp>
          <p:nvSpPr>
            <p:cNvPr id="171" name="Textfeld 170">
              <a:extLst>
                <a:ext uri="{FF2B5EF4-FFF2-40B4-BE49-F238E27FC236}">
                  <a16:creationId xmlns:a16="http://schemas.microsoft.com/office/drawing/2014/main" id="{C96B209D-9700-CD34-CB12-431B808534C2}"/>
                </a:ext>
              </a:extLst>
            </p:cNvPr>
            <p:cNvSpPr txBox="1"/>
            <p:nvPr/>
          </p:nvSpPr>
          <p:spPr>
            <a:xfrm>
              <a:off x="5633729" y="2042948"/>
              <a:ext cx="722402" cy="402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700"/>
                <a:t>Unzureichende</a:t>
              </a:r>
            </a:p>
            <a:p>
              <a:pPr algn="ctr"/>
              <a:r>
                <a:rPr lang="de-DE" sz="700"/>
                <a:t>Betazellfunktion,</a:t>
              </a:r>
            </a:p>
            <a:p>
              <a:pPr algn="ctr"/>
              <a:r>
                <a:rPr lang="de-DE" sz="700"/>
                <a:t>Abhängigkeit von</a:t>
              </a:r>
            </a:p>
            <a:p>
              <a:pPr algn="ctr"/>
              <a:r>
                <a:rPr lang="de-DE" sz="700"/>
                <a:t>exogenem Insulin</a:t>
              </a:r>
            </a:p>
          </p:txBody>
        </p:sp>
        <p:sp>
          <p:nvSpPr>
            <p:cNvPr id="172" name="Textfeld 171">
              <a:extLst>
                <a:ext uri="{FF2B5EF4-FFF2-40B4-BE49-F238E27FC236}">
                  <a16:creationId xmlns:a16="http://schemas.microsoft.com/office/drawing/2014/main" id="{488A705E-D6A4-5468-86E2-6DA75AAA86BB}"/>
                </a:ext>
              </a:extLst>
            </p:cNvPr>
            <p:cNvSpPr txBox="1"/>
            <p:nvPr/>
          </p:nvSpPr>
          <p:spPr>
            <a:xfrm>
              <a:off x="1533331" y="1776969"/>
              <a:ext cx="422332" cy="1539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0" b="1"/>
                <a:t>100 %</a:t>
              </a:r>
              <a:endParaRPr lang="de-DE" sz="700" b="1" baseline="30000"/>
            </a:p>
          </p:txBody>
        </p:sp>
        <p:sp>
          <p:nvSpPr>
            <p:cNvPr id="173" name="Textfeld 172">
              <a:extLst>
                <a:ext uri="{FF2B5EF4-FFF2-40B4-BE49-F238E27FC236}">
                  <a16:creationId xmlns:a16="http://schemas.microsoft.com/office/drawing/2014/main" id="{52E05196-03D8-564E-F3C4-63EAE66BC8E2}"/>
                </a:ext>
              </a:extLst>
            </p:cNvPr>
            <p:cNvSpPr txBox="1"/>
            <p:nvPr/>
          </p:nvSpPr>
          <p:spPr>
            <a:xfrm>
              <a:off x="1562768" y="3161379"/>
              <a:ext cx="368371" cy="1539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0" b="1"/>
                <a:t>0 %</a:t>
              </a:r>
              <a:endParaRPr lang="de-DE" sz="700" b="1" baseline="30000"/>
            </a:p>
          </p:txBody>
        </p:sp>
        <p:sp>
          <p:nvSpPr>
            <p:cNvPr id="174" name="Textfeld 173">
              <a:extLst>
                <a:ext uri="{FF2B5EF4-FFF2-40B4-BE49-F238E27FC236}">
                  <a16:creationId xmlns:a16="http://schemas.microsoft.com/office/drawing/2014/main" id="{200B8EAB-8A05-3785-683A-50B00F1AEE4F}"/>
                </a:ext>
              </a:extLst>
            </p:cNvPr>
            <p:cNvSpPr txBox="1"/>
            <p:nvPr/>
          </p:nvSpPr>
          <p:spPr>
            <a:xfrm rot="16200000">
              <a:off x="952447" y="2469451"/>
              <a:ext cx="1407231" cy="1433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0" b="1"/>
                <a:t>Funktionelle Betazellmasse (%)</a:t>
              </a:r>
            </a:p>
          </p:txBody>
        </p:sp>
        <p:sp>
          <p:nvSpPr>
            <p:cNvPr id="178" name="Textfeld 177">
              <a:extLst>
                <a:ext uri="{FF2B5EF4-FFF2-40B4-BE49-F238E27FC236}">
                  <a16:creationId xmlns:a16="http://schemas.microsoft.com/office/drawing/2014/main" id="{5FA90366-C6D6-3DC1-DD13-7E9AA4481764}"/>
                </a:ext>
              </a:extLst>
            </p:cNvPr>
            <p:cNvSpPr txBox="1"/>
            <p:nvPr/>
          </p:nvSpPr>
          <p:spPr>
            <a:xfrm>
              <a:off x="2515924" y="3275537"/>
              <a:ext cx="884911" cy="1420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600"/>
                <a:t>Beschädigte Betazelle</a:t>
              </a:r>
            </a:p>
          </p:txBody>
        </p:sp>
        <p:sp>
          <p:nvSpPr>
            <p:cNvPr id="179" name="Textfeld 178">
              <a:extLst>
                <a:ext uri="{FF2B5EF4-FFF2-40B4-BE49-F238E27FC236}">
                  <a16:creationId xmlns:a16="http://schemas.microsoft.com/office/drawing/2014/main" id="{131BC12A-9140-9497-A76F-7D9241AC7D3B}"/>
                </a:ext>
              </a:extLst>
            </p:cNvPr>
            <p:cNvSpPr txBox="1"/>
            <p:nvPr/>
          </p:nvSpPr>
          <p:spPr>
            <a:xfrm>
              <a:off x="3410000" y="3275546"/>
              <a:ext cx="633447" cy="2131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600"/>
                <a:t>Abgestorbene</a:t>
              </a:r>
            </a:p>
            <a:p>
              <a:r>
                <a:rPr lang="de-DE" sz="600"/>
                <a:t>Betazelle</a:t>
              </a:r>
            </a:p>
          </p:txBody>
        </p:sp>
        <p:sp>
          <p:nvSpPr>
            <p:cNvPr id="180" name="Textfeld 179">
              <a:extLst>
                <a:ext uri="{FF2B5EF4-FFF2-40B4-BE49-F238E27FC236}">
                  <a16:creationId xmlns:a16="http://schemas.microsoft.com/office/drawing/2014/main" id="{95F15F89-99FC-ACD3-2297-3AFCA465F40D}"/>
                </a:ext>
              </a:extLst>
            </p:cNvPr>
            <p:cNvSpPr txBox="1"/>
            <p:nvPr/>
          </p:nvSpPr>
          <p:spPr>
            <a:xfrm>
              <a:off x="4250507" y="3275462"/>
              <a:ext cx="860137" cy="1420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600"/>
                <a:t>Autoreaktive T-Zelle</a:t>
              </a:r>
            </a:p>
          </p:txBody>
        </p:sp>
        <p:sp>
          <p:nvSpPr>
            <p:cNvPr id="181" name="Textfeld 180">
              <a:extLst>
                <a:ext uri="{FF2B5EF4-FFF2-40B4-BE49-F238E27FC236}">
                  <a16:creationId xmlns:a16="http://schemas.microsoft.com/office/drawing/2014/main" id="{E8ADAF79-E826-E664-F45E-46331B5098D3}"/>
                </a:ext>
              </a:extLst>
            </p:cNvPr>
            <p:cNvSpPr txBox="1"/>
            <p:nvPr/>
          </p:nvSpPr>
          <p:spPr>
            <a:xfrm>
              <a:off x="5003995" y="3279366"/>
              <a:ext cx="716208" cy="1420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600"/>
                <a:t>Betazell-Antigen</a:t>
              </a:r>
            </a:p>
          </p:txBody>
        </p:sp>
        <p:sp>
          <p:nvSpPr>
            <p:cNvPr id="182" name="Textfeld 181">
              <a:extLst>
                <a:ext uri="{FF2B5EF4-FFF2-40B4-BE49-F238E27FC236}">
                  <a16:creationId xmlns:a16="http://schemas.microsoft.com/office/drawing/2014/main" id="{1E93C710-3696-5D52-6B2F-C793B70CEB1B}"/>
                </a:ext>
              </a:extLst>
            </p:cNvPr>
            <p:cNvSpPr txBox="1"/>
            <p:nvPr/>
          </p:nvSpPr>
          <p:spPr>
            <a:xfrm>
              <a:off x="5938997" y="3275462"/>
              <a:ext cx="690177" cy="1420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600"/>
                <a:t>Autoantikörper</a:t>
              </a:r>
            </a:p>
          </p:txBody>
        </p:sp>
        <p:sp>
          <p:nvSpPr>
            <p:cNvPr id="177" name="Textfeld 176">
              <a:extLst>
                <a:ext uri="{FF2B5EF4-FFF2-40B4-BE49-F238E27FC236}">
                  <a16:creationId xmlns:a16="http://schemas.microsoft.com/office/drawing/2014/main" id="{79FF972E-19F2-AA92-18B7-E86F16B607E5}"/>
                </a:ext>
              </a:extLst>
            </p:cNvPr>
            <p:cNvSpPr txBox="1"/>
            <p:nvPr/>
          </p:nvSpPr>
          <p:spPr>
            <a:xfrm>
              <a:off x="1653484" y="3275546"/>
              <a:ext cx="884911" cy="2131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600"/>
                <a:t>Insulinproduzierende</a:t>
              </a:r>
            </a:p>
            <a:p>
              <a:r>
                <a:rPr lang="de-DE" sz="600"/>
                <a:t>Betazelle</a:t>
              </a:r>
            </a:p>
          </p:txBody>
        </p:sp>
        <p:sp>
          <p:nvSpPr>
            <p:cNvPr id="152" name="Textfeld 151">
              <a:extLst>
                <a:ext uri="{FF2B5EF4-FFF2-40B4-BE49-F238E27FC236}">
                  <a16:creationId xmlns:a16="http://schemas.microsoft.com/office/drawing/2014/main" id="{5DC5CBDA-6A9A-806A-8E8A-74B9FFCEE6AC}"/>
                </a:ext>
              </a:extLst>
            </p:cNvPr>
            <p:cNvSpPr txBox="1"/>
            <p:nvPr/>
          </p:nvSpPr>
          <p:spPr>
            <a:xfrm>
              <a:off x="2582514" y="1131303"/>
              <a:ext cx="1067680" cy="236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0" b="1">
                  <a:solidFill>
                    <a:srgbClr val="00B1BC"/>
                  </a:solidFill>
                </a:rPr>
                <a:t>Präsymptomatisch</a:t>
              </a:r>
            </a:p>
            <a:p>
              <a:pPr algn="ctr"/>
              <a:r>
                <a:rPr lang="de-DE" sz="700" b="1" err="1">
                  <a:solidFill>
                    <a:srgbClr val="00B1BC"/>
                  </a:solidFill>
                </a:rPr>
                <a:t>Normoglykämie</a:t>
              </a:r>
              <a:endParaRPr lang="de-DE" sz="700" b="1" baseline="30000">
                <a:solidFill>
                  <a:srgbClr val="00B1BC"/>
                </a:solidFill>
              </a:endParaRPr>
            </a:p>
          </p:txBody>
        </p:sp>
      </p:grpSp>
      <p:sp>
        <p:nvSpPr>
          <p:cNvPr id="185" name="Rechteck 184">
            <a:extLst>
              <a:ext uri="{FF2B5EF4-FFF2-40B4-BE49-F238E27FC236}">
                <a16:creationId xmlns:a16="http://schemas.microsoft.com/office/drawing/2014/main" id="{E8F2B658-13EE-8DD2-7CA7-44ECF88F198C}"/>
              </a:ext>
            </a:extLst>
          </p:cNvPr>
          <p:cNvSpPr/>
          <p:nvPr/>
        </p:nvSpPr>
        <p:spPr>
          <a:xfrm>
            <a:off x="446437" y="3925227"/>
            <a:ext cx="7106888" cy="252655"/>
          </a:xfrm>
          <a:prstGeom prst="rect">
            <a:avLst/>
          </a:prstGeom>
          <a:solidFill>
            <a:srgbClr val="F5F3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6" name="Textfeld 185">
            <a:extLst>
              <a:ext uri="{FF2B5EF4-FFF2-40B4-BE49-F238E27FC236}">
                <a16:creationId xmlns:a16="http://schemas.microsoft.com/office/drawing/2014/main" id="{FC97C93F-F7AC-9D95-BC72-052FFFD46EC3}"/>
              </a:ext>
            </a:extLst>
          </p:cNvPr>
          <p:cNvSpPr txBox="1"/>
          <p:nvPr/>
        </p:nvSpPr>
        <p:spPr>
          <a:xfrm>
            <a:off x="844153" y="3950488"/>
            <a:ext cx="304346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"/>
              <a:t>Hinweis: Abb. ist nur ein Bsp. zu Veranschaulichungszwecken.</a:t>
            </a:r>
          </a:p>
        </p:txBody>
      </p:sp>
      <p:sp>
        <p:nvSpPr>
          <p:cNvPr id="87" name="TextBox 28">
            <a:extLst>
              <a:ext uri="{FF2B5EF4-FFF2-40B4-BE49-F238E27FC236}">
                <a16:creationId xmlns:a16="http://schemas.microsoft.com/office/drawing/2014/main" id="{07BC4B57-2272-C454-4E77-4CC96828269A}"/>
              </a:ext>
            </a:extLst>
          </p:cNvPr>
          <p:cNvSpPr txBox="1"/>
          <p:nvPr/>
        </p:nvSpPr>
        <p:spPr>
          <a:xfrm>
            <a:off x="363745" y="4155051"/>
            <a:ext cx="8200305" cy="5539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anchor="b">
            <a:spAutoFit/>
          </a:bodyPr>
          <a:lstStyle/>
          <a:p>
            <a:pPr marL="0" marR="0" lvl="0" indent="0" algn="l" defTabSz="5143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* Autoantikörper gegen ≤ 1 Betazell-Autoantigen (Insulin, Glutaminsäure-Decarboxylase 65 [GAD65], Insulinoma-assoziiertes Antigen 2 [IA-2] oder Zinktransporter 8 [ZnT8]) im Patientenserum nachgewiesen.</a:t>
            </a:r>
            <a:r>
              <a:rPr kumimoji="0" lang="de-DE" altLang="de-DE" sz="600" b="0" i="0" u="none" strike="noStrike" kern="1200" cap="none" spc="0" normalizeH="0" baseline="3000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</a:t>
            </a:r>
            <a:r>
              <a:rPr kumimoji="0" lang="de-DE" alt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† </a:t>
            </a:r>
            <a:r>
              <a:rPr kumimoji="0" lang="de-DE" altLang="de-DE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üchternplasmaglukose</a:t>
            </a:r>
            <a:r>
              <a:rPr kumimoji="0" lang="de-DE" alt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100–125 mg/dl (5,6–6,9 mmol/l) oder 2-stündige Plasmaglukose während eines oralen Glukose-Toleranztests (OGTT) 140–199 mg/dl (7,8–11,1 mmol/l) oder HbA</a:t>
            </a:r>
            <a:r>
              <a:rPr kumimoji="0" lang="de-DE" altLang="de-DE" sz="600" b="0" i="0" u="none" strike="noStrike" kern="1200" cap="none" spc="0" normalizeH="0" baseline="-2500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c</a:t>
            </a:r>
            <a:r>
              <a:rPr kumimoji="0" lang="de-DE" alt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5,7 </a:t>
            </a:r>
            <a:r>
              <a:rPr lang="de-DE" altLang="de-DE" sz="600" dirty="0"/>
              <a:t>%–</a:t>
            </a:r>
            <a:r>
              <a:rPr kumimoji="0" lang="de-DE" alt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6,4 % (39-47 mmol/</a:t>
            </a:r>
            <a:r>
              <a:rPr kumimoji="0" lang="de-DE" altLang="de-DE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l</a:t>
            </a:r>
            <a:r>
              <a:rPr kumimoji="0" lang="de-DE" alt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) oder ≥ 10 % Anstieg des HbA</a:t>
            </a:r>
            <a:r>
              <a:rPr kumimoji="0" lang="de-DE" altLang="de-DE" sz="600" b="0" i="0" u="none" strike="noStrike" kern="1200" cap="none" spc="0" normalizeH="0" baseline="-2500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c</a:t>
            </a:r>
            <a:r>
              <a:rPr kumimoji="0" lang="de-DE" alt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  <a:r>
              <a:rPr kumimoji="0" lang="de-DE" altLang="de-DE" sz="600" b="0" i="0" u="none" strike="noStrike" kern="1200" cap="none" spc="0" normalizeH="0" baseline="3000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6</a:t>
            </a:r>
            <a:r>
              <a:rPr kumimoji="0" lang="de-DE" alt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‡ Häufige Symptome von T1D sind Polydipsie, Polyurie, starke Müdigkeit, verschwommenes Sehen, und Gewichtsverlust.</a:t>
            </a:r>
            <a:r>
              <a:rPr kumimoji="0" lang="de-DE" altLang="de-DE" sz="600" b="0" i="0" u="none" strike="noStrike" kern="1200" cap="none" spc="0" normalizeH="0" baseline="3000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,7</a:t>
            </a:r>
            <a:r>
              <a:rPr kumimoji="0" lang="de-DE" alt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  <a:r>
              <a:rPr kumimoji="0" lang="de-DE" altLang="de-DE" sz="600" b="0" i="0" u="none" strike="noStrike" kern="1200" cap="none" spc="0" normalizeH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&amp;</a:t>
            </a:r>
            <a:r>
              <a:rPr kumimoji="0" lang="de-DE" alt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Bei einigen Personen können Autoantikörper in Stadium 3 T1D fehlen.</a:t>
            </a:r>
            <a:r>
              <a:rPr kumimoji="0" lang="de-DE" altLang="de-DE" sz="600" b="0" i="0" u="none" strike="noStrike" kern="1200" cap="none" spc="0" normalizeH="0" baseline="3000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6 </a:t>
            </a:r>
            <a:r>
              <a:rPr kumimoji="0" lang="de-DE" altLang="de-DE" sz="600" b="0" i="0" u="none" strike="noStrike" kern="1200" cap="none" spc="0" normalizeH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§ Bei einigen Personen mit zuvor bestätigten multiplen Autoantikörpern kann eine Rückkehr zu einem singulären oder negativen Autoantikörperstatus auftreten.</a:t>
            </a:r>
            <a:r>
              <a:rPr kumimoji="0" lang="de-DE" altLang="de-DE" sz="600" b="0" i="0" u="none" strike="noStrike" kern="1200" cap="none" spc="0" normalizeH="0" baseline="3000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8</a:t>
            </a:r>
            <a:r>
              <a:rPr kumimoji="0" lang="de-DE" altLang="de-DE" sz="600" b="0" i="0" u="none" strike="noStrike" kern="1200" cap="none" spc="0" normalizeH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HbA</a:t>
            </a:r>
            <a:r>
              <a:rPr kumimoji="0" lang="de-DE" altLang="de-DE" sz="600" b="0" i="0" u="none" strike="noStrike" kern="1200" cap="none" spc="0" normalizeH="0" baseline="-2500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c</a:t>
            </a:r>
            <a:r>
              <a:rPr kumimoji="0" lang="de-DE" altLang="de-DE" sz="600" b="0" i="0" u="none" strike="noStrike" kern="1200" cap="none" spc="0" normalizeH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: Hämoglobin A</a:t>
            </a:r>
            <a:r>
              <a:rPr kumimoji="0" lang="de-DE" altLang="de-DE" sz="600" b="0" i="0" u="none" strike="noStrike" kern="1200" cap="none" spc="0" normalizeH="0" baseline="-2500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c</a:t>
            </a:r>
            <a:r>
              <a:rPr kumimoji="0" lang="de-DE" altLang="de-DE" sz="600" b="0" i="0" u="none" strike="noStrike" kern="1200" cap="none" spc="0" normalizeH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; </a:t>
            </a:r>
            <a:r>
              <a:rPr kumimoji="0" lang="de-DE" alt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1D: Typ-1-Diabetes.</a:t>
            </a:r>
            <a:endParaRPr kumimoji="0" lang="de-DE" sz="100" b="0" i="0" u="none" strike="noStrike" kern="1200" cap="none" spc="0" normalizeH="0" baseline="30000" noProof="0" dirty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404040"/>
              </a:solidFill>
              <a:effectLst/>
              <a:uLnTx/>
              <a:uFillTx/>
              <a:latin typeface="Verdana"/>
              <a:ea typeface="Arial"/>
              <a:cs typeface="+mn-cs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8A6C1BD1-A611-E75A-1BA7-85E4FAF41E23}"/>
              </a:ext>
            </a:extLst>
          </p:cNvPr>
          <p:cNvSpPr txBox="1"/>
          <p:nvPr/>
        </p:nvSpPr>
        <p:spPr>
          <a:xfrm>
            <a:off x="4117867" y="3945515"/>
            <a:ext cx="4446183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600">
                <a:solidFill>
                  <a:srgbClr val="404040"/>
                </a:solidFill>
              </a:rPr>
              <a:t>Modifiziert nach Breakthrough T1D 2025</a:t>
            </a:r>
            <a:r>
              <a:rPr lang="de-DE" sz="600" baseline="30000">
                <a:solidFill>
                  <a:srgbClr val="404040"/>
                </a:solidFill>
              </a:rPr>
              <a:t>2</a:t>
            </a:r>
          </a:p>
        </p:txBody>
      </p:sp>
      <p:sp>
        <p:nvSpPr>
          <p:cNvPr id="11" name="Pfeil: Fünfeck 10">
            <a:extLst>
              <a:ext uri="{FF2B5EF4-FFF2-40B4-BE49-F238E27FC236}">
                <a16:creationId xmlns:a16="http://schemas.microsoft.com/office/drawing/2014/main" id="{BDAE08E4-5CA6-BDC2-0596-072D57B2CBE5}"/>
              </a:ext>
            </a:extLst>
          </p:cNvPr>
          <p:cNvSpPr/>
          <p:nvPr/>
        </p:nvSpPr>
        <p:spPr>
          <a:xfrm>
            <a:off x="5099765" y="911816"/>
            <a:ext cx="2453560" cy="292795"/>
          </a:xfrm>
          <a:prstGeom prst="homePlate">
            <a:avLst>
              <a:gd name="adj" fmla="val 24815"/>
            </a:avLst>
          </a:prstGeom>
          <a:solidFill>
            <a:srgbClr val="EDF6F6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8B250D8-EBB9-B842-2121-A9FF9EF4AA4A}"/>
              </a:ext>
            </a:extLst>
          </p:cNvPr>
          <p:cNvSpPr txBox="1"/>
          <p:nvPr/>
        </p:nvSpPr>
        <p:spPr>
          <a:xfrm>
            <a:off x="5085772" y="903963"/>
            <a:ext cx="24546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700" b="1">
                <a:solidFill>
                  <a:srgbClr val="00B1BC"/>
                </a:solidFill>
              </a:rPr>
              <a:t>Symptomatisch</a:t>
            </a:r>
            <a:r>
              <a:rPr lang="de-DE" sz="700" b="1" baseline="30000">
                <a:solidFill>
                  <a:srgbClr val="00B1BC"/>
                </a:solidFill>
              </a:rPr>
              <a:t>‡</a:t>
            </a:r>
          </a:p>
          <a:p>
            <a:pPr algn="ctr"/>
            <a:r>
              <a:rPr lang="de-DE" sz="700" b="1">
                <a:solidFill>
                  <a:srgbClr val="00B1BC"/>
                </a:solidFill>
              </a:rPr>
              <a:t>Hyperglykämie</a:t>
            </a:r>
            <a:endParaRPr lang="de-DE" sz="700" b="1" baseline="30000">
              <a:solidFill>
                <a:srgbClr val="00B1B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034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778FBF-B88C-83AB-BD49-3A5D05A483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5E69D2F6-7903-35FA-3FE6-14EE17C433E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9092" y="115142"/>
            <a:ext cx="8476488" cy="64349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" sz="2000" b="1" dirty="0">
                <a:solidFill>
                  <a:srgbClr val="7030A0"/>
                </a:solidFill>
              </a:rPr>
              <a:t>Stadien des Typ-1-Diabetes (ISPAD)</a:t>
            </a:r>
            <a:r>
              <a:rPr lang="de" sz="2000" b="1" baseline="30000" dirty="0">
                <a:solidFill>
                  <a:srgbClr val="7030A0"/>
                </a:solidFill>
              </a:rPr>
              <a:t>1</a:t>
            </a:r>
            <a:endParaRPr lang="en-US" sz="2000" b="1" baseline="30000" dirty="0">
              <a:solidFill>
                <a:srgbClr val="7030A0"/>
              </a:solidFill>
            </a:endParaRPr>
          </a:p>
        </p:txBody>
      </p:sp>
      <p:sp>
        <p:nvSpPr>
          <p:cNvPr id="4" name="TextBox 3037">
            <a:extLst>
              <a:ext uri="{FF2B5EF4-FFF2-40B4-BE49-F238E27FC236}">
                <a16:creationId xmlns:a16="http://schemas.microsoft.com/office/drawing/2014/main" id="{BF6D4044-9AEB-0C99-B63F-D03BFBB062EA}"/>
              </a:ext>
            </a:extLst>
          </p:cNvPr>
          <p:cNvSpPr txBox="1"/>
          <p:nvPr/>
        </p:nvSpPr>
        <p:spPr>
          <a:xfrm>
            <a:off x="385134" y="4755421"/>
            <a:ext cx="6423094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lvl="0" defTabSz="685766">
              <a:buClr>
                <a:srgbClr val="2F4B95"/>
              </a:buClr>
              <a:defRPr/>
            </a:pPr>
            <a:r>
              <a:rPr kumimoji="0" lang="de-DE" sz="60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Abbildung modifiziert nach Haller MJ 2024</a:t>
            </a:r>
            <a:r>
              <a:rPr kumimoji="0" lang="de-DE" sz="600" i="0" u="none" strike="noStrike" kern="1200" cap="none" spc="0" normalizeH="0" baseline="3000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1</a:t>
            </a:r>
            <a:r>
              <a:rPr kumimoji="0" lang="de-DE" sz="60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. FDR: First </a:t>
            </a:r>
            <a:r>
              <a:rPr kumimoji="0" lang="de-DE" sz="60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degree</a:t>
            </a:r>
            <a:r>
              <a:rPr kumimoji="0" lang="de-DE" sz="60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relative, Verwandte/r ersten Grades; </a:t>
            </a:r>
            <a:r>
              <a:rPr kumimoji="0" lang="de-DE" sz="60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IAk</a:t>
            </a:r>
            <a:r>
              <a:rPr kumimoji="0" lang="de-DE" sz="60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: Inselautoantikörper. </a:t>
            </a:r>
            <a:r>
              <a:rPr lang="de-DE" altLang="de-DE" sz="600" dirty="0">
                <a:solidFill>
                  <a:srgbClr val="404040"/>
                </a:solidFill>
              </a:rPr>
              <a:t>§ Bei einigen Personen mit zuvor bestätigten multiplen Autoantikörpern kann eine Rückkehr zu einem singulären oder negativen Autoantikörperstatus auftreten.</a:t>
            </a:r>
            <a:r>
              <a:rPr lang="de-DE" altLang="de-DE" sz="600" baseline="30000" dirty="0">
                <a:solidFill>
                  <a:srgbClr val="404040"/>
                </a:solidFill>
              </a:rPr>
              <a:t>2</a:t>
            </a:r>
            <a:r>
              <a:rPr lang="de-DE" altLang="de-DE" sz="600" dirty="0">
                <a:solidFill>
                  <a:srgbClr val="404040"/>
                </a:solidFill>
              </a:rPr>
              <a:t> </a:t>
            </a:r>
            <a:endParaRPr kumimoji="0" lang="de-DE" sz="60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Arial"/>
              <a:cs typeface="Arial"/>
            </a:endParaRPr>
          </a:p>
          <a:p>
            <a:pPr lvl="0" defTabSz="685766">
              <a:buClr>
                <a:srgbClr val="2F4B95"/>
              </a:buClr>
              <a:defRPr/>
            </a:pPr>
            <a:r>
              <a:rPr kumimoji="0" lang="de-DE" sz="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1.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Haller MJ </a:t>
            </a:r>
            <a:r>
              <a:rPr kumimoji="0" lang="de-DE" sz="6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et al. </a:t>
            </a:r>
            <a:r>
              <a:rPr kumimoji="0" lang="de-DE" sz="600" b="0" i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Horm</a:t>
            </a:r>
            <a:r>
              <a:rPr kumimoji="0" lang="de-DE" sz="6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Res </a:t>
            </a:r>
            <a:r>
              <a:rPr kumimoji="0" lang="de-DE" sz="600" b="0" i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Paediatr</a:t>
            </a:r>
            <a:r>
              <a:rPr kumimoji="0" lang="de-DE" sz="6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 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2024; 97: 529–45. </a:t>
            </a:r>
            <a:r>
              <a:rPr kumimoji="0" lang="de-DE" sz="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Arial"/>
                <a:cs typeface="Arial"/>
              </a:rPr>
              <a:t>2</a:t>
            </a:r>
            <a:r>
              <a:rPr lang="de-DE" sz="600" b="1" dirty="0">
                <a:solidFill>
                  <a:srgbClr val="404040"/>
                </a:solidFill>
                <a:ea typeface="Arial"/>
                <a:cs typeface="Arial"/>
              </a:rPr>
              <a:t>.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 Phillip M </a:t>
            </a:r>
            <a:r>
              <a:rPr lang="de-DE" sz="600" i="1" dirty="0">
                <a:solidFill>
                  <a:srgbClr val="404040"/>
                </a:solidFill>
                <a:ea typeface="Arial"/>
                <a:cs typeface="Arial"/>
              </a:rPr>
              <a:t>et al. Diabetes Care 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2024; 47: 1276–98.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6B8A650C-41EC-18E8-CA42-C221D2CA506F}"/>
              </a:ext>
            </a:extLst>
          </p:cNvPr>
          <p:cNvGrpSpPr/>
          <p:nvPr/>
        </p:nvGrpSpPr>
        <p:grpSpPr>
          <a:xfrm>
            <a:off x="508000" y="555093"/>
            <a:ext cx="6192253" cy="4215916"/>
            <a:chOff x="508000" y="570507"/>
            <a:chExt cx="6192253" cy="4215916"/>
          </a:xfrm>
        </p:grpSpPr>
        <p:pic>
          <p:nvPicPr>
            <p:cNvPr id="5" name="Grafik 4" descr="Ein Bild, das Text, Screenshot, Diagramm, Design enthält.&#10;&#10;KI-generierte Inhalte können fehlerhaft sein.">
              <a:extLst>
                <a:ext uri="{FF2B5EF4-FFF2-40B4-BE49-F238E27FC236}">
                  <a16:creationId xmlns:a16="http://schemas.microsoft.com/office/drawing/2014/main" id="{00BE9CD8-2F8F-67DA-69F9-1BA8303F116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8000" y="570507"/>
              <a:ext cx="6192253" cy="4215916"/>
            </a:xfrm>
            <a:prstGeom prst="rect">
              <a:avLst/>
            </a:prstGeom>
          </p:spPr>
        </p:pic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1EB49178-3FBB-5D51-EDB5-F4E461CDCF39}"/>
                </a:ext>
              </a:extLst>
            </p:cNvPr>
            <p:cNvSpPr txBox="1"/>
            <p:nvPr/>
          </p:nvSpPr>
          <p:spPr>
            <a:xfrm>
              <a:off x="667278" y="680202"/>
              <a:ext cx="1431482" cy="1384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900" b="1" dirty="0">
                  <a:solidFill>
                    <a:srgbClr val="656565"/>
                  </a:solidFill>
                </a:rPr>
                <a:t>Fortschreiten des T1D</a:t>
              </a: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A4C0B92D-4468-FA9A-774E-E3F001326201}"/>
                </a:ext>
              </a:extLst>
            </p:cNvPr>
            <p:cNvSpPr txBox="1"/>
            <p:nvPr/>
          </p:nvSpPr>
          <p:spPr>
            <a:xfrm>
              <a:off x="2376181" y="855247"/>
              <a:ext cx="538092" cy="92333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36000" bIns="0" rtlCol="0">
              <a:spAutoFit/>
            </a:bodyPr>
            <a:lstStyle/>
            <a:p>
              <a:r>
                <a:rPr lang="de-DE" sz="600" b="1" dirty="0">
                  <a:solidFill>
                    <a:srgbClr val="616878"/>
                  </a:solidFill>
                </a:rPr>
                <a:t>Erkrankung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8CB8FD83-BAB4-6006-567B-7835CDAEC65E}"/>
                </a:ext>
              </a:extLst>
            </p:cNvPr>
            <p:cNvSpPr txBox="1"/>
            <p:nvPr/>
          </p:nvSpPr>
          <p:spPr>
            <a:xfrm>
              <a:off x="2721644" y="1603782"/>
              <a:ext cx="646011" cy="92333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600" b="1" dirty="0">
                  <a:solidFill>
                    <a:srgbClr val="05AEDB"/>
                  </a:solidFill>
                </a:rPr>
                <a:t>Betazellverlust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BCDCA747-97E5-CC76-64BA-5463854640D6}"/>
                </a:ext>
              </a:extLst>
            </p:cNvPr>
            <p:cNvSpPr txBox="1"/>
            <p:nvPr/>
          </p:nvSpPr>
          <p:spPr>
            <a:xfrm>
              <a:off x="4635582" y="1395806"/>
              <a:ext cx="338234" cy="184666"/>
            </a:xfrm>
            <a:prstGeom prst="rect">
              <a:avLst/>
            </a:prstGeom>
            <a:solidFill>
              <a:srgbClr val="EDEBEC"/>
            </a:solidFill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600" b="1" dirty="0">
                  <a:solidFill>
                    <a:srgbClr val="D94742"/>
                  </a:solidFill>
                </a:rPr>
                <a:t>Insulin-</a:t>
              </a:r>
            </a:p>
            <a:p>
              <a:pPr algn="ctr"/>
              <a:r>
                <a:rPr lang="de-DE" sz="600" b="1" dirty="0">
                  <a:solidFill>
                    <a:srgbClr val="D94742"/>
                  </a:solidFill>
                </a:rPr>
                <a:t>bedarf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D3878150-8033-1EF4-CD12-1225D6C201AB}"/>
                </a:ext>
              </a:extLst>
            </p:cNvPr>
            <p:cNvSpPr txBox="1"/>
            <p:nvPr/>
          </p:nvSpPr>
          <p:spPr>
            <a:xfrm>
              <a:off x="2616737" y="2475797"/>
              <a:ext cx="546106" cy="92333"/>
            </a:xfrm>
            <a:prstGeom prst="rect">
              <a:avLst/>
            </a:prstGeom>
            <a:solidFill>
              <a:srgbClr val="EDEBEC"/>
            </a:solidFill>
          </p:spPr>
          <p:txBody>
            <a:bodyPr wrap="none" lIns="0" tIns="0" rIns="36000" bIns="0" rtlCol="0">
              <a:spAutoFit/>
            </a:bodyPr>
            <a:lstStyle/>
            <a:p>
              <a:r>
                <a:rPr lang="de-DE" sz="600" b="1" dirty="0">
                  <a:solidFill>
                    <a:srgbClr val="616878"/>
                  </a:solidFill>
                </a:rPr>
                <a:t>Blutglukose</a:t>
              </a: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EAF943BA-50E9-BFF9-3F4E-CF72DD79FD2E}"/>
                </a:ext>
              </a:extLst>
            </p:cNvPr>
            <p:cNvSpPr txBox="1"/>
            <p:nvPr/>
          </p:nvSpPr>
          <p:spPr>
            <a:xfrm>
              <a:off x="1708774" y="1072454"/>
              <a:ext cx="511358" cy="10002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650" b="1" dirty="0">
                  <a:solidFill>
                    <a:srgbClr val="616878"/>
                  </a:solidFill>
                </a:rPr>
                <a:t>T1D-Risiko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E873EC3D-779E-FB32-34B4-F707BD23C913}"/>
                </a:ext>
              </a:extLst>
            </p:cNvPr>
            <p:cNvSpPr txBox="1"/>
            <p:nvPr/>
          </p:nvSpPr>
          <p:spPr>
            <a:xfrm>
              <a:off x="776773" y="1048366"/>
              <a:ext cx="546625" cy="184666"/>
            </a:xfrm>
            <a:prstGeom prst="rect">
              <a:avLst/>
            </a:prstGeom>
            <a:solidFill>
              <a:srgbClr val="05AEDB"/>
            </a:solidFill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600" b="1" dirty="0">
                  <a:solidFill>
                    <a:schemeClr val="bg1"/>
                  </a:solidFill>
                </a:rPr>
                <a:t>Genetisches </a:t>
              </a:r>
            </a:p>
            <a:p>
              <a:pPr algn="ctr"/>
              <a:r>
                <a:rPr lang="de-DE" sz="600" b="1" dirty="0">
                  <a:solidFill>
                    <a:schemeClr val="bg1"/>
                  </a:solidFill>
                </a:rPr>
                <a:t>Risiko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E812950-7190-6030-C001-5BA309C52242}"/>
                </a:ext>
              </a:extLst>
            </p:cNvPr>
            <p:cNvSpPr txBox="1"/>
            <p:nvPr/>
          </p:nvSpPr>
          <p:spPr>
            <a:xfrm>
              <a:off x="1389325" y="1601501"/>
              <a:ext cx="500137" cy="184666"/>
            </a:xfrm>
            <a:prstGeom prst="rect">
              <a:avLst/>
            </a:prstGeom>
            <a:solidFill>
              <a:srgbClr val="05AEDB"/>
            </a:solidFill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600" b="1" dirty="0">
                  <a:solidFill>
                    <a:schemeClr val="bg1"/>
                  </a:solidFill>
                </a:rPr>
                <a:t>Immun-</a:t>
              </a:r>
            </a:p>
            <a:p>
              <a:pPr algn="ctr"/>
              <a:r>
                <a:rPr lang="de-DE" sz="600" b="1" dirty="0">
                  <a:solidFill>
                    <a:schemeClr val="bg1"/>
                  </a:solidFill>
                </a:rPr>
                <a:t>Aktivierung</a:t>
              </a: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3AE0241F-EB3A-0814-A063-7CEF7A5BC32B}"/>
                </a:ext>
              </a:extLst>
            </p:cNvPr>
            <p:cNvSpPr txBox="1"/>
            <p:nvPr/>
          </p:nvSpPr>
          <p:spPr>
            <a:xfrm>
              <a:off x="1904313" y="2147151"/>
              <a:ext cx="351058" cy="184666"/>
            </a:xfrm>
            <a:prstGeom prst="rect">
              <a:avLst/>
            </a:prstGeom>
            <a:solidFill>
              <a:srgbClr val="05AEDB"/>
            </a:solidFill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600" b="1" dirty="0">
                  <a:solidFill>
                    <a:schemeClr val="bg1"/>
                  </a:solidFill>
                </a:rPr>
                <a:t>Immun-</a:t>
              </a:r>
            </a:p>
            <a:p>
              <a:pPr algn="ctr"/>
              <a:r>
                <a:rPr lang="de-DE" sz="600" b="1" dirty="0">
                  <a:solidFill>
                    <a:schemeClr val="bg1"/>
                  </a:solidFill>
                </a:rPr>
                <a:t>Antwort</a:t>
              </a:r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CE06DAEF-1C5F-BFA1-0636-3258DD145893}"/>
                </a:ext>
              </a:extLst>
            </p:cNvPr>
            <p:cNvSpPr txBox="1"/>
            <p:nvPr/>
          </p:nvSpPr>
          <p:spPr>
            <a:xfrm>
              <a:off x="2395099" y="2746483"/>
              <a:ext cx="437619" cy="128685"/>
            </a:xfrm>
            <a:prstGeom prst="rect">
              <a:avLst/>
            </a:prstGeom>
            <a:solidFill>
              <a:srgbClr val="05AEDB"/>
            </a:solidFill>
          </p:spPr>
          <p:txBody>
            <a:bodyPr wrap="none" lIns="0" tIns="0" rIns="0" bIns="36000" rtlCol="0">
              <a:spAutoFit/>
            </a:bodyPr>
            <a:lstStyle/>
            <a:p>
              <a:pPr algn="ctr"/>
              <a:r>
                <a:rPr lang="de-DE" sz="600" b="1" dirty="0">
                  <a:solidFill>
                    <a:schemeClr val="bg1"/>
                  </a:solidFill>
                </a:rPr>
                <a:t>Stadium 1</a:t>
              </a: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7635F38A-CA53-7961-0666-940C39CDD795}"/>
                </a:ext>
              </a:extLst>
            </p:cNvPr>
            <p:cNvSpPr txBox="1"/>
            <p:nvPr/>
          </p:nvSpPr>
          <p:spPr>
            <a:xfrm>
              <a:off x="3494497" y="2746482"/>
              <a:ext cx="437619" cy="128685"/>
            </a:xfrm>
            <a:prstGeom prst="rect">
              <a:avLst/>
            </a:prstGeom>
            <a:solidFill>
              <a:srgbClr val="05AEDB"/>
            </a:solidFill>
          </p:spPr>
          <p:txBody>
            <a:bodyPr wrap="none" lIns="0" tIns="0" rIns="0" bIns="36000" rtlCol="0">
              <a:spAutoFit/>
            </a:bodyPr>
            <a:lstStyle/>
            <a:p>
              <a:pPr algn="ctr"/>
              <a:r>
                <a:rPr lang="de-DE" sz="600" b="1" dirty="0">
                  <a:solidFill>
                    <a:schemeClr val="bg1"/>
                  </a:solidFill>
                </a:rPr>
                <a:t>Stadium 2</a:t>
              </a: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BE38BA67-9B05-3F72-BD9D-AA9B5C8CCD53}"/>
                </a:ext>
              </a:extLst>
            </p:cNvPr>
            <p:cNvSpPr txBox="1"/>
            <p:nvPr/>
          </p:nvSpPr>
          <p:spPr>
            <a:xfrm>
              <a:off x="4593895" y="2749762"/>
              <a:ext cx="437619" cy="128685"/>
            </a:xfrm>
            <a:prstGeom prst="rect">
              <a:avLst/>
            </a:prstGeom>
            <a:solidFill>
              <a:srgbClr val="05AEDB"/>
            </a:solidFill>
          </p:spPr>
          <p:txBody>
            <a:bodyPr wrap="none" lIns="0" tIns="0" rIns="0" bIns="36000" rtlCol="0">
              <a:spAutoFit/>
            </a:bodyPr>
            <a:lstStyle/>
            <a:p>
              <a:pPr algn="ctr"/>
              <a:r>
                <a:rPr lang="de-DE" sz="600" b="1" dirty="0">
                  <a:solidFill>
                    <a:schemeClr val="bg1"/>
                  </a:solidFill>
                </a:rPr>
                <a:t>Stadium 3</a:t>
              </a: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CBADD189-13CF-01E3-D479-932D57F5E24A}"/>
                </a:ext>
              </a:extLst>
            </p:cNvPr>
            <p:cNvSpPr txBox="1"/>
            <p:nvPr/>
          </p:nvSpPr>
          <p:spPr>
            <a:xfrm>
              <a:off x="5587794" y="2746482"/>
              <a:ext cx="437619" cy="128685"/>
            </a:xfrm>
            <a:prstGeom prst="rect">
              <a:avLst/>
            </a:prstGeom>
            <a:solidFill>
              <a:srgbClr val="05AEDB"/>
            </a:solidFill>
          </p:spPr>
          <p:txBody>
            <a:bodyPr wrap="none" lIns="0" tIns="0" rIns="0" bIns="36000" rtlCol="0">
              <a:spAutoFit/>
            </a:bodyPr>
            <a:lstStyle/>
            <a:p>
              <a:pPr algn="ctr"/>
              <a:r>
                <a:rPr lang="de-DE" sz="600" b="1" dirty="0">
                  <a:solidFill>
                    <a:schemeClr val="bg1"/>
                  </a:solidFill>
                </a:rPr>
                <a:t>Stadium 4</a:t>
              </a: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98C096DE-8BE3-8962-CD4B-A71998A729EA}"/>
                </a:ext>
              </a:extLst>
            </p:cNvPr>
            <p:cNvSpPr txBox="1"/>
            <p:nvPr/>
          </p:nvSpPr>
          <p:spPr>
            <a:xfrm>
              <a:off x="789385" y="3019328"/>
              <a:ext cx="807913" cy="92333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600" b="1" dirty="0">
                  <a:solidFill>
                    <a:srgbClr val="656565"/>
                  </a:solidFill>
                </a:rPr>
                <a:t>Genetisches Risiko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E1DFB9C6-BE23-D1E3-C984-45D2AB1D1856}"/>
                </a:ext>
              </a:extLst>
            </p:cNvPr>
            <p:cNvSpPr txBox="1"/>
            <p:nvPr/>
          </p:nvSpPr>
          <p:spPr>
            <a:xfrm>
              <a:off x="793841" y="3122332"/>
              <a:ext cx="1461530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600" dirty="0">
                  <a:solidFill>
                    <a:srgbClr val="656565"/>
                  </a:solidFill>
                </a:rPr>
                <a:t>Personen mit einem FDR mit T1D haben ein 15x höheres Risiko für die Entwicklung von T1D</a:t>
              </a: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D36CEF60-968D-6D99-B0EE-75CC16CAEB76}"/>
                </a:ext>
              </a:extLst>
            </p:cNvPr>
            <p:cNvSpPr txBox="1"/>
            <p:nvPr/>
          </p:nvSpPr>
          <p:spPr>
            <a:xfrm>
              <a:off x="795639" y="3410002"/>
              <a:ext cx="146153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de-DE" sz="600" dirty="0">
                  <a:solidFill>
                    <a:srgbClr val="656565"/>
                  </a:solidFill>
                </a:rPr>
                <a:t>Immunantwort (Entwicklung eines singulären </a:t>
              </a:r>
              <a:r>
                <a:rPr lang="de-DE" sz="600" dirty="0" err="1">
                  <a:solidFill>
                    <a:srgbClr val="656565"/>
                  </a:solidFill>
                </a:rPr>
                <a:t>IAk</a:t>
              </a:r>
              <a:r>
                <a:rPr lang="de-DE" sz="600" dirty="0">
                  <a:solidFill>
                    <a:srgbClr val="656565"/>
                  </a:solidFill>
                </a:rPr>
                <a:t>)</a:t>
              </a:r>
            </a:p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de-DE" sz="600" dirty="0">
                  <a:solidFill>
                    <a:srgbClr val="656565"/>
                  </a:solidFill>
                </a:rPr>
                <a:t>Immunaktivierung (Angriff auf Betazellen)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CE3673FE-2176-7283-AD98-07BE769DF953}"/>
                </a:ext>
              </a:extLst>
            </p:cNvPr>
            <p:cNvSpPr txBox="1"/>
            <p:nvPr/>
          </p:nvSpPr>
          <p:spPr>
            <a:xfrm>
              <a:off x="2461101" y="3017168"/>
              <a:ext cx="1000134" cy="18466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600" b="1" dirty="0">
                  <a:solidFill>
                    <a:srgbClr val="656565"/>
                  </a:solidFill>
                </a:rPr>
                <a:t>2+ Inselautoanti-körper bestätigt</a:t>
              </a: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4044F3AB-476C-1EA3-2AE4-62C4C738B99A}"/>
                </a:ext>
              </a:extLst>
            </p:cNvPr>
            <p:cNvSpPr txBox="1"/>
            <p:nvPr/>
          </p:nvSpPr>
          <p:spPr>
            <a:xfrm>
              <a:off x="2461100" y="3226179"/>
              <a:ext cx="989113" cy="18466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de-DE" sz="600" dirty="0">
                  <a:solidFill>
                    <a:srgbClr val="656565"/>
                  </a:solidFill>
                </a:rPr>
                <a:t>Normale Blutglukose</a:t>
              </a:r>
            </a:p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de-DE" sz="600" dirty="0">
                  <a:solidFill>
                    <a:srgbClr val="656565"/>
                  </a:solidFill>
                </a:rPr>
                <a:t>Präsymptomatisch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705C27F2-9844-A176-64E2-0FF8560E6A4A}"/>
                </a:ext>
              </a:extLst>
            </p:cNvPr>
            <p:cNvSpPr txBox="1"/>
            <p:nvPr/>
          </p:nvSpPr>
          <p:spPr>
            <a:xfrm>
              <a:off x="2461100" y="3676455"/>
              <a:ext cx="103339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600" b="1" dirty="0">
                  <a:solidFill>
                    <a:srgbClr val="656565"/>
                  </a:solidFill>
                </a:rPr>
                <a:t>Nahezu 100 % Lebens-</a:t>
              </a:r>
              <a:r>
                <a:rPr lang="de-DE" sz="600" b="1" dirty="0" err="1">
                  <a:solidFill>
                    <a:srgbClr val="656565"/>
                  </a:solidFill>
                </a:rPr>
                <a:t>zeitrisiko</a:t>
              </a:r>
              <a:r>
                <a:rPr lang="de-DE" sz="600" b="1" dirty="0">
                  <a:solidFill>
                    <a:srgbClr val="656565"/>
                  </a:solidFill>
                </a:rPr>
                <a:t> für die Pro-</a:t>
              </a:r>
              <a:r>
                <a:rPr lang="de-DE" sz="600" b="1" dirty="0" err="1">
                  <a:solidFill>
                    <a:srgbClr val="656565"/>
                  </a:solidFill>
                </a:rPr>
                <a:t>gression</a:t>
              </a:r>
              <a:r>
                <a:rPr lang="de-DE" sz="600" b="1" dirty="0">
                  <a:solidFill>
                    <a:srgbClr val="656565"/>
                  </a:solidFill>
                </a:rPr>
                <a:t> zu Stadium 3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1132DD85-925D-F0DB-EA8C-657721CA5C2E}"/>
                </a:ext>
              </a:extLst>
            </p:cNvPr>
            <p:cNvSpPr txBox="1"/>
            <p:nvPr/>
          </p:nvSpPr>
          <p:spPr>
            <a:xfrm>
              <a:off x="2461100" y="3475833"/>
              <a:ext cx="896688" cy="10772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700" b="1" dirty="0">
                  <a:solidFill>
                    <a:srgbClr val="05AEDB"/>
                  </a:solidFill>
                </a:rPr>
                <a:t>Beginn des T1D</a:t>
              </a: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5559F4B5-29BD-D271-1B19-2DD389F01DB0}"/>
                </a:ext>
              </a:extLst>
            </p:cNvPr>
            <p:cNvSpPr txBox="1"/>
            <p:nvPr/>
          </p:nvSpPr>
          <p:spPr>
            <a:xfrm>
              <a:off x="3525350" y="3017168"/>
              <a:ext cx="1046650" cy="18466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600" b="1" dirty="0">
                  <a:solidFill>
                    <a:srgbClr val="656565"/>
                  </a:solidFill>
                </a:rPr>
                <a:t>2+ </a:t>
              </a:r>
              <a:r>
                <a:rPr lang="de-DE" sz="600" b="1" dirty="0" err="1">
                  <a:solidFill>
                    <a:srgbClr val="656565"/>
                  </a:solidFill>
                </a:rPr>
                <a:t>IAk</a:t>
              </a:r>
              <a:r>
                <a:rPr lang="de-DE" sz="600" b="1" dirty="0">
                  <a:solidFill>
                    <a:srgbClr val="656565"/>
                  </a:solidFill>
                </a:rPr>
                <a:t> plus </a:t>
              </a:r>
              <a:r>
                <a:rPr lang="de-DE" sz="600" b="1" dirty="0" err="1">
                  <a:solidFill>
                    <a:srgbClr val="656565"/>
                  </a:solidFill>
                </a:rPr>
                <a:t>Dysglykämie</a:t>
              </a:r>
              <a:endParaRPr lang="de-DE" sz="600" b="1" dirty="0">
                <a:solidFill>
                  <a:srgbClr val="656565"/>
                </a:solidFill>
              </a:endParaRP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128EE327-59FD-EE90-446F-550C39B5AC50}"/>
                </a:ext>
              </a:extLst>
            </p:cNvPr>
            <p:cNvSpPr txBox="1"/>
            <p:nvPr/>
          </p:nvSpPr>
          <p:spPr>
            <a:xfrm>
              <a:off x="3525350" y="3228938"/>
              <a:ext cx="1110232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de-DE" sz="600" dirty="0">
                  <a:solidFill>
                    <a:srgbClr val="656565"/>
                  </a:solidFill>
                </a:rPr>
                <a:t>Abnorme Glukosetoleranz</a:t>
              </a:r>
            </a:p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de-DE" sz="600" dirty="0">
                  <a:solidFill>
                    <a:srgbClr val="656565"/>
                  </a:solidFill>
                </a:rPr>
                <a:t>Üblicherweise präsymptomatisch</a:t>
              </a:r>
            </a:p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de-DE" sz="600" dirty="0">
                  <a:solidFill>
                    <a:srgbClr val="656565"/>
                  </a:solidFill>
                </a:rPr>
                <a:t>Raschere T1D-Progression</a:t>
              </a: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8A823F22-B44C-4A88-5889-780D89138FF7}"/>
                </a:ext>
              </a:extLst>
            </p:cNvPr>
            <p:cNvSpPr txBox="1"/>
            <p:nvPr/>
          </p:nvSpPr>
          <p:spPr>
            <a:xfrm>
              <a:off x="3545844" y="4257675"/>
              <a:ext cx="1110232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de-DE" sz="600" dirty="0">
                  <a:solidFill>
                    <a:srgbClr val="656565"/>
                  </a:solidFill>
                </a:rPr>
                <a:t>Tools vorhanden, um T1D-Progressionsrate vorherzusagen</a:t>
              </a:r>
            </a:p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de-DE" sz="600" dirty="0">
                  <a:solidFill>
                    <a:srgbClr val="656565"/>
                  </a:solidFill>
                </a:rPr>
                <a:t>Progression schneller bei jüngeren Menschen</a:t>
              </a: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F3C97C1C-72E0-1936-ADEC-959E58716245}"/>
                </a:ext>
              </a:extLst>
            </p:cNvPr>
            <p:cNvSpPr txBox="1"/>
            <p:nvPr/>
          </p:nvSpPr>
          <p:spPr>
            <a:xfrm>
              <a:off x="3545844" y="3676455"/>
              <a:ext cx="1080064" cy="5539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600" b="1" dirty="0">
                  <a:solidFill>
                    <a:srgbClr val="656565"/>
                  </a:solidFill>
                </a:rPr>
                <a:t>Stadium 2a</a:t>
              </a:r>
              <a:r>
                <a:rPr lang="de-DE" sz="600" dirty="0">
                  <a:solidFill>
                    <a:srgbClr val="656565"/>
                  </a:solidFill>
                </a:rPr>
                <a:t>: Zeigt sich als frühe, milde </a:t>
              </a:r>
              <a:r>
                <a:rPr lang="de-DE" sz="600" dirty="0" err="1">
                  <a:solidFill>
                    <a:srgbClr val="656565"/>
                  </a:solidFill>
                </a:rPr>
                <a:t>Dysglykämie</a:t>
              </a:r>
              <a:endParaRPr lang="de-DE" sz="600" dirty="0">
                <a:solidFill>
                  <a:srgbClr val="656565"/>
                </a:solidFill>
              </a:endParaRPr>
            </a:p>
            <a:p>
              <a:r>
                <a:rPr lang="de-DE" sz="600" b="1" dirty="0">
                  <a:solidFill>
                    <a:srgbClr val="656565"/>
                  </a:solidFill>
                </a:rPr>
                <a:t>Stadium 2b</a:t>
              </a:r>
              <a:r>
                <a:rPr lang="de-DE" sz="600" dirty="0">
                  <a:solidFill>
                    <a:srgbClr val="656565"/>
                  </a:solidFill>
                </a:rPr>
                <a:t>: Zeigt sich als späte, robuste </a:t>
              </a:r>
              <a:r>
                <a:rPr lang="de-DE" sz="600" dirty="0" err="1">
                  <a:solidFill>
                    <a:srgbClr val="656565"/>
                  </a:solidFill>
                </a:rPr>
                <a:t>Dysglykä-mie</a:t>
              </a:r>
              <a:r>
                <a:rPr lang="de-DE" sz="600" dirty="0">
                  <a:solidFill>
                    <a:srgbClr val="656565"/>
                  </a:solidFill>
                </a:rPr>
                <a:t>, ohne die Grenze zu Stadium 3 zu überschreiten</a:t>
              </a: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B98F550C-5C1B-7904-D2ED-A75C8F0FC267}"/>
                </a:ext>
              </a:extLst>
            </p:cNvPr>
            <p:cNvSpPr txBox="1"/>
            <p:nvPr/>
          </p:nvSpPr>
          <p:spPr>
            <a:xfrm>
              <a:off x="4625908" y="3019325"/>
              <a:ext cx="1046650" cy="12868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36000" rtlCol="0">
              <a:spAutoFit/>
            </a:bodyPr>
            <a:lstStyle/>
            <a:p>
              <a:r>
                <a:rPr lang="de-DE" sz="600" b="1" dirty="0">
                  <a:solidFill>
                    <a:srgbClr val="656565"/>
                  </a:solidFill>
                </a:rPr>
                <a:t>Klinische Diagnose</a:t>
              </a: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51313AB0-A53A-FBF3-566A-9D58711A7967}"/>
                </a:ext>
              </a:extLst>
            </p:cNvPr>
            <p:cNvSpPr txBox="1"/>
            <p:nvPr/>
          </p:nvSpPr>
          <p:spPr>
            <a:xfrm>
              <a:off x="4656076" y="3133846"/>
              <a:ext cx="1016482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de-DE" sz="600" dirty="0">
                  <a:solidFill>
                    <a:srgbClr val="656565"/>
                  </a:solidFill>
                </a:rPr>
                <a:t>Blutglukose erreicht ADA-Diagnosegrenzwerte</a:t>
              </a:r>
            </a:p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de-DE" sz="600" dirty="0">
                  <a:solidFill>
                    <a:srgbClr val="656565"/>
                  </a:solidFill>
                </a:rPr>
                <a:t>≥ 1 Inselautoanti-körper</a:t>
              </a:r>
              <a:r>
                <a:rPr lang="de-DE" sz="600" baseline="30000" dirty="0">
                  <a:solidFill>
                    <a:srgbClr val="656565"/>
                  </a:solidFill>
                </a:rPr>
                <a:t>2,§</a:t>
              </a: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621289BF-2DFC-71C8-AC61-5E2497164D76}"/>
                </a:ext>
              </a:extLst>
            </p:cNvPr>
            <p:cNvSpPr txBox="1"/>
            <p:nvPr/>
          </p:nvSpPr>
          <p:spPr>
            <a:xfrm>
              <a:off x="4656076" y="3680988"/>
              <a:ext cx="1046650" cy="4980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36000" rtlCol="0">
              <a:spAutoFit/>
            </a:bodyPr>
            <a:lstStyle/>
            <a:p>
              <a:r>
                <a:rPr lang="de-DE" sz="600" b="1" dirty="0">
                  <a:solidFill>
                    <a:srgbClr val="656565"/>
                  </a:solidFill>
                </a:rPr>
                <a:t>Stadium 3a</a:t>
              </a:r>
              <a:r>
                <a:rPr lang="de-DE" sz="600" dirty="0">
                  <a:solidFill>
                    <a:srgbClr val="656565"/>
                  </a:solidFill>
                </a:rPr>
                <a:t>: </a:t>
              </a:r>
              <a:r>
                <a:rPr lang="de-DE" sz="600" dirty="0" err="1">
                  <a:solidFill>
                    <a:srgbClr val="656565"/>
                  </a:solidFill>
                </a:rPr>
                <a:t>Asymptoma</a:t>
              </a:r>
              <a:r>
                <a:rPr lang="de-DE" sz="600" dirty="0">
                  <a:solidFill>
                    <a:srgbClr val="656565"/>
                  </a:solidFill>
                </a:rPr>
                <a:t>-tisch, möglicherweise nicht sofort Insulin erforderlich </a:t>
              </a:r>
            </a:p>
            <a:p>
              <a:r>
                <a:rPr lang="de-DE" sz="600" b="1" dirty="0">
                  <a:solidFill>
                    <a:srgbClr val="656565"/>
                  </a:solidFill>
                </a:rPr>
                <a:t>Stadium 3b</a:t>
              </a:r>
              <a:r>
                <a:rPr lang="de-DE" sz="600" dirty="0">
                  <a:solidFill>
                    <a:srgbClr val="656565"/>
                  </a:solidFill>
                </a:rPr>
                <a:t>: </a:t>
              </a:r>
              <a:r>
                <a:rPr lang="de-DE" sz="600" dirty="0" err="1">
                  <a:solidFill>
                    <a:srgbClr val="656565"/>
                  </a:solidFill>
                </a:rPr>
                <a:t>Symptoma</a:t>
              </a:r>
              <a:r>
                <a:rPr lang="de-DE" sz="600" dirty="0">
                  <a:solidFill>
                    <a:srgbClr val="656565"/>
                  </a:solidFill>
                </a:rPr>
                <a:t>-tisch, erfordert Insulin</a:t>
              </a: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1B62AC8D-455C-A738-6D99-5B4448CD56B1}"/>
                </a:ext>
              </a:extLst>
            </p:cNvPr>
            <p:cNvSpPr txBox="1"/>
            <p:nvPr/>
          </p:nvSpPr>
          <p:spPr>
            <a:xfrm>
              <a:off x="5707670" y="3017168"/>
              <a:ext cx="709524" cy="12868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36000" rtlCol="0">
              <a:spAutoFit/>
            </a:bodyPr>
            <a:lstStyle/>
            <a:p>
              <a:r>
                <a:rPr lang="de-DE" sz="600" b="1" dirty="0">
                  <a:solidFill>
                    <a:srgbClr val="656565"/>
                  </a:solidFill>
                </a:rPr>
                <a:t>Langzeit-T1D</a:t>
              </a:r>
            </a:p>
          </p:txBody>
        </p:sp>
        <p:sp>
          <p:nvSpPr>
            <p:cNvPr id="40" name="Gleichschenkliges Dreieck 39">
              <a:extLst>
                <a:ext uri="{FF2B5EF4-FFF2-40B4-BE49-F238E27FC236}">
                  <a16:creationId xmlns:a16="http://schemas.microsoft.com/office/drawing/2014/main" id="{B4E0936C-A0BD-39A1-F37A-26366DD8452A}"/>
                </a:ext>
              </a:extLst>
            </p:cNvPr>
            <p:cNvSpPr/>
            <p:nvPr/>
          </p:nvSpPr>
          <p:spPr>
            <a:xfrm rot="2848667">
              <a:off x="1750289" y="1543464"/>
              <a:ext cx="253121" cy="12868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9A67CE2C-C7C6-605E-AD26-A98C2C5AF70D}"/>
                </a:ext>
              </a:extLst>
            </p:cNvPr>
            <p:cNvSpPr/>
            <p:nvPr/>
          </p:nvSpPr>
          <p:spPr>
            <a:xfrm>
              <a:off x="508000" y="570507"/>
              <a:ext cx="6192253" cy="4215916"/>
            </a:xfrm>
            <a:prstGeom prst="rect">
              <a:avLst/>
            </a:prstGeom>
            <a:noFill/>
            <a:ln w="28575" cap="flat" cmpd="sng" algn="ctr">
              <a:solidFill>
                <a:srgbClr val="CA99F5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44" name="Rectangle: Rounded Corners 23">
            <a:extLst>
              <a:ext uri="{FF2B5EF4-FFF2-40B4-BE49-F238E27FC236}">
                <a16:creationId xmlns:a16="http://schemas.microsoft.com/office/drawing/2014/main" id="{1BE16A67-1AEE-5FD8-257C-0037C94AE515}"/>
              </a:ext>
            </a:extLst>
          </p:cNvPr>
          <p:cNvSpPr/>
          <p:nvPr/>
        </p:nvSpPr>
        <p:spPr>
          <a:xfrm>
            <a:off x="6808228" y="555092"/>
            <a:ext cx="2090822" cy="4392479"/>
          </a:xfrm>
          <a:prstGeom prst="roundRect">
            <a:avLst>
              <a:gd name="adj" fmla="val 90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/>
          <a:lstStyle/>
          <a:p>
            <a:pPr marL="88900" indent="-88900" defTabSz="685800">
              <a:spcBef>
                <a:spcPts val="3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de-DE" sz="800" dirty="0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Ein kleiner Teil der Menschen mit erhöhtem T1D-Risiko schreitet zu Immunaktivierung und </a:t>
            </a:r>
            <a:r>
              <a:rPr lang="de-DE" sz="800" dirty="0" err="1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Entwick-lung</a:t>
            </a:r>
            <a:r>
              <a:rPr lang="de-DE" sz="800" dirty="0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 von Inselautoimmunität fort</a:t>
            </a:r>
          </a:p>
          <a:p>
            <a:pPr marL="88900" indent="-88900" defTabSz="685800">
              <a:spcBef>
                <a:spcPts val="3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de-DE" sz="800" dirty="0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Mit ≥ 2 </a:t>
            </a:r>
            <a:r>
              <a:rPr lang="de-DE" sz="800" dirty="0" err="1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IAk</a:t>
            </a:r>
            <a:r>
              <a:rPr lang="de-DE" sz="800" dirty="0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 (Stadium 1) ist die Entwicklung von klinisch </a:t>
            </a:r>
            <a:r>
              <a:rPr lang="de-DE" sz="800" dirty="0" err="1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manifes-tem</a:t>
            </a:r>
            <a:r>
              <a:rPr lang="de-DE" sz="800" dirty="0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 T1D nahezu sicher</a:t>
            </a:r>
          </a:p>
          <a:p>
            <a:pPr marL="88900" indent="-88900" defTabSz="685800">
              <a:spcBef>
                <a:spcPts val="3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de-DE" sz="800" dirty="0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Üblicherweise folgt auf Stadium 1 die Entwicklung von </a:t>
            </a:r>
            <a:r>
              <a:rPr lang="de-DE" sz="800" dirty="0" err="1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Dysglykämie</a:t>
            </a:r>
            <a:r>
              <a:rPr lang="de-DE" sz="800" dirty="0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 (Stadium 2), wobei dieses Stadium bei rascher Progression möglicherweise nicht erfasst wird</a:t>
            </a:r>
          </a:p>
          <a:p>
            <a:pPr marL="88900" indent="-88900" defTabSz="685800">
              <a:spcBef>
                <a:spcPts val="3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de-DE" sz="800" dirty="0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Menschen mit Stadium 3 können asymptomatisch (3a) oder symptomatisch (3b) sein</a:t>
            </a:r>
          </a:p>
          <a:p>
            <a:pPr marL="88900" indent="-88900" defTabSz="685800">
              <a:spcBef>
                <a:spcPts val="3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de-DE" sz="800" dirty="0">
                <a:solidFill>
                  <a:prstClr val="white"/>
                </a:solidFill>
                <a:sym typeface="Wingdings" panose="05000000000000000000" pitchFamily="2" charset="2"/>
              </a:rPr>
              <a:t>Bei Diskussionen über den Beginn einer Insulintherapie bei Men-</a:t>
            </a:r>
            <a:r>
              <a:rPr lang="de-DE" sz="800" dirty="0" err="1">
                <a:solidFill>
                  <a:prstClr val="white"/>
                </a:solidFill>
                <a:sym typeface="Wingdings" panose="05000000000000000000" pitchFamily="2" charset="2"/>
              </a:rPr>
              <a:t>schen</a:t>
            </a:r>
            <a:r>
              <a:rPr lang="de-DE" sz="800" dirty="0">
                <a:solidFill>
                  <a:prstClr val="white"/>
                </a:solidFill>
                <a:sym typeface="Wingdings" panose="05000000000000000000" pitchFamily="2" charset="2"/>
              </a:rPr>
              <a:t> mit T1D Stadium 3a </a:t>
            </a:r>
            <a:r>
              <a:rPr lang="de-DE" sz="800" dirty="0" err="1">
                <a:solidFill>
                  <a:prstClr val="white"/>
                </a:solidFill>
                <a:sym typeface="Wingdings" panose="05000000000000000000" pitchFamily="2" charset="2"/>
              </a:rPr>
              <a:t>müs-sen</a:t>
            </a:r>
            <a:r>
              <a:rPr lang="de-DE" sz="800" dirty="0">
                <a:solidFill>
                  <a:prstClr val="white"/>
                </a:solidFill>
                <a:sym typeface="Wingdings" panose="05000000000000000000" pitchFamily="2" charset="2"/>
              </a:rPr>
              <a:t> Risiken und Vorteile gegen-einander abgewogen werden</a:t>
            </a:r>
          </a:p>
          <a:p>
            <a:pPr marL="88900" indent="-88900" defTabSz="685800">
              <a:spcBef>
                <a:spcPts val="3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de-DE" sz="800" dirty="0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Alle Menschen mit Stadium 1 oder mehr </a:t>
            </a:r>
            <a:r>
              <a:rPr lang="de-DE" sz="800" b="1" dirty="0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haben T1D </a:t>
            </a:r>
            <a:r>
              <a:rPr lang="de-DE" sz="800" dirty="0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und sollten nicht als „im Risiko für T1D“ bezeichnet werden</a:t>
            </a:r>
          </a:p>
          <a:p>
            <a:pPr marL="88900" indent="-88900" defTabSz="685800">
              <a:spcBef>
                <a:spcPts val="3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de-DE" sz="800" dirty="0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Viele Menschen mit T1D </a:t>
            </a:r>
            <a:r>
              <a:rPr lang="de-DE" sz="800" dirty="0" err="1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fluktu-ieren</a:t>
            </a:r>
            <a:r>
              <a:rPr lang="de-DE" sz="800" dirty="0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 zwischen den Stadien</a:t>
            </a:r>
          </a:p>
          <a:p>
            <a:pPr marL="88900" indent="-88900" defTabSz="685800">
              <a:spcBef>
                <a:spcPts val="3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de-DE" sz="800" dirty="0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Der Verlust der Betazellfunktion variiert ebenso wie der Verlauf des Insulinbedarfs nach Diagnose</a:t>
            </a:r>
          </a:p>
          <a:p>
            <a:pPr marL="88900" indent="-88900" defTabSz="685800">
              <a:spcBef>
                <a:spcPts val="3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de-DE" sz="800" dirty="0">
                <a:solidFill>
                  <a:prstClr val="white"/>
                </a:solidFill>
                <a:latin typeface="Verdana"/>
                <a:sym typeface="Wingdings" panose="05000000000000000000" pitchFamily="2" charset="2"/>
              </a:rPr>
              <a:t>Viele der glykämischen Schwellen-werte sind willkürlich, aber dennoch nützlich, um Menschen mit T1D zu beschreiben</a:t>
            </a:r>
          </a:p>
        </p:txBody>
      </p:sp>
    </p:spTree>
    <p:extLst>
      <p:ext uri="{BB962C8B-B14F-4D97-AF65-F5344CB8AC3E}">
        <p14:creationId xmlns:p14="http://schemas.microsoft.com/office/powerpoint/2010/main" val="1189714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6BA58ED-CE2A-5B16-32F0-D84B70439825}"/>
              </a:ext>
            </a:extLst>
          </p:cNvPr>
          <p:cNvSpPr txBox="1">
            <a:spLocks/>
          </p:cNvSpPr>
          <p:nvPr/>
        </p:nvSpPr>
        <p:spPr>
          <a:xfrm>
            <a:off x="331660" y="84576"/>
            <a:ext cx="8476488" cy="463296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6800" indent="-226800" algn="l" defTabSz="685800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2"/>
              </a:buBlip>
              <a:defRPr sz="1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200" indent="-226800" algn="l" defTabSz="685800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2"/>
              </a:buBlip>
              <a:defRPr sz="1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4000" indent="-226800" algn="l" defTabSz="685800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2"/>
              </a:buBlip>
              <a:defRPr sz="1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685800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" sz="2000" b="1" dirty="0">
                <a:solidFill>
                  <a:srgbClr val="7030A0"/>
                </a:solidFill>
              </a:rPr>
              <a:t>Typ-1-Diabetes – vom unsichtbaren zum unübersehbaren</a:t>
            </a:r>
            <a:endParaRPr lang="en-US" sz="2000" b="1" baseline="30000" dirty="0">
              <a:solidFill>
                <a:srgbClr val="7030A0"/>
              </a:solidFill>
            </a:endParaRP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3D4DCD90-A05E-2B7B-FF2E-277D90CF4C71}"/>
              </a:ext>
            </a:extLst>
          </p:cNvPr>
          <p:cNvSpPr txBox="1">
            <a:spLocks/>
          </p:cNvSpPr>
          <p:nvPr/>
        </p:nvSpPr>
        <p:spPr>
          <a:xfrm>
            <a:off x="454527" y="761415"/>
            <a:ext cx="8299115" cy="3764866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800" b="0" i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6794" indent="-22679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Tx/>
              <a:buBlip>
                <a:blip r:embed="rId2"/>
              </a:buBlip>
              <a:defRPr lang="en-US" sz="1600" b="1" i="0" kern="1200" noProof="0" dirty="0">
                <a:solidFill>
                  <a:srgbClr val="1D3160"/>
                </a:solidFill>
                <a:latin typeface="+mn-lt"/>
                <a:ea typeface="+mn-ea"/>
                <a:cs typeface="+mn-cs"/>
              </a:defRPr>
            </a:lvl2pPr>
            <a:lvl3pPr marL="457189" indent="-22679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lang="en-US" sz="1600" b="0" i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3983" indent="-22679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lang="en-US" sz="1400" b="0" i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400" b="0" i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Aft>
                <a:spcPts val="900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</a:pPr>
            <a:r>
              <a:rPr lang="de-DE" sz="1400" b="1" dirty="0">
                <a:solidFill>
                  <a:srgbClr val="404040"/>
                </a:solidFill>
              </a:rPr>
              <a:t>Typ-1-Diabetes</a:t>
            </a:r>
            <a:r>
              <a:rPr lang="de-DE" sz="1400" dirty="0">
                <a:solidFill>
                  <a:srgbClr val="404040"/>
                </a:solidFill>
              </a:rPr>
              <a:t> entwickelt sich über </a:t>
            </a:r>
            <a:r>
              <a:rPr lang="de-DE" sz="1400" b="1" dirty="0">
                <a:solidFill>
                  <a:srgbClr val="404040"/>
                </a:solidFill>
              </a:rPr>
              <a:t>zwei präsymptomatische Stadien </a:t>
            </a:r>
            <a:r>
              <a:rPr lang="de-DE" sz="1400" dirty="0">
                <a:solidFill>
                  <a:srgbClr val="404040"/>
                </a:solidFill>
              </a:rPr>
              <a:t>hin zur klinischen Manifestation der Erkrankung (Stadium 3)</a:t>
            </a:r>
            <a:r>
              <a:rPr lang="de-DE" sz="1400" baseline="30000" dirty="0">
                <a:solidFill>
                  <a:srgbClr val="404040"/>
                </a:solidFill>
              </a:rPr>
              <a:t>1</a:t>
            </a:r>
            <a:r>
              <a:rPr lang="de-DE" sz="1400" dirty="0">
                <a:solidFill>
                  <a:srgbClr val="404040"/>
                </a:solidFill>
              </a:rPr>
              <a:t>, bevor er in die Langzeit-Erkrankung (Stadium 4) übergeht</a:t>
            </a:r>
            <a:r>
              <a:rPr lang="de-DE" sz="1400" baseline="30000" dirty="0">
                <a:solidFill>
                  <a:srgbClr val="404040"/>
                </a:solidFill>
              </a:rPr>
              <a:t>2</a:t>
            </a:r>
            <a:r>
              <a:rPr lang="de-DE" sz="1400" dirty="0">
                <a:solidFill>
                  <a:srgbClr val="404040"/>
                </a:solidFill>
              </a:rPr>
              <a:t> </a:t>
            </a:r>
            <a:endParaRPr lang="de-DE" sz="1400" baseline="30000" dirty="0">
              <a:solidFill>
                <a:srgbClr val="404040"/>
              </a:solidFill>
            </a:endParaRPr>
          </a:p>
          <a:p>
            <a:pPr marL="171450" indent="-171450">
              <a:spcAft>
                <a:spcPts val="900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404040"/>
                </a:solidFill>
              </a:rPr>
              <a:t>Erst bei klinischer Manifestation treten erste Symptome auf.</a:t>
            </a:r>
            <a:r>
              <a:rPr lang="de-DE" sz="1400" baseline="30000" dirty="0">
                <a:solidFill>
                  <a:srgbClr val="404040"/>
                </a:solidFill>
              </a:rPr>
              <a:t>1</a:t>
            </a:r>
            <a:r>
              <a:rPr lang="de-DE" sz="1400" dirty="0">
                <a:solidFill>
                  <a:srgbClr val="404040"/>
                </a:solidFill>
              </a:rPr>
              <a:t> Die klinische Manifestation in Stadium 3 ist geprägt von einer unterschiedlich vorhandenen Betazell-Restfunktion, der Erholung der verbliebenen Betazellen vom Sekretionsstress durch Gabe von Insulin mit teilweise vermindertem Insulinbedarf (sog. „Honeymoon-Phase“) und dem andauernden Verlust an Betazellen und entsprechend steigendem Insulinbedarf</a:t>
            </a:r>
            <a:r>
              <a:rPr lang="de-DE" sz="1400" baseline="30000" dirty="0">
                <a:solidFill>
                  <a:srgbClr val="404040"/>
                </a:solidFill>
              </a:rPr>
              <a:t>3</a:t>
            </a:r>
          </a:p>
          <a:p>
            <a:pPr marL="171450" indent="-171450">
              <a:spcAft>
                <a:spcPts val="900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404040"/>
                </a:solidFill>
              </a:rPr>
              <a:t>T1D Stadium 4 ist der etablierte Langzeit-T1D mit weitgehend stabilen Insulindosen</a:t>
            </a:r>
            <a:r>
              <a:rPr lang="de-DE" sz="1400" baseline="30000" dirty="0">
                <a:solidFill>
                  <a:srgbClr val="404040"/>
                </a:solidFill>
              </a:rPr>
              <a:t>2</a:t>
            </a:r>
          </a:p>
          <a:p>
            <a:pPr marL="171450" indent="-171450">
              <a:spcAft>
                <a:spcPts val="900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404040"/>
                </a:solidFill>
              </a:rPr>
              <a:t>Die Benennung hat sich von „Stadien </a:t>
            </a:r>
            <a:r>
              <a:rPr lang="de-DE" sz="1400" i="1" dirty="0">
                <a:solidFill>
                  <a:srgbClr val="404040"/>
                </a:solidFill>
              </a:rPr>
              <a:t>zum</a:t>
            </a:r>
            <a:r>
              <a:rPr lang="de-DE" sz="1400" dirty="0">
                <a:solidFill>
                  <a:srgbClr val="404040"/>
                </a:solidFill>
              </a:rPr>
              <a:t> T1D“ zu „Stadien </a:t>
            </a:r>
            <a:r>
              <a:rPr lang="de-DE" sz="1400" i="1" dirty="0">
                <a:solidFill>
                  <a:srgbClr val="404040"/>
                </a:solidFill>
              </a:rPr>
              <a:t>des</a:t>
            </a:r>
            <a:r>
              <a:rPr lang="de-DE" sz="1400" dirty="0">
                <a:solidFill>
                  <a:srgbClr val="404040"/>
                </a:solidFill>
              </a:rPr>
              <a:t> T1D“ gewandelt</a:t>
            </a:r>
          </a:p>
          <a:p>
            <a:pPr marL="171450" indent="-171450">
              <a:spcAft>
                <a:spcPts val="900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404040"/>
                </a:solidFill>
              </a:rPr>
              <a:t>Bei den meisten Menschen mit </a:t>
            </a:r>
            <a:r>
              <a:rPr lang="de-DE" sz="1400" b="1" dirty="0">
                <a:solidFill>
                  <a:srgbClr val="404040"/>
                </a:solidFill>
              </a:rPr>
              <a:t>Typ-1-Diabetes</a:t>
            </a:r>
            <a:r>
              <a:rPr lang="de-DE" sz="1400" dirty="0">
                <a:solidFill>
                  <a:srgbClr val="404040"/>
                </a:solidFill>
              </a:rPr>
              <a:t> liegt ein </a:t>
            </a:r>
            <a:r>
              <a:rPr lang="de-DE" sz="1400" b="1" dirty="0">
                <a:solidFill>
                  <a:srgbClr val="404040"/>
                </a:solidFill>
              </a:rPr>
              <a:t>autoimmunologischer Verlauf </a:t>
            </a:r>
            <a:r>
              <a:rPr lang="de-DE" sz="1400" dirty="0">
                <a:solidFill>
                  <a:srgbClr val="404040"/>
                </a:solidFill>
              </a:rPr>
              <a:t>zugrunde, der sehr seltene idiopathische Typ-1-Diabetes kommt insbesondere bei asiatischen und afrikanischen Ethnien vor</a:t>
            </a:r>
            <a:r>
              <a:rPr lang="de-DE" sz="1400" baseline="30000" dirty="0">
                <a:solidFill>
                  <a:srgbClr val="404040"/>
                </a:solidFill>
              </a:rPr>
              <a:t>1</a:t>
            </a:r>
            <a:r>
              <a:rPr lang="de-DE" sz="1400" dirty="0">
                <a:solidFill>
                  <a:srgbClr val="404040"/>
                </a:solidFill>
              </a:rPr>
              <a:t> </a:t>
            </a:r>
          </a:p>
          <a:p>
            <a:pPr marL="171450" indent="-171450">
              <a:spcAft>
                <a:spcPts val="900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</a:pPr>
            <a:endParaRPr lang="de-DE" sz="1400" dirty="0">
              <a:solidFill>
                <a:srgbClr val="404040"/>
              </a:solidFill>
            </a:endParaRPr>
          </a:p>
        </p:txBody>
      </p:sp>
      <p:sp>
        <p:nvSpPr>
          <p:cNvPr id="16" name="TextBox 3037">
            <a:extLst>
              <a:ext uri="{FF2B5EF4-FFF2-40B4-BE49-F238E27FC236}">
                <a16:creationId xmlns:a16="http://schemas.microsoft.com/office/drawing/2014/main" id="{B4E26FBD-4434-9FB7-FE9C-1EE30A91D616}"/>
              </a:ext>
            </a:extLst>
          </p:cNvPr>
          <p:cNvSpPr txBox="1"/>
          <p:nvPr/>
        </p:nvSpPr>
        <p:spPr>
          <a:xfrm>
            <a:off x="331660" y="4825118"/>
            <a:ext cx="8477864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685766">
              <a:buClr>
                <a:srgbClr val="2F4B95"/>
              </a:buClr>
              <a:defRPr/>
            </a:pP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1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DDG 2023. S3-Leitlinie Therapie des Typ-1-Diabetes, Version 5, 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AWMF-Registernummer: 057-013. Erhältlich unter: 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ddg.info/behandlung-leitlinien/leitlinien-praxisempfehlungen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. Zuletzt abgerufen am 12.01.2026. </a:t>
            </a:r>
            <a:r>
              <a:rPr lang="de-DE" sz="600" b="1" dirty="0">
                <a:solidFill>
                  <a:srgbClr val="404040"/>
                </a:solidFill>
                <a:ea typeface="Arial"/>
                <a:cs typeface="Arial"/>
              </a:rPr>
              <a:t>2.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 Haller MJ </a:t>
            </a:r>
            <a:r>
              <a:rPr lang="de-DE" sz="600" i="1" dirty="0">
                <a:solidFill>
                  <a:srgbClr val="404040"/>
                </a:solidFill>
                <a:ea typeface="Arial"/>
                <a:cs typeface="Arial"/>
              </a:rPr>
              <a:t>et al. </a:t>
            </a:r>
            <a:r>
              <a:rPr lang="de-DE" sz="600" i="1" dirty="0" err="1">
                <a:solidFill>
                  <a:srgbClr val="404040"/>
                </a:solidFill>
                <a:ea typeface="Arial"/>
                <a:cs typeface="Arial"/>
              </a:rPr>
              <a:t>Horm</a:t>
            </a:r>
            <a:r>
              <a:rPr lang="de-DE" sz="600" i="1" dirty="0">
                <a:solidFill>
                  <a:srgbClr val="404040"/>
                </a:solidFill>
                <a:ea typeface="Arial"/>
                <a:cs typeface="Arial"/>
              </a:rPr>
              <a:t> Res </a:t>
            </a:r>
            <a:r>
              <a:rPr lang="de-DE" sz="600" i="1" dirty="0" err="1">
                <a:solidFill>
                  <a:srgbClr val="404040"/>
                </a:solidFill>
                <a:ea typeface="Arial"/>
                <a:cs typeface="Arial"/>
              </a:rPr>
              <a:t>Paediatr</a:t>
            </a:r>
            <a:r>
              <a:rPr lang="de-DE" sz="600" i="1" dirty="0">
                <a:solidFill>
                  <a:srgbClr val="404040"/>
                </a:solidFill>
                <a:ea typeface="Arial"/>
                <a:cs typeface="Arial"/>
              </a:rPr>
              <a:t> 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2024; 97: 529–45. </a:t>
            </a:r>
            <a:r>
              <a:rPr lang="de-DE" sz="600" b="1" dirty="0">
                <a:solidFill>
                  <a:srgbClr val="404040"/>
                </a:solidFill>
                <a:ea typeface="Arial"/>
                <a:cs typeface="Arial"/>
              </a:rPr>
              <a:t>3.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 Collier JJ </a:t>
            </a:r>
            <a:r>
              <a:rPr lang="de-DE" sz="600" i="1" dirty="0">
                <a:solidFill>
                  <a:srgbClr val="404040"/>
                </a:solidFill>
                <a:ea typeface="Arial"/>
                <a:cs typeface="Arial"/>
              </a:rPr>
              <a:t>et al. Diabetes Obes </a:t>
            </a:r>
            <a:r>
              <a:rPr lang="de-DE" sz="600" i="1" dirty="0" err="1">
                <a:solidFill>
                  <a:srgbClr val="404040"/>
                </a:solidFill>
                <a:ea typeface="Arial"/>
                <a:cs typeface="Arial"/>
              </a:rPr>
              <a:t>Metab</a:t>
            </a:r>
            <a:r>
              <a:rPr lang="de-DE" sz="600" i="1" dirty="0">
                <a:solidFill>
                  <a:srgbClr val="404040"/>
                </a:solidFill>
                <a:ea typeface="Arial"/>
                <a:cs typeface="Arial"/>
              </a:rPr>
              <a:t> 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2025; 27: 4092–101.</a:t>
            </a:r>
            <a:endParaRPr lang="da-DK" sz="600" dirty="0">
              <a:solidFill>
                <a:srgbClr val="404040"/>
              </a:solidFill>
              <a:ea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392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martArt-Platzhalter 2">
            <a:extLst>
              <a:ext uri="{FF2B5EF4-FFF2-40B4-BE49-F238E27FC236}">
                <a16:creationId xmlns:a16="http://schemas.microsoft.com/office/drawing/2014/main" id="{4D90A5CC-2833-A3B7-4830-E69DF909895D}"/>
              </a:ext>
            </a:extLst>
          </p:cNvPr>
          <p:cNvSpPr>
            <a:spLocks noGrp="1"/>
          </p:cNvSpPr>
          <p:nvPr>
            <p:ph type="dgm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SmartArt-Platzhalter 7">
            <a:extLst>
              <a:ext uri="{FF2B5EF4-FFF2-40B4-BE49-F238E27FC236}">
                <a16:creationId xmlns:a16="http://schemas.microsoft.com/office/drawing/2014/main" id="{7526D9B7-C59F-2576-C09B-4FB5A6CFA385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0572CD0-AEC8-B944-1B4E-95069F5B3DC4}"/>
              </a:ext>
            </a:extLst>
          </p:cNvPr>
          <p:cNvSpPr txBox="1"/>
          <p:nvPr/>
        </p:nvSpPr>
        <p:spPr>
          <a:xfrm>
            <a:off x="2344467" y="4790364"/>
            <a:ext cx="445506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</a:rPr>
              <a:t>Sanofi-Aventis Deutschland GmbH l </a:t>
            </a:r>
            <a:r>
              <a:rPr lang="de-DE" sz="1000" dirty="0" err="1">
                <a:solidFill>
                  <a:schemeClr val="bg1"/>
                </a:solidFill>
              </a:rPr>
              <a:t>Lützowstr</a:t>
            </a:r>
            <a:r>
              <a:rPr lang="de-DE" sz="1000" dirty="0">
                <a:solidFill>
                  <a:schemeClr val="bg1"/>
                </a:solidFill>
              </a:rPr>
              <a:t>. 107 l 10785 Berlin</a:t>
            </a:r>
          </a:p>
        </p:txBody>
      </p:sp>
      <p:pic>
        <p:nvPicPr>
          <p:cNvPr id="4" name="Grafik 3" descr="Start Silhouette">
            <a:hlinkClick r:id="rId2" action="ppaction://hlinksldjump"/>
            <a:extLst>
              <a:ext uri="{FF2B5EF4-FFF2-40B4-BE49-F238E27FC236}">
                <a16:creationId xmlns:a16="http://schemas.microsoft.com/office/drawing/2014/main" id="{5C5E6788-80F6-A19C-B596-47FB9B88F2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3733" y="4486442"/>
            <a:ext cx="558465" cy="55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031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2937C1-9096-3C3C-A6C2-217494D0DE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3617" y="117193"/>
            <a:ext cx="8476488" cy="463296"/>
          </a:xfrm>
        </p:spPr>
        <p:txBody>
          <a:bodyPr/>
          <a:lstStyle/>
          <a:p>
            <a:r>
              <a:rPr lang="de-DE" sz="2000" b="1" dirty="0">
                <a:solidFill>
                  <a:srgbClr val="7030A0"/>
                </a:solidFill>
                <a:latin typeface="+mj-lt"/>
              </a:rPr>
              <a:t>Klassifikation des Diabetes</a:t>
            </a:r>
            <a:r>
              <a:rPr lang="de-DE" sz="2000" b="1" baseline="30000" dirty="0">
                <a:solidFill>
                  <a:srgbClr val="7030A0"/>
                </a:solidFill>
                <a:latin typeface="+mj-lt"/>
              </a:rPr>
              <a:t>1</a:t>
            </a:r>
          </a:p>
        </p:txBody>
      </p:sp>
      <p:graphicFrame>
        <p:nvGraphicFramePr>
          <p:cNvPr id="7" name="Inhaltsplatzhalter 3">
            <a:extLst>
              <a:ext uri="{FF2B5EF4-FFF2-40B4-BE49-F238E27FC236}">
                <a16:creationId xmlns:a16="http://schemas.microsoft.com/office/drawing/2014/main" id="{E8713A0E-406C-BB4A-C3E4-E21CBDCA0DF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1802265"/>
              </p:ext>
            </p:extLst>
          </p:nvPr>
        </p:nvGraphicFramePr>
        <p:xfrm>
          <a:off x="1394436" y="646176"/>
          <a:ext cx="6297216" cy="4009968"/>
        </p:xfrm>
        <a:graphic>
          <a:graphicData uri="http://schemas.openxmlformats.org/drawingml/2006/table">
            <a:tbl>
              <a:tblPr/>
              <a:tblGrid>
                <a:gridCol w="6297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90492">
                <a:tc>
                  <a:txBody>
                    <a:bodyPr/>
                    <a:lstStyle>
                      <a:lvl1pPr defTabSz="457200" eaLnBrk="0" hangingPunct="0">
                        <a:spcBef>
                          <a:spcPts val="775"/>
                        </a:spcBef>
                        <a:buSzPct val="100000"/>
                        <a:buFont typeface="Arial" pitchFamily="34" charset="0"/>
                        <a:defRPr sz="2700"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1pPr>
                      <a:lvl2pPr marL="742950" indent="-285750" defTabSz="457200" eaLnBrk="0" hangingPunct="0">
                        <a:spcBef>
                          <a:spcPts val="638"/>
                        </a:spcBef>
                        <a:buSzPct val="100000"/>
                        <a:buFont typeface="Arial" pitchFamily="34" charset="0"/>
                        <a:defRPr sz="2300"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2pPr>
                      <a:lvl3pPr marL="1143000" indent="-228600" defTabSz="457200" eaLnBrk="0" hangingPunct="0">
                        <a:spcBef>
                          <a:spcPts val="563"/>
                        </a:spcBef>
                        <a:buSzPct val="100000"/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3pPr>
                      <a:lvl4pPr marL="1600200" indent="-228600" defTabSz="457200" eaLnBrk="0" hangingPunct="0">
                        <a:spcBef>
                          <a:spcPts val="488"/>
                        </a:spcBef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4pPr>
                      <a:lvl5pPr marL="2057400" indent="-228600" defTabSz="457200" eaLnBrk="0" hangingPunct="0">
                        <a:spcBef>
                          <a:spcPts val="488"/>
                        </a:spcBef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488"/>
                        </a:spcBef>
                        <a:spcAft>
                          <a:spcPct val="0"/>
                        </a:spcAft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488"/>
                        </a:spcBef>
                        <a:spcAft>
                          <a:spcPct val="0"/>
                        </a:spcAft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488"/>
                        </a:spcBef>
                        <a:spcAft>
                          <a:spcPct val="0"/>
                        </a:spcAft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488"/>
                        </a:spcBef>
                        <a:spcAft>
                          <a:spcPct val="0"/>
                        </a:spcAft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de-DE" altLang="de-DE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Typ-1-Diabetes </a:t>
                      </a:r>
                      <a:r>
                        <a:rPr kumimoji="0" lang="de-DE" altLang="de-DE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(Insulinmangel)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F20"/>
                        </a:buClr>
                        <a:buSzPct val="11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 Immunologisch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F20"/>
                        </a:buClr>
                        <a:buSzPct val="11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 Idiopathisch</a:t>
                      </a:r>
                    </a:p>
                  </a:txBody>
                  <a:tcPr marL="68581" marR="68581" marT="34283" marB="3428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EC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0011">
                <a:tc>
                  <a:txBody>
                    <a:bodyPr/>
                    <a:lstStyle>
                      <a:lvl1pPr defTabSz="457200" eaLnBrk="0" hangingPunct="0">
                        <a:spcBef>
                          <a:spcPts val="775"/>
                        </a:spcBef>
                        <a:buSzPct val="100000"/>
                        <a:buFont typeface="Arial" pitchFamily="34" charset="0"/>
                        <a:defRPr sz="2700"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1pPr>
                      <a:lvl2pPr marL="742950" indent="-285750" defTabSz="457200" eaLnBrk="0" hangingPunct="0">
                        <a:spcBef>
                          <a:spcPts val="638"/>
                        </a:spcBef>
                        <a:buSzPct val="100000"/>
                        <a:buFont typeface="Arial" pitchFamily="34" charset="0"/>
                        <a:defRPr sz="2300"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2pPr>
                      <a:lvl3pPr marL="1143000" indent="-228600" defTabSz="457200" eaLnBrk="0" hangingPunct="0">
                        <a:spcBef>
                          <a:spcPts val="563"/>
                        </a:spcBef>
                        <a:buSzPct val="100000"/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3pPr>
                      <a:lvl4pPr marL="1600200" indent="-228600" defTabSz="457200" eaLnBrk="0" hangingPunct="0">
                        <a:spcBef>
                          <a:spcPts val="488"/>
                        </a:spcBef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4pPr>
                      <a:lvl5pPr marL="2057400" indent="-228600" defTabSz="457200" eaLnBrk="0" hangingPunct="0">
                        <a:spcBef>
                          <a:spcPts val="488"/>
                        </a:spcBef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488"/>
                        </a:spcBef>
                        <a:spcAft>
                          <a:spcPct val="0"/>
                        </a:spcAft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488"/>
                        </a:spcBef>
                        <a:spcAft>
                          <a:spcPct val="0"/>
                        </a:spcAft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488"/>
                        </a:spcBef>
                        <a:spcAft>
                          <a:spcPct val="0"/>
                        </a:spcAft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488"/>
                        </a:spcBef>
                        <a:spcAft>
                          <a:spcPct val="0"/>
                        </a:spcAft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de-DE" altLang="de-DE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Typ-2-Diabetes </a:t>
                      </a:r>
                      <a:r>
                        <a:rPr kumimoji="0" lang="de-DE" altLang="de-DE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(Insulinresistenz, Insulinsekretion vermindert)</a:t>
                      </a:r>
                    </a:p>
                  </a:txBody>
                  <a:tcPr marL="68581" marR="68581" marT="34283" marB="3428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6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19454">
                <a:tc>
                  <a:txBody>
                    <a:bodyPr/>
                    <a:lstStyle>
                      <a:lvl1pPr defTabSz="457200" eaLnBrk="0" hangingPunct="0">
                        <a:spcBef>
                          <a:spcPts val="775"/>
                        </a:spcBef>
                        <a:buSzPct val="100000"/>
                        <a:buFont typeface="Arial" pitchFamily="34" charset="0"/>
                        <a:defRPr sz="2700"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1pPr>
                      <a:lvl2pPr marL="742950" indent="-285750" defTabSz="457200" eaLnBrk="0" hangingPunct="0">
                        <a:spcBef>
                          <a:spcPts val="638"/>
                        </a:spcBef>
                        <a:buSzPct val="100000"/>
                        <a:buFont typeface="Arial" pitchFamily="34" charset="0"/>
                        <a:defRPr sz="2300"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2pPr>
                      <a:lvl3pPr marL="1143000" indent="-228600" defTabSz="457200" eaLnBrk="0" hangingPunct="0">
                        <a:spcBef>
                          <a:spcPts val="563"/>
                        </a:spcBef>
                        <a:buSzPct val="100000"/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3pPr>
                      <a:lvl4pPr marL="1600200" indent="-228600" defTabSz="457200" eaLnBrk="0" hangingPunct="0">
                        <a:spcBef>
                          <a:spcPts val="488"/>
                        </a:spcBef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4pPr>
                      <a:lvl5pPr marL="2057400" indent="-228600" defTabSz="457200" eaLnBrk="0" hangingPunct="0">
                        <a:spcBef>
                          <a:spcPts val="488"/>
                        </a:spcBef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488"/>
                        </a:spcBef>
                        <a:spcAft>
                          <a:spcPct val="0"/>
                        </a:spcAft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488"/>
                        </a:spcBef>
                        <a:spcAft>
                          <a:spcPct val="0"/>
                        </a:spcAft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488"/>
                        </a:spcBef>
                        <a:spcAft>
                          <a:spcPct val="0"/>
                        </a:spcAft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488"/>
                        </a:spcBef>
                        <a:spcAft>
                          <a:spcPct val="0"/>
                        </a:spcAft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Typ-3-Diabetes </a:t>
                      </a:r>
                      <a:r>
                        <a:rPr kumimoji="0" lang="de-DE" altLang="de-DE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(Sonder- und Sekundärformen) 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F20"/>
                        </a:buClr>
                        <a:buSzPct val="11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de-DE" altLang="de-DE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Genetische Defekte der ß-Zell-Funktion (MODY)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F20"/>
                        </a:buClr>
                        <a:buSzPct val="11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 Genetische Defekte der Insulinwirkung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F20"/>
                        </a:buClr>
                        <a:buSzPct val="11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 Erkrankungen des Pankreas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F20"/>
                        </a:buClr>
                        <a:buSzPct val="11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de-DE" altLang="de-DE" sz="14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Endokrinopathien</a:t>
                      </a:r>
                      <a:endParaRPr kumimoji="0" lang="de-DE" altLang="de-DE" sz="1400" b="0" i="0" u="none" strike="noStrike" cap="none" normalizeH="0" baseline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F20"/>
                        </a:buClr>
                        <a:buSzPct val="11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 Medikamenteninduziert (Kortison, Posttransplantationsdiabetes)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F20"/>
                        </a:buClr>
                        <a:buSzPct val="11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 Infektionen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F20"/>
                        </a:buClr>
                        <a:buSzPct val="11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 genetische Syndrome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   (Trisomie 21, </a:t>
                      </a:r>
                      <a:r>
                        <a:rPr kumimoji="0" lang="de-DE" altLang="de-DE" sz="14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Prader</a:t>
                      </a:r>
                      <a: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-Willi-S., Wolfram-Syndrom)</a:t>
                      </a:r>
                    </a:p>
                  </a:txBody>
                  <a:tcPr marL="68581" marR="68581" marT="34283" marB="3428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EC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0011">
                <a:tc>
                  <a:txBody>
                    <a:bodyPr/>
                    <a:lstStyle>
                      <a:lvl1pPr defTabSz="457200" eaLnBrk="0" hangingPunct="0">
                        <a:spcBef>
                          <a:spcPts val="775"/>
                        </a:spcBef>
                        <a:buSzPct val="100000"/>
                        <a:buFont typeface="Arial" pitchFamily="34" charset="0"/>
                        <a:defRPr sz="2700"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1pPr>
                      <a:lvl2pPr marL="742950" indent="-285750" defTabSz="457200" eaLnBrk="0" hangingPunct="0">
                        <a:spcBef>
                          <a:spcPts val="638"/>
                        </a:spcBef>
                        <a:buSzPct val="100000"/>
                        <a:buFont typeface="Arial" pitchFamily="34" charset="0"/>
                        <a:defRPr sz="2300"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2pPr>
                      <a:lvl3pPr marL="1143000" indent="-228600" defTabSz="457200" eaLnBrk="0" hangingPunct="0">
                        <a:spcBef>
                          <a:spcPts val="563"/>
                        </a:spcBef>
                        <a:buSzPct val="100000"/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3pPr>
                      <a:lvl4pPr marL="1600200" indent="-228600" defTabSz="457200" eaLnBrk="0" hangingPunct="0">
                        <a:spcBef>
                          <a:spcPts val="488"/>
                        </a:spcBef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4pPr>
                      <a:lvl5pPr marL="2057400" indent="-228600" defTabSz="457200" eaLnBrk="0" hangingPunct="0">
                        <a:spcBef>
                          <a:spcPts val="488"/>
                        </a:spcBef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488"/>
                        </a:spcBef>
                        <a:spcAft>
                          <a:spcPct val="0"/>
                        </a:spcAft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488"/>
                        </a:spcBef>
                        <a:spcAft>
                          <a:spcPct val="0"/>
                        </a:spcAft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488"/>
                        </a:spcBef>
                        <a:spcAft>
                          <a:spcPct val="0"/>
                        </a:spcAft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488"/>
                        </a:spcBef>
                        <a:spcAft>
                          <a:spcPct val="0"/>
                        </a:spcAft>
                        <a:buSzPct val="100000"/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ＭＳ Ｐゴシック" pitchFamily="34" charset="-128"/>
                          <a:sym typeface="Aria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de-DE" altLang="de-DE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Typ-4-Diabetes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F20"/>
                        </a:buClr>
                        <a:buSzPct val="11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de-DE" altLang="de-DE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Gestationsdiabetes</a:t>
                      </a:r>
                    </a:p>
                  </a:txBody>
                  <a:tcPr marL="68581" marR="68581" marT="34283" marB="3428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6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B7152C26-284E-E258-D2A7-BCD385DF5353}"/>
              </a:ext>
            </a:extLst>
          </p:cNvPr>
          <p:cNvSpPr/>
          <p:nvPr/>
        </p:nvSpPr>
        <p:spPr>
          <a:xfrm>
            <a:off x="1394436" y="646176"/>
            <a:ext cx="6297216" cy="4009968"/>
          </a:xfrm>
          <a:prstGeom prst="rect">
            <a:avLst/>
          </a:pr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Box 3037">
            <a:extLst>
              <a:ext uri="{FF2B5EF4-FFF2-40B4-BE49-F238E27FC236}">
                <a16:creationId xmlns:a16="http://schemas.microsoft.com/office/drawing/2014/main" id="{1ED94C26-0643-63A8-B597-3E79E4050CDF}"/>
              </a:ext>
            </a:extLst>
          </p:cNvPr>
          <p:cNvSpPr txBox="1"/>
          <p:nvPr/>
        </p:nvSpPr>
        <p:spPr>
          <a:xfrm>
            <a:off x="304800" y="4842791"/>
            <a:ext cx="8324850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685766">
              <a:buClr>
                <a:srgbClr val="2F4B95"/>
              </a:buClr>
              <a:defRPr/>
            </a:pPr>
            <a:r>
              <a:rPr lang="de-DE" sz="600" b="1" dirty="0">
                <a:solidFill>
                  <a:srgbClr val="404040"/>
                </a:solidFill>
                <a:ea typeface="Arial"/>
                <a:cs typeface="Arial"/>
              </a:rPr>
              <a:t>1. </a:t>
            </a:r>
            <a:r>
              <a:rPr lang="de-DE" sz="600" dirty="0" err="1">
                <a:solidFill>
                  <a:srgbClr val="404040"/>
                </a:solidFill>
                <a:ea typeface="Arial"/>
                <a:cs typeface="Arial"/>
              </a:rPr>
              <a:t>Kittlas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 V. Welche Diabetes-Typen gibt es? </a:t>
            </a:r>
            <a:r>
              <a:rPr lang="de-DE" sz="600" dirty="0" err="1">
                <a:solidFill>
                  <a:srgbClr val="404040"/>
                </a:solidFill>
                <a:ea typeface="Arial"/>
                <a:cs typeface="Arial"/>
              </a:rPr>
              <a:t>Medpertise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 Gesundheitsinfos. Zuletzt aktualisiert am 15.06.2020</a:t>
            </a:r>
            <a:r>
              <a:rPr lang="da-DK" sz="600" dirty="0">
                <a:solidFill>
                  <a:srgbClr val="404040"/>
                </a:solidFill>
                <a:ea typeface="Arial"/>
                <a:cs typeface="Arial"/>
              </a:rPr>
              <a:t>. Erhältlich unter: </a:t>
            </a:r>
            <a:r>
              <a:rPr lang="da-DK" sz="600" dirty="0">
                <a:solidFill>
                  <a:srgbClr val="404040"/>
                </a:solidFill>
                <a:ea typeface="Arial"/>
                <a:cs typeface="Arial"/>
                <a:hlinkClick r:id="rId2"/>
              </a:rPr>
              <a:t>https://www.medpertise.de/diabetes-mellitus/diabetes-typen/</a:t>
            </a:r>
            <a:r>
              <a:rPr lang="da-DK" sz="600" dirty="0">
                <a:solidFill>
                  <a:srgbClr val="404040"/>
                </a:solidFill>
                <a:ea typeface="Arial"/>
                <a:cs typeface="Arial"/>
              </a:rPr>
              <a:t>. Zuletzt abgerufen am 12.01.2026.</a:t>
            </a:r>
          </a:p>
        </p:txBody>
      </p:sp>
    </p:spTree>
    <p:extLst>
      <p:ext uri="{BB962C8B-B14F-4D97-AF65-F5344CB8AC3E}">
        <p14:creationId xmlns:p14="http://schemas.microsoft.com/office/powerpoint/2010/main" val="2074333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2937C1-9096-3C3C-A6C2-217494D0DE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3617" y="115278"/>
            <a:ext cx="8476488" cy="463296"/>
          </a:xfrm>
        </p:spPr>
        <p:txBody>
          <a:bodyPr/>
          <a:lstStyle/>
          <a:p>
            <a:r>
              <a:rPr lang="de-DE" sz="2000" b="1" dirty="0">
                <a:solidFill>
                  <a:srgbClr val="7030A0"/>
                </a:solidFill>
                <a:latin typeface="+mj-lt"/>
              </a:rPr>
              <a:t>Klinische Diagnose des Typ-1-Diabetes</a:t>
            </a:r>
            <a:r>
              <a:rPr lang="de-DE" sz="2000" b="1" baseline="30000" dirty="0">
                <a:solidFill>
                  <a:srgbClr val="7030A0"/>
                </a:solidFill>
                <a:latin typeface="+mj-lt"/>
              </a:rPr>
              <a:t>1</a:t>
            </a:r>
          </a:p>
        </p:txBody>
      </p:sp>
      <p:pic>
        <p:nvPicPr>
          <p:cNvPr id="3" name="Grafik 2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9EEE0138-4B2F-3EB2-3710-F05656F5AE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1523" y="1054735"/>
            <a:ext cx="5680954" cy="2508828"/>
          </a:xfrm>
          <a:prstGeom prst="rect">
            <a:avLst/>
          </a:prstGeom>
        </p:spPr>
      </p:pic>
      <p:pic>
        <p:nvPicPr>
          <p:cNvPr id="5" name="Grafik 4" descr="Ein Bild, das Text, Screenshot, Schrift, Reihe enthält.&#10;&#10;Automatisch generierte Beschreibung">
            <a:extLst>
              <a:ext uri="{FF2B5EF4-FFF2-40B4-BE49-F238E27FC236}">
                <a16:creationId xmlns:a16="http://schemas.microsoft.com/office/drawing/2014/main" id="{A045540A-2CFB-54EB-1B3A-FFC33BE798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1523" y="3480875"/>
            <a:ext cx="5680954" cy="1319447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038B319-E43F-32FA-776D-26D687F484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1523" y="635516"/>
            <a:ext cx="5680955" cy="419219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C86BE2CE-D555-CFAE-E68C-6828085D243E}"/>
              </a:ext>
            </a:extLst>
          </p:cNvPr>
          <p:cNvSpPr/>
          <p:nvPr/>
        </p:nvSpPr>
        <p:spPr>
          <a:xfrm>
            <a:off x="1731523" y="635516"/>
            <a:ext cx="5680954" cy="4164806"/>
          </a:xfrm>
          <a:prstGeom prst="rect">
            <a:avLst/>
          </a:pr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93FC465-0BD2-7370-19FC-3FEF1EEA2CDC}"/>
              </a:ext>
            </a:extLst>
          </p:cNvPr>
          <p:cNvSpPr/>
          <p:nvPr/>
        </p:nvSpPr>
        <p:spPr>
          <a:xfrm>
            <a:off x="1776920" y="3783127"/>
            <a:ext cx="907914" cy="21911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B766304-7C8B-C4F6-853F-0EB5D88D7DC3}"/>
              </a:ext>
            </a:extLst>
          </p:cNvPr>
          <p:cNvSpPr/>
          <p:nvPr/>
        </p:nvSpPr>
        <p:spPr>
          <a:xfrm>
            <a:off x="1776920" y="4031042"/>
            <a:ext cx="3359284" cy="21911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D00D380-33CD-0BBF-A732-BD3A3C97AB06}"/>
              </a:ext>
            </a:extLst>
          </p:cNvPr>
          <p:cNvSpPr/>
          <p:nvPr/>
        </p:nvSpPr>
        <p:spPr>
          <a:xfrm>
            <a:off x="1776920" y="4273305"/>
            <a:ext cx="3412786" cy="21911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4246FA-EF67-43AD-BBE0-F3916EBEC5FA}"/>
              </a:ext>
            </a:extLst>
          </p:cNvPr>
          <p:cNvSpPr/>
          <p:nvPr/>
        </p:nvSpPr>
        <p:spPr>
          <a:xfrm>
            <a:off x="1776920" y="4515568"/>
            <a:ext cx="2960450" cy="21911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Box 3037">
            <a:extLst>
              <a:ext uri="{FF2B5EF4-FFF2-40B4-BE49-F238E27FC236}">
                <a16:creationId xmlns:a16="http://schemas.microsoft.com/office/drawing/2014/main" id="{023A1005-DE92-6F65-D3AF-3368E86F408F}"/>
              </a:ext>
            </a:extLst>
          </p:cNvPr>
          <p:cNvSpPr txBox="1"/>
          <p:nvPr/>
        </p:nvSpPr>
        <p:spPr>
          <a:xfrm>
            <a:off x="304800" y="4843098"/>
            <a:ext cx="8324850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685766">
              <a:buClr>
                <a:srgbClr val="2F4B95"/>
              </a:buClr>
              <a:defRPr/>
            </a:pPr>
            <a:r>
              <a:rPr lang="de-DE" sz="600" b="1" dirty="0">
                <a:solidFill>
                  <a:srgbClr val="404040"/>
                </a:solidFill>
                <a:ea typeface="Arial"/>
                <a:cs typeface="Arial"/>
              </a:rPr>
              <a:t>1. 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DDG 2023. S3-Leitlinie: Diagnostik, Therapie und Verlaufskontrolle des Diabetes mellitus im Kindes- und Jugendalter, AWMF-Registernummer: 057-016</a:t>
            </a:r>
            <a:r>
              <a:rPr lang="da-DK" sz="600" dirty="0">
                <a:solidFill>
                  <a:srgbClr val="404040"/>
                </a:solidFill>
                <a:ea typeface="Arial"/>
                <a:cs typeface="Arial"/>
              </a:rPr>
              <a:t>. 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Erhältlich unter: 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  <a:hlinkClick r:id="rId5"/>
              </a:rPr>
              <a:t>https://www.ddg.info/behandlung-leitlinien/leitlinien-praxisempfehlungen</a:t>
            </a:r>
            <a:r>
              <a:rPr lang="de-DE" sz="600" dirty="0">
                <a:solidFill>
                  <a:srgbClr val="404040"/>
                </a:solidFill>
                <a:ea typeface="Arial"/>
                <a:cs typeface="Arial"/>
              </a:rPr>
              <a:t>. Zuletzt abgerufen am 12.01.2026.</a:t>
            </a:r>
            <a:endParaRPr lang="da-DK" sz="600" dirty="0">
              <a:solidFill>
                <a:srgbClr val="404040"/>
              </a:solidFill>
              <a:ea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89859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">
            <a:extLst>
              <a:ext uri="{FF2B5EF4-FFF2-40B4-BE49-F238E27FC236}">
                <a16:creationId xmlns:a16="http://schemas.microsoft.com/office/drawing/2014/main" id="{C99C904C-27AB-7B85-15FC-48494E7B1E9F}"/>
              </a:ext>
            </a:extLst>
          </p:cNvPr>
          <p:cNvSpPr txBox="1">
            <a:spLocks/>
          </p:cNvSpPr>
          <p:nvPr/>
        </p:nvSpPr>
        <p:spPr>
          <a:xfrm>
            <a:off x="320841" y="112075"/>
            <a:ext cx="8476488" cy="463296"/>
          </a:xfrm>
          <a:prstGeom prst="rect">
            <a:avLst/>
          </a:prstGeom>
        </p:spPr>
        <p:txBody>
          <a:bodyPr/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800" b="0" i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6794" indent="-22679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Tx/>
              <a:buBlip>
                <a:blip r:embed="rId3"/>
              </a:buBlip>
              <a:defRPr lang="en-US" sz="1600" b="1" i="0" kern="1200" noProof="0" dirty="0">
                <a:solidFill>
                  <a:srgbClr val="1D3160"/>
                </a:solidFill>
                <a:latin typeface="+mn-lt"/>
                <a:ea typeface="+mn-ea"/>
                <a:cs typeface="+mn-cs"/>
              </a:defRPr>
            </a:lvl2pPr>
            <a:lvl3pPr marL="457189" indent="-22679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lang="en-US" sz="1600" b="0" i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3983" indent="-226794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lang="en-US" sz="1400" b="0" i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400" b="0" i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1" dirty="0">
                <a:solidFill>
                  <a:srgbClr val="7030A0"/>
                </a:solidFill>
                <a:latin typeface="+mj-lt"/>
              </a:rPr>
              <a:t>Eine neue Perspektive auf Typ-1-Diabete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69604C6-149B-CAE8-1777-FFC7F44B39AE}"/>
              </a:ext>
            </a:extLst>
          </p:cNvPr>
          <p:cNvSpPr/>
          <p:nvPr/>
        </p:nvSpPr>
        <p:spPr>
          <a:xfrm>
            <a:off x="2267846" y="3939702"/>
            <a:ext cx="6513441" cy="369651"/>
          </a:xfrm>
          <a:prstGeom prst="rect">
            <a:avLst/>
          </a:prstGeom>
          <a:solidFill>
            <a:srgbClr val="99B5D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842" name="Inhaltsplatzhalter 2">
            <a:extLst>
              <a:ext uri="{FF2B5EF4-FFF2-40B4-BE49-F238E27FC236}">
                <a16:creationId xmlns:a16="http://schemas.microsoft.com/office/drawing/2014/main" id="{F45EE2B8-D47F-024C-ACC6-CF8B84B62E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auto">
          <a:xfrm>
            <a:off x="379663" y="1008252"/>
            <a:ext cx="8429861" cy="240129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marL="22217" indent="0">
              <a:spcBef>
                <a:spcPts val="450"/>
              </a:spcBef>
              <a:buNone/>
            </a:pPr>
            <a:r>
              <a:rPr lang="en-US" altLang="de-DE" sz="1500" dirty="0">
                <a:ea typeface="Arial" charset="0"/>
                <a:cs typeface="Arial" charset="0"/>
              </a:rPr>
              <a:t>„Diabetes is a heterogeneous, complex </a:t>
            </a:r>
            <a:r>
              <a:rPr lang="en-US" altLang="de-DE" sz="1500" b="1" dirty="0">
                <a:ea typeface="Arial" charset="0"/>
                <a:cs typeface="Arial" charset="0"/>
              </a:rPr>
              <a:t>metabolic disorder </a:t>
            </a:r>
            <a:r>
              <a:rPr lang="en-US" altLang="de-DE" sz="1500" dirty="0">
                <a:ea typeface="Arial" charset="0"/>
                <a:cs typeface="Arial" charset="0"/>
              </a:rPr>
              <a:t>characterized by elevated blood glucose concentrations secondary to either resistance to the action of insulin, insufficient insulin secretion, or both. The most common classifications include Type 1 diabetes mellitus, Type 2 diabetes mellitus, and gestational diabetes.“</a:t>
            </a:r>
          </a:p>
          <a:p>
            <a:pPr marL="22217" indent="0">
              <a:spcBef>
                <a:spcPts val="450"/>
              </a:spcBef>
              <a:buNone/>
            </a:pPr>
            <a:r>
              <a:rPr lang="de-DE" sz="1500" dirty="0">
                <a:ea typeface="Arial" charset="0"/>
                <a:cs typeface="Arial" charset="0"/>
              </a:rPr>
              <a:t>									</a:t>
            </a:r>
            <a:r>
              <a:rPr lang="de-DE" sz="1100" dirty="0">
                <a:ea typeface="Arial" charset="0"/>
                <a:cs typeface="Arial" charset="0"/>
              </a:rPr>
              <a:t>Solis-Herrera et al. 2018</a:t>
            </a:r>
            <a:r>
              <a:rPr lang="de-DE" sz="1100" baseline="30000" dirty="0">
                <a:ea typeface="Arial" charset="0"/>
                <a:cs typeface="Arial" charset="0"/>
              </a:rPr>
              <a:t>1</a:t>
            </a:r>
            <a:endParaRPr lang="de-DE" altLang="de-DE" sz="1500" dirty="0">
              <a:ea typeface="Arial" charset="0"/>
              <a:cs typeface="Arial" charset="0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412AD53-38F4-A72A-5EA5-3EC9C7872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939" y="605871"/>
            <a:ext cx="8482186" cy="49132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79" tIns="34289" rIns="68579" bIns="34289" rtlCol="0" anchor="ctr">
            <a:noAutofit/>
          </a:bodyPr>
          <a:lstStyle/>
          <a:p>
            <a:pPr algn="l"/>
            <a:r>
              <a:rPr lang="de-DE" altLang="de-DE" sz="1600" dirty="0">
                <a:solidFill>
                  <a:schemeClr val="accent1">
                    <a:lumMod val="50000"/>
                    <a:lumOff val="50000"/>
                  </a:schemeClr>
                </a:solidFill>
                <a:latin typeface="+mn-lt"/>
                <a:ea typeface="Arial" charset="0"/>
                <a:cs typeface="Arial" charset="0"/>
              </a:rPr>
              <a:t>Fokuswechsel von einer metabolischen Störung zu einer Autoimmunerkrankung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62A735D-EC1E-4524-8DE6-033F6BDDDCDF}"/>
              </a:ext>
            </a:extLst>
          </p:cNvPr>
          <p:cNvSpPr txBox="1">
            <a:spLocks/>
          </p:cNvSpPr>
          <p:nvPr/>
        </p:nvSpPr>
        <p:spPr bwMode="auto">
          <a:xfrm>
            <a:off x="1408685" y="2398064"/>
            <a:ext cx="7482254" cy="1233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2" tIns="45701" rIns="91402" bIns="45701" numCol="1" rtlCol="0" anchor="t" anchorCtr="0" compatLnSpc="1">
            <a:prstTxWarp prst="textNoShape">
              <a:avLst/>
            </a:prstTxWarp>
            <a:noAutofit/>
          </a:bodyPr>
          <a:lstStyle>
            <a:lvl1pPr marL="355450" indent="-325828" algn="l" rtl="0" eaLnBrk="1" fontAlgn="base" hangingPunct="1">
              <a:spcBef>
                <a:spcPts val="1600"/>
              </a:spcBef>
              <a:spcAft>
                <a:spcPts val="800"/>
              </a:spcAft>
              <a:buClr>
                <a:srgbClr val="008000"/>
              </a:buClr>
              <a:buSzPct val="100000"/>
              <a:buFont typeface="Arial" panose="020B0604020202020204" pitchFamily="34" charset="0"/>
              <a:buChar char="•"/>
              <a:defRPr sz="27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  <a:sym typeface="Arial" panose="020B0604020202020204" pitchFamily="34" charset="0"/>
              </a:defRPr>
            </a:lvl1pPr>
            <a:lvl2pPr marL="721478" indent="-366028" algn="l" rtl="0" eaLnBrk="1" fontAlgn="base" hangingPunct="1">
              <a:spcBef>
                <a:spcPts val="800"/>
              </a:spcBef>
              <a:spcAft>
                <a:spcPts val="800"/>
              </a:spcAft>
              <a:buClr>
                <a:srgbClr val="008000"/>
              </a:buClr>
              <a:buSzPct val="100000"/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+mn-lt"/>
                <a:ea typeface="MS PGothic" pitchFamily="34" charset="-128"/>
                <a:sym typeface="Arial" panose="020B0604020202020204" pitchFamily="34" charset="0"/>
              </a:defRPr>
            </a:lvl2pPr>
            <a:lvl3pPr marL="1076928" indent="-355450" algn="l" rtl="0" eaLnBrk="1" fontAlgn="base" hangingPunct="1">
              <a:spcBef>
                <a:spcPts val="400"/>
              </a:spcBef>
              <a:spcAft>
                <a:spcPts val="400"/>
              </a:spcAft>
              <a:buClr>
                <a:srgbClr val="008000"/>
              </a:buClr>
              <a:buSzPct val="100000"/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+mn-lt"/>
                <a:ea typeface="MS PGothic" pitchFamily="34" charset="-128"/>
                <a:sym typeface="Arial" panose="020B0604020202020204" pitchFamily="34" charset="0"/>
              </a:defRPr>
            </a:lvl3pPr>
            <a:lvl4pPr marL="1432378" indent="-336408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8000"/>
              </a:buClr>
              <a:buSzPct val="100000"/>
              <a:buFont typeface="Arial" panose="020B0604020202020204" pitchFamily="34" charset="0"/>
              <a:buChar char="–"/>
              <a:defRPr sz="1900">
                <a:solidFill>
                  <a:schemeClr val="tx1"/>
                </a:solidFill>
                <a:latin typeface="+mn-lt"/>
                <a:ea typeface="MS PGothic" pitchFamily="34" charset="-128"/>
                <a:sym typeface="Arial" panose="020B0604020202020204" pitchFamily="34" charset="0"/>
              </a:defRPr>
            </a:lvl4pPr>
            <a:lvl5pPr marL="1787826" indent="-35545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8000"/>
              </a:buClr>
              <a:buSzPct val="100000"/>
              <a:buFont typeface="Arial" panose="020B0604020202020204" pitchFamily="34" charset="0"/>
              <a:buChar char="•"/>
              <a:defRPr sz="1900">
                <a:solidFill>
                  <a:schemeClr val="tx1"/>
                </a:solidFill>
                <a:latin typeface="+mn-lt"/>
                <a:ea typeface="MS PGothic" pitchFamily="34" charset="-128"/>
                <a:sym typeface="Arial" panose="020B0604020202020204" pitchFamily="34" charset="0"/>
              </a:defRPr>
            </a:lvl5pPr>
            <a:lvl6pPr marL="1929285" indent="-158659" algn="l" rtl="0" eaLnBrk="1" fontAlgn="base" hangingPunct="1">
              <a:spcBef>
                <a:spcPts val="488"/>
              </a:spcBef>
              <a:spcAft>
                <a:spcPct val="0"/>
              </a:spcAft>
              <a:buSzPct val="100000"/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Arial" pitchFamily="34" charset="0"/>
              </a:defRPr>
            </a:lvl6pPr>
            <a:lvl7pPr marL="2386223" indent="-158659" algn="l" rtl="0" eaLnBrk="1" fontAlgn="base" hangingPunct="1">
              <a:spcBef>
                <a:spcPts val="488"/>
              </a:spcBef>
              <a:spcAft>
                <a:spcPct val="0"/>
              </a:spcAft>
              <a:buSzPct val="100000"/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Arial" pitchFamily="34" charset="0"/>
              </a:defRPr>
            </a:lvl7pPr>
            <a:lvl8pPr marL="2843158" indent="-158659" algn="l" rtl="0" eaLnBrk="1" fontAlgn="base" hangingPunct="1">
              <a:spcBef>
                <a:spcPts val="488"/>
              </a:spcBef>
              <a:spcAft>
                <a:spcPct val="0"/>
              </a:spcAft>
              <a:buSzPct val="100000"/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Arial" pitchFamily="34" charset="0"/>
              </a:defRPr>
            </a:lvl8pPr>
            <a:lvl9pPr marL="3300093" indent="-158659" algn="l" rtl="0" eaLnBrk="1" fontAlgn="base" hangingPunct="1">
              <a:spcBef>
                <a:spcPts val="488"/>
              </a:spcBef>
              <a:spcAft>
                <a:spcPct val="0"/>
              </a:spcAft>
              <a:buSzPct val="100000"/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Arial" pitchFamily="34" charset="0"/>
              </a:defRPr>
            </a:lvl9pPr>
          </a:lstStyle>
          <a:p>
            <a:pPr marL="22217" indent="0" defTabSz="685800">
              <a:spcBef>
                <a:spcPts val="450"/>
              </a:spcBef>
              <a:spcAft>
                <a:spcPts val="600"/>
              </a:spcAft>
              <a:buNone/>
            </a:pPr>
            <a:r>
              <a:rPr lang="de-DE" altLang="de-DE" sz="1500" kern="0">
                <a:ea typeface="Arial" charset="0"/>
                <a:cs typeface="Arial" charset="0"/>
              </a:rPr>
              <a:t>„</a:t>
            </a:r>
            <a:r>
              <a:rPr lang="en-US" altLang="de-DE" sz="1500" kern="0">
                <a:ea typeface="Arial" charset="0"/>
                <a:cs typeface="Arial" charset="0"/>
              </a:rPr>
              <a:t>Autoimmune type 1 diabetes accounts for 5–10% of diabetes and is caused by </a:t>
            </a:r>
            <a:r>
              <a:rPr lang="en-US" altLang="de-DE" sz="1500" b="1" kern="0">
                <a:ea typeface="Arial" charset="0"/>
                <a:cs typeface="Arial" charset="0"/>
              </a:rPr>
              <a:t>autoimmune destruction </a:t>
            </a:r>
            <a:r>
              <a:rPr lang="en-US" altLang="de-DE" sz="1500" kern="0">
                <a:ea typeface="Arial" charset="0"/>
                <a:cs typeface="Arial" charset="0"/>
              </a:rPr>
              <a:t>of the </a:t>
            </a:r>
            <a:r>
              <a:rPr lang="en-US" altLang="de-DE" sz="1500" b="1" kern="0">
                <a:ea typeface="Arial" charset="0"/>
                <a:cs typeface="Arial" charset="0"/>
              </a:rPr>
              <a:t>pancreatic β-cells</a:t>
            </a:r>
            <a:r>
              <a:rPr lang="en-US" altLang="de-DE" sz="1500" kern="0">
                <a:ea typeface="Arial" charset="0"/>
                <a:cs typeface="Arial" charset="0"/>
              </a:rPr>
              <a:t>.“</a:t>
            </a:r>
          </a:p>
          <a:p>
            <a:pPr marL="22217" indent="0" defTabSz="685800">
              <a:spcBef>
                <a:spcPts val="450"/>
              </a:spcBef>
              <a:spcAft>
                <a:spcPts val="600"/>
              </a:spcAft>
              <a:buNone/>
            </a:pPr>
            <a:r>
              <a:rPr lang="en-US" sz="1800" kern="0">
                <a:ea typeface="Arial" charset="0"/>
                <a:cs typeface="Arial" charset="0"/>
              </a:rPr>
              <a:t>				</a:t>
            </a:r>
            <a:r>
              <a:rPr lang="de-DE" sz="1800" kern="0">
                <a:ea typeface="Arial" charset="0"/>
                <a:cs typeface="Arial" charset="0"/>
              </a:rPr>
              <a:t>					</a:t>
            </a:r>
            <a:r>
              <a:rPr lang="de-DE" sz="1100" kern="0">
                <a:ea typeface="Arial" charset="0"/>
                <a:cs typeface="Arial" charset="0"/>
              </a:rPr>
              <a:t>ADA 2024</a:t>
            </a:r>
            <a:r>
              <a:rPr lang="de-DE" sz="1100" kern="0" baseline="30000">
                <a:ea typeface="Arial" charset="0"/>
                <a:cs typeface="Arial" charset="0"/>
              </a:rPr>
              <a:t>2</a:t>
            </a:r>
            <a:br>
              <a:rPr lang="de-DE" sz="1200" kern="0">
                <a:ea typeface="Arial" charset="0"/>
                <a:cs typeface="Arial" charset="0"/>
              </a:rPr>
            </a:br>
            <a:endParaRPr lang="de-DE" altLang="de-DE" sz="1800" kern="0">
              <a:ea typeface="Arial" charset="0"/>
              <a:cs typeface="Arial" charset="0"/>
            </a:endParaRPr>
          </a:p>
          <a:p>
            <a:pPr marL="22217" indent="0" defTabSz="685800">
              <a:spcBef>
                <a:spcPts val="1200"/>
              </a:spcBef>
              <a:spcAft>
                <a:spcPts val="600"/>
              </a:spcAft>
              <a:buNone/>
            </a:pPr>
            <a:endParaRPr lang="de-DE" altLang="de-DE" sz="1800" kern="0">
              <a:ea typeface="Arial" charset="0"/>
              <a:cs typeface="Arial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B0758F0-3B52-A55C-63CC-EB86D0014629}"/>
              </a:ext>
            </a:extLst>
          </p:cNvPr>
          <p:cNvSpPr txBox="1"/>
          <p:nvPr/>
        </p:nvSpPr>
        <p:spPr>
          <a:xfrm>
            <a:off x="320841" y="4676488"/>
            <a:ext cx="84468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600" dirty="0">
                <a:solidFill>
                  <a:srgbClr val="404040"/>
                </a:solidFill>
                <a:cs typeface="Arial"/>
              </a:rPr>
              <a:t>Hervorhebungen im Text nicht im Originaltext vorhanden.</a:t>
            </a:r>
          </a:p>
          <a:p>
            <a:endParaRPr lang="de-DE" sz="600" dirty="0">
              <a:solidFill>
                <a:srgbClr val="404040"/>
              </a:solidFill>
              <a:cs typeface="Arial"/>
            </a:endParaRPr>
          </a:p>
          <a:p>
            <a:r>
              <a:rPr lang="de-DE" sz="600" b="1" dirty="0">
                <a:solidFill>
                  <a:srgbClr val="404040"/>
                </a:solidFill>
                <a:cs typeface="Arial"/>
              </a:rPr>
              <a:t>1.</a:t>
            </a:r>
            <a:r>
              <a:rPr lang="de-DE" sz="600" dirty="0">
                <a:solidFill>
                  <a:srgbClr val="404040"/>
                </a:solidFill>
                <a:cs typeface="Arial"/>
              </a:rPr>
              <a:t> Solis-Herrera C et al. Classification </a:t>
            </a:r>
            <a:r>
              <a:rPr lang="de-DE" sz="600" dirty="0" err="1">
                <a:solidFill>
                  <a:srgbClr val="404040"/>
                </a:solidFill>
                <a:cs typeface="Arial"/>
              </a:rPr>
              <a:t>of</a:t>
            </a:r>
            <a:r>
              <a:rPr lang="de-DE" sz="600" dirty="0">
                <a:solidFill>
                  <a:srgbClr val="404040"/>
                </a:solidFill>
                <a:cs typeface="Arial"/>
              </a:rPr>
              <a:t> Diabetes Mellitus. [Updated 2018 Feb 24]. In: Feingold KR et al., </a:t>
            </a:r>
            <a:r>
              <a:rPr lang="de-DE" sz="600" dirty="0" err="1">
                <a:solidFill>
                  <a:srgbClr val="404040"/>
                </a:solidFill>
                <a:cs typeface="Arial"/>
              </a:rPr>
              <a:t>editors</a:t>
            </a:r>
            <a:r>
              <a:rPr lang="de-DE" sz="600" dirty="0">
                <a:solidFill>
                  <a:srgbClr val="404040"/>
                </a:solidFill>
                <a:cs typeface="Arial"/>
              </a:rPr>
              <a:t>. </a:t>
            </a:r>
            <a:r>
              <a:rPr lang="de-DE" sz="600" dirty="0" err="1">
                <a:solidFill>
                  <a:srgbClr val="404040"/>
                </a:solidFill>
                <a:cs typeface="Arial"/>
              </a:rPr>
              <a:t>Endotext</a:t>
            </a:r>
            <a:r>
              <a:rPr lang="de-DE" sz="600" dirty="0">
                <a:solidFill>
                  <a:srgbClr val="404040"/>
                </a:solidFill>
                <a:cs typeface="Arial"/>
              </a:rPr>
              <a:t> [Internet]. South Dartmouth (MA): MDText.com, Inc.; 2000-. Erhältlich unter: </a:t>
            </a:r>
            <a:r>
              <a:rPr lang="de-DE" sz="600" dirty="0">
                <a:solidFill>
                  <a:srgbClr val="404040"/>
                </a:solidFill>
                <a:cs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cbi.nlm.nih.gov/books/NBK279119/</a:t>
            </a:r>
            <a:r>
              <a:rPr lang="de-DE" sz="600" dirty="0">
                <a:solidFill>
                  <a:srgbClr val="404040"/>
                </a:solidFill>
                <a:cs typeface="Arial"/>
              </a:rPr>
              <a:t>. Zuletzt abgerufen am 12.01.2026. </a:t>
            </a:r>
            <a:r>
              <a:rPr lang="de-DE" sz="600" b="1" dirty="0">
                <a:solidFill>
                  <a:srgbClr val="404040"/>
                </a:solidFill>
                <a:cs typeface="Arial"/>
              </a:rPr>
              <a:t>2.</a:t>
            </a:r>
            <a:r>
              <a:rPr lang="de-DE" sz="600" dirty="0">
                <a:solidFill>
                  <a:srgbClr val="404040"/>
                </a:solidFill>
                <a:cs typeface="Arial"/>
              </a:rPr>
              <a:t> American Diabetes </a:t>
            </a:r>
            <a:r>
              <a:rPr lang="de-DE" sz="600" dirty="0" err="1">
                <a:solidFill>
                  <a:srgbClr val="404040"/>
                </a:solidFill>
                <a:cs typeface="Arial"/>
              </a:rPr>
              <a:t>Association</a:t>
            </a:r>
            <a:r>
              <a:rPr lang="de-DE" sz="600" dirty="0">
                <a:solidFill>
                  <a:srgbClr val="404040"/>
                </a:solidFill>
                <a:cs typeface="Arial"/>
              </a:rPr>
              <a:t> Professional Practice Committee. </a:t>
            </a:r>
            <a:r>
              <a:rPr lang="de-DE" sz="600" i="1" dirty="0">
                <a:solidFill>
                  <a:srgbClr val="404040"/>
                </a:solidFill>
                <a:cs typeface="Arial"/>
              </a:rPr>
              <a:t>Diabetes Care </a:t>
            </a:r>
            <a:r>
              <a:rPr lang="de-DE" sz="600" dirty="0">
                <a:solidFill>
                  <a:srgbClr val="404040"/>
                </a:solidFill>
                <a:cs typeface="Arial"/>
              </a:rPr>
              <a:t>2024; 47 (</a:t>
            </a:r>
            <a:r>
              <a:rPr lang="de-DE" sz="600" dirty="0" err="1">
                <a:solidFill>
                  <a:srgbClr val="404040"/>
                </a:solidFill>
                <a:cs typeface="Arial"/>
              </a:rPr>
              <a:t>Suppl</a:t>
            </a:r>
            <a:r>
              <a:rPr lang="de-DE" sz="600" dirty="0">
                <a:solidFill>
                  <a:srgbClr val="404040"/>
                </a:solidFill>
                <a:cs typeface="Arial"/>
              </a:rPr>
              <a:t>. 1): S20</a:t>
            </a:r>
            <a:r>
              <a:rPr lang="da-DK" sz="600" dirty="0">
                <a:solidFill>
                  <a:srgbClr val="404040"/>
                </a:solidFill>
                <a:ea typeface="Arial"/>
                <a:cs typeface="Arial"/>
              </a:rPr>
              <a:t>–</a:t>
            </a:r>
            <a:r>
              <a:rPr lang="de-DE" sz="600" dirty="0">
                <a:solidFill>
                  <a:srgbClr val="404040"/>
                </a:solidFill>
                <a:cs typeface="Arial"/>
              </a:rPr>
              <a:t>S42.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3AF6037-2DF6-2114-268C-5DBCAD227260}"/>
              </a:ext>
            </a:extLst>
          </p:cNvPr>
          <p:cNvSpPr/>
          <p:nvPr/>
        </p:nvSpPr>
        <p:spPr>
          <a:xfrm>
            <a:off x="334476" y="3939702"/>
            <a:ext cx="1927206" cy="369651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5C6E1BC-7F8A-CC9F-EEBF-3EEF619A2BAD}"/>
              </a:ext>
            </a:extLst>
          </p:cNvPr>
          <p:cNvSpPr txBox="1"/>
          <p:nvPr/>
        </p:nvSpPr>
        <p:spPr>
          <a:xfrm>
            <a:off x="326100" y="3924472"/>
            <a:ext cx="1181688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1000" dirty="0"/>
              <a:t>Autoimmun-erkrankung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E17B3E1-DD7C-D5A5-1F6F-21185A858F5C}"/>
              </a:ext>
            </a:extLst>
          </p:cNvPr>
          <p:cNvSpPr txBox="1"/>
          <p:nvPr/>
        </p:nvSpPr>
        <p:spPr>
          <a:xfrm>
            <a:off x="1827763" y="3925465"/>
            <a:ext cx="784114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1000"/>
              <a:t>Klinische Diagnose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2A84E66-BEC4-E0BB-E9AA-4C68DBA0BCDE}"/>
              </a:ext>
            </a:extLst>
          </p:cNvPr>
          <p:cNvSpPr txBox="1"/>
          <p:nvPr/>
        </p:nvSpPr>
        <p:spPr>
          <a:xfrm>
            <a:off x="2408179" y="4002165"/>
            <a:ext cx="1346789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1000" dirty="0"/>
              <a:t>Insulintherapie</a:t>
            </a:r>
          </a:p>
        </p:txBody>
      </p:sp>
      <p:sp>
        <p:nvSpPr>
          <p:cNvPr id="10" name="Geschweifte Klammer links 9">
            <a:extLst>
              <a:ext uri="{FF2B5EF4-FFF2-40B4-BE49-F238E27FC236}">
                <a16:creationId xmlns:a16="http://schemas.microsoft.com/office/drawing/2014/main" id="{EAAF67E1-5504-BA8B-555E-EE87D7E635D0}"/>
              </a:ext>
            </a:extLst>
          </p:cNvPr>
          <p:cNvSpPr/>
          <p:nvPr/>
        </p:nvSpPr>
        <p:spPr>
          <a:xfrm rot="5400000">
            <a:off x="5440678" y="583536"/>
            <a:ext cx="155448" cy="6513441"/>
          </a:xfrm>
          <a:prstGeom prst="leftBrac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Geschweifte Klammer links 10">
            <a:extLst>
              <a:ext uri="{FF2B5EF4-FFF2-40B4-BE49-F238E27FC236}">
                <a16:creationId xmlns:a16="http://schemas.microsoft.com/office/drawing/2014/main" id="{C62633AE-21ED-3AA0-07FF-BDF812B187D4}"/>
              </a:ext>
            </a:extLst>
          </p:cNvPr>
          <p:cNvSpPr/>
          <p:nvPr/>
        </p:nvSpPr>
        <p:spPr>
          <a:xfrm rot="5400000">
            <a:off x="1223437" y="2874554"/>
            <a:ext cx="155448" cy="1933371"/>
          </a:xfrm>
          <a:prstGeom prst="leftBrac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76782D2-FF69-01BF-3DDD-22A2C9878582}"/>
              </a:ext>
            </a:extLst>
          </p:cNvPr>
          <p:cNvSpPr txBox="1"/>
          <p:nvPr/>
        </p:nvSpPr>
        <p:spPr>
          <a:xfrm>
            <a:off x="4114800" y="3291297"/>
            <a:ext cx="2801566" cy="430887"/>
          </a:xfrm>
          <a:prstGeom prst="rect">
            <a:avLst/>
          </a:prstGeom>
          <a:noFill/>
          <a:ln w="28575">
            <a:solidFill>
              <a:srgbClr val="99B5DF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e-DE" sz="1100"/>
              <a:t>Bisheriger Fokus: Reaktive</a:t>
            </a:r>
          </a:p>
          <a:p>
            <a:pPr algn="ctr"/>
            <a:r>
              <a:rPr lang="de-DE" sz="1100"/>
              <a:t>Blutzuckereinstellung mit Insuli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6E1ABC2-BA90-DF3E-73C2-EEDFC62CB2C8}"/>
              </a:ext>
            </a:extLst>
          </p:cNvPr>
          <p:cNvSpPr txBox="1"/>
          <p:nvPr/>
        </p:nvSpPr>
        <p:spPr>
          <a:xfrm>
            <a:off x="330939" y="3291296"/>
            <a:ext cx="1941746" cy="430887"/>
          </a:xfrm>
          <a:prstGeom prst="rect">
            <a:avLst/>
          </a:prstGeom>
          <a:noFill/>
          <a:ln w="28575">
            <a:solidFill>
              <a:srgbClr val="CA99F5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e-DE" sz="1100"/>
              <a:t>Neuer Fokus: Proaktive</a:t>
            </a:r>
          </a:p>
          <a:p>
            <a:pPr algn="ctr"/>
            <a:r>
              <a:rPr lang="de-DE" sz="1100"/>
              <a:t>Immunmodulation</a:t>
            </a:r>
          </a:p>
        </p:txBody>
      </p:sp>
    </p:spTree>
    <p:extLst>
      <p:ext uri="{BB962C8B-B14F-4D97-AF65-F5344CB8AC3E}">
        <p14:creationId xmlns:p14="http://schemas.microsoft.com/office/powerpoint/2010/main" val="2379316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martArt Placeholder 3">
            <a:extLst>
              <a:ext uri="{FF2B5EF4-FFF2-40B4-BE49-F238E27FC236}">
                <a16:creationId xmlns:a16="http://schemas.microsoft.com/office/drawing/2014/main" id="{9A0419C7-2BCD-C87A-ED3C-571D737CED1E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268025-EF50-BD08-FF6C-404B6268EF9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4554" y="1812889"/>
            <a:ext cx="7270198" cy="1008204"/>
          </a:xfrm>
        </p:spPr>
        <p:txBody>
          <a:bodyPr/>
          <a:lstStyle/>
          <a:p>
            <a:r>
              <a:rPr lang="de-DE" sz="2400">
                <a:latin typeface="Verdana"/>
                <a:ea typeface="Verdana"/>
              </a:rPr>
              <a:t>Typ-1-Diabetes – eine Autoimmunerkrankung mit mehreren Stadien</a:t>
            </a:r>
          </a:p>
        </p:txBody>
      </p:sp>
      <p:pic>
        <p:nvPicPr>
          <p:cNvPr id="3" name="Grafik 2" descr="Start Silhouette">
            <a:hlinkClick r:id="rId2" action="ppaction://hlinksldjump"/>
            <a:extLst>
              <a:ext uri="{FF2B5EF4-FFF2-40B4-BE49-F238E27FC236}">
                <a16:creationId xmlns:a16="http://schemas.microsoft.com/office/drawing/2014/main" id="{1603D275-4422-A83D-7CB5-4AC99FADA6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3733" y="4486442"/>
            <a:ext cx="558465" cy="55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2585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7" name="Title 3">
            <a:extLst>
              <a:ext uri="{FF2B5EF4-FFF2-40B4-BE49-F238E27FC236}">
                <a16:creationId xmlns:a16="http://schemas.microsoft.com/office/drawing/2014/main" id="{2B6B0BB8-7CA6-2779-6CF3-C17A891D6AF2}"/>
              </a:ext>
            </a:extLst>
          </p:cNvPr>
          <p:cNvSpPr txBox="1"/>
          <p:nvPr/>
        </p:nvSpPr>
        <p:spPr>
          <a:xfrm>
            <a:off x="344802" y="156551"/>
            <a:ext cx="8486775" cy="571663"/>
          </a:xfrm>
          <a:prstGeom prst="rect">
            <a:avLst/>
          </a:prstGeom>
        </p:spPr>
        <p:txBody>
          <a:bodyPr vert="horz" lIns="68580" tIns="34291" rIns="68580" bIns="34291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de" altLang="en-US" sz="2000" dirty="0">
                <a:solidFill>
                  <a:srgbClr val="7030A0"/>
                </a:solidFill>
                <a:latin typeface="+mj-lt"/>
                <a:ea typeface="Verdana" panose="020B0604030504040204" pitchFamily="34" charset="0"/>
                <a:cs typeface="+mn-cs"/>
              </a:rPr>
              <a:t>Bei autoimmunem T1D verursachen autoreaktive T-Zellen den progressiven Verlust von Insulin-produzierenden Betazellen</a:t>
            </a:r>
            <a:r>
              <a:rPr lang="de" altLang="en-US" sz="2000" baseline="30000" dirty="0">
                <a:solidFill>
                  <a:srgbClr val="7030A0"/>
                </a:solidFill>
                <a:latin typeface="+mj-lt"/>
                <a:ea typeface="Verdana" panose="020B0604030504040204" pitchFamily="34" charset="0"/>
                <a:cs typeface="+mn-cs"/>
              </a:rPr>
              <a:t>1-6</a:t>
            </a:r>
            <a:endParaRPr lang="en-US" altLang="en-US" sz="2000" baseline="30000" dirty="0">
              <a:solidFill>
                <a:srgbClr val="7030A0"/>
              </a:solidFill>
              <a:latin typeface="+mj-lt"/>
              <a:ea typeface="Verdana" panose="020B0604030504040204" pitchFamily="34" charset="0"/>
              <a:cs typeface="+mn-cs"/>
            </a:endParaRPr>
          </a:p>
        </p:txBody>
      </p:sp>
      <p:sp>
        <p:nvSpPr>
          <p:cNvPr id="2680" name="Text Placeholder 3">
            <a:extLst>
              <a:ext uri="{FF2B5EF4-FFF2-40B4-BE49-F238E27FC236}">
                <a16:creationId xmlns:a16="http://schemas.microsoft.com/office/drawing/2014/main" id="{0A49984E-474E-30F9-E3C0-F110C9DEB327}"/>
              </a:ext>
            </a:extLst>
          </p:cNvPr>
          <p:cNvSpPr txBox="1"/>
          <p:nvPr/>
        </p:nvSpPr>
        <p:spPr>
          <a:xfrm>
            <a:off x="344802" y="4789210"/>
            <a:ext cx="8241791" cy="29289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lang="it-IT" sz="9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73050" indent="-2730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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01650" indent="-19685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1905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32000" indent="-144000" algn="l" defTabSz="914400" rtl="0" eaLnBrk="1" latinLnBrk="0" hangingPunct="1">
              <a:lnSpc>
                <a:spcPct val="8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spcBef>
                <a:spcPts val="150"/>
              </a:spcBef>
              <a:spcAft>
                <a:spcPct val="0"/>
              </a:spcAft>
              <a:defRPr/>
            </a:pP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Abbildung nach DiMeglio LA 2018</a:t>
            </a:r>
            <a:r>
              <a:rPr lang="de" sz="600" baseline="300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4 </a:t>
            </a: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und Houeiss P 2022</a:t>
            </a:r>
            <a:r>
              <a:rPr lang="de" sz="600" baseline="300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5</a:t>
            </a: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. T1D: Typ-1-Diabetes.</a:t>
            </a:r>
            <a:endParaRPr lang="en-US" sz="600" dirty="0">
              <a:solidFill>
                <a:srgbClr val="404040"/>
              </a:solidFill>
              <a:latin typeface="+mn-lt"/>
            </a:endParaRPr>
          </a:p>
          <a:p>
            <a:pPr defTabSz="685800">
              <a:spcBef>
                <a:spcPts val="150"/>
              </a:spcBef>
              <a:spcAft>
                <a:spcPct val="0"/>
              </a:spcAft>
              <a:defRPr/>
            </a:pPr>
            <a:r>
              <a:rPr lang="de" sz="600" b="1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1.</a:t>
            </a: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 Powers AC. </a:t>
            </a:r>
            <a:r>
              <a:rPr lang="de" sz="600" i="1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J Clin Invest </a:t>
            </a: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2021; 131: e142242. </a:t>
            </a:r>
            <a:r>
              <a:rPr lang="de" sz="600" b="1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2.</a:t>
            </a: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 Pugliese A. </a:t>
            </a:r>
            <a:r>
              <a:rPr lang="de" sz="600" i="1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Pediatr Diabetes </a:t>
            </a: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2016; 17 (Suppl 22): 31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–</a:t>
            </a: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6. </a:t>
            </a:r>
            <a:r>
              <a:rPr lang="de" sz="600" b="1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3. </a:t>
            </a: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Clark M </a:t>
            </a:r>
            <a:r>
              <a:rPr lang="de" sz="600" i="1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et al. Front Immunol </a:t>
            </a: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2021; 11: 61537. </a:t>
            </a:r>
            <a:r>
              <a:rPr lang="de" sz="600" b="1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4. </a:t>
            </a: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DiMeglio LA </a:t>
            </a:r>
            <a:r>
              <a:rPr lang="de" sz="600" i="1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et al. Lancet </a:t>
            </a: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2018; 391: 2449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–</a:t>
            </a: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62. </a:t>
            </a:r>
            <a:r>
              <a:rPr lang="de" sz="600" b="1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5. </a:t>
            </a: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Houeiss P </a:t>
            </a:r>
            <a:r>
              <a:rPr lang="de" sz="600" i="1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et al. Front Endocrinol (Lausanne) </a:t>
            </a: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2022; 13: 933965. </a:t>
            </a:r>
            <a:r>
              <a:rPr lang="de" sz="600" b="1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6. </a:t>
            </a: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Wolkowicz KL </a:t>
            </a:r>
            <a:r>
              <a:rPr lang="de" sz="600" i="1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et al. Bioeng Transl Med </a:t>
            </a:r>
            <a:r>
              <a:rPr lang="de" sz="600" dirty="0">
                <a:solidFill>
                  <a:srgbClr val="40404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latin typeface="+mn-lt"/>
                <a:ea typeface="Arial"/>
                <a:cs typeface="Arial"/>
              </a:rPr>
              <a:t>2021; 6: e10201. </a:t>
            </a:r>
            <a:endParaRPr lang="en-US" sz="600" dirty="0">
              <a:solidFill>
                <a:srgbClr val="404040"/>
              </a:solidFill>
              <a:latin typeface="+mn-lt"/>
            </a:endParaRPr>
          </a:p>
        </p:txBody>
      </p:sp>
      <p:grpSp>
        <p:nvGrpSpPr>
          <p:cNvPr id="3945" name="Group 7">
            <a:extLst>
              <a:ext uri="{FF2B5EF4-FFF2-40B4-BE49-F238E27FC236}">
                <a16:creationId xmlns:a16="http://schemas.microsoft.com/office/drawing/2014/main" id="{7CCC1387-0947-51DB-7ECE-B17D0480D616}"/>
              </a:ext>
            </a:extLst>
          </p:cNvPr>
          <p:cNvGrpSpPr/>
          <p:nvPr/>
        </p:nvGrpSpPr>
        <p:grpSpPr>
          <a:xfrm>
            <a:off x="213174" y="1595949"/>
            <a:ext cx="2503456" cy="1389877"/>
            <a:chOff x="255881" y="3200130"/>
            <a:chExt cx="1984105" cy="1101542"/>
          </a:xfrm>
        </p:grpSpPr>
        <p:pic>
          <p:nvPicPr>
            <p:cNvPr id="3946" name="Picture 8">
              <a:extLst>
                <a:ext uri="{FF2B5EF4-FFF2-40B4-BE49-F238E27FC236}">
                  <a16:creationId xmlns:a16="http://schemas.microsoft.com/office/drawing/2014/main" id="{A75F10AF-67E3-82DB-59A6-C7D77B8D36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881" y="3200130"/>
              <a:ext cx="1984105" cy="1101542"/>
            </a:xfrm>
            <a:prstGeom prst="rect">
              <a:avLst/>
            </a:prstGeom>
          </p:spPr>
        </p:pic>
        <p:grpSp>
          <p:nvGrpSpPr>
            <p:cNvPr id="3947" name="Group 9">
              <a:extLst>
                <a:ext uri="{FF2B5EF4-FFF2-40B4-BE49-F238E27FC236}">
                  <a16:creationId xmlns:a16="http://schemas.microsoft.com/office/drawing/2014/main" id="{C3C26D03-48DE-9556-3805-1E2F626E28A5}"/>
                </a:ext>
              </a:extLst>
            </p:cNvPr>
            <p:cNvGrpSpPr/>
            <p:nvPr/>
          </p:nvGrpSpPr>
          <p:grpSpPr>
            <a:xfrm>
              <a:off x="1481714" y="3666619"/>
              <a:ext cx="135763" cy="134108"/>
              <a:chOff x="5071590" y="2724817"/>
              <a:chExt cx="1901239" cy="1655213"/>
            </a:xfrm>
          </p:grpSpPr>
          <p:grpSp>
            <p:nvGrpSpPr>
              <p:cNvPr id="5109" name="Group 1171">
                <a:extLst>
                  <a:ext uri="{FF2B5EF4-FFF2-40B4-BE49-F238E27FC236}">
                    <a16:creationId xmlns:a16="http://schemas.microsoft.com/office/drawing/2014/main" id="{A243F3BB-CE38-0A94-AB40-F2481EBB4BBF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5114" name="Group 1176">
                  <a:extLst>
                    <a:ext uri="{FF2B5EF4-FFF2-40B4-BE49-F238E27FC236}">
                      <a16:creationId xmlns:a16="http://schemas.microsoft.com/office/drawing/2014/main" id="{7D6CEFA6-7720-EEEC-3649-9715CAB44D3F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5128" name="Oval 1190">
                    <a:extLst>
                      <a:ext uri="{FF2B5EF4-FFF2-40B4-BE49-F238E27FC236}">
                        <a16:creationId xmlns:a16="http://schemas.microsoft.com/office/drawing/2014/main" id="{83D56496-B81D-42DB-548C-3C51669C0A7B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5129" name="Group 1191">
                    <a:extLst>
                      <a:ext uri="{FF2B5EF4-FFF2-40B4-BE49-F238E27FC236}">
                        <a16:creationId xmlns:a16="http://schemas.microsoft.com/office/drawing/2014/main" id="{F6963B0A-3192-F21E-DF0A-55B99601C61B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5130" name="Graphic 1192">
                      <a:extLst>
                        <a:ext uri="{FF2B5EF4-FFF2-40B4-BE49-F238E27FC236}">
                          <a16:creationId xmlns:a16="http://schemas.microsoft.com/office/drawing/2014/main" id="{EB67D69B-18D6-0E5B-6C6C-57D7706A264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31" name="Graphic 1193">
                      <a:extLst>
                        <a:ext uri="{FF2B5EF4-FFF2-40B4-BE49-F238E27FC236}">
                          <a16:creationId xmlns:a16="http://schemas.microsoft.com/office/drawing/2014/main" id="{3E273AE5-C24E-C7C3-9A86-916E432FC08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32" name="Graphic 1194">
                      <a:extLst>
                        <a:ext uri="{FF2B5EF4-FFF2-40B4-BE49-F238E27FC236}">
                          <a16:creationId xmlns:a16="http://schemas.microsoft.com/office/drawing/2014/main" id="{D7FAAD0C-1D02-D31B-9B6D-073A061BF72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33" name="Graphic 1195">
                      <a:extLst>
                        <a:ext uri="{FF2B5EF4-FFF2-40B4-BE49-F238E27FC236}">
                          <a16:creationId xmlns:a16="http://schemas.microsoft.com/office/drawing/2014/main" id="{AB8574ED-2214-A2AC-4427-CA0413BE8E5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34" name="Graphic 1196">
                      <a:extLst>
                        <a:ext uri="{FF2B5EF4-FFF2-40B4-BE49-F238E27FC236}">
                          <a16:creationId xmlns:a16="http://schemas.microsoft.com/office/drawing/2014/main" id="{A14978E1-C7D1-709E-0320-AA5802E2500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35" name="Graphic 1197">
                      <a:extLst>
                        <a:ext uri="{FF2B5EF4-FFF2-40B4-BE49-F238E27FC236}">
                          <a16:creationId xmlns:a16="http://schemas.microsoft.com/office/drawing/2014/main" id="{DEB61791-BFFA-3754-6B4E-1C6F6BDB544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36" name="Graphic 1198">
                      <a:extLst>
                        <a:ext uri="{FF2B5EF4-FFF2-40B4-BE49-F238E27FC236}">
                          <a16:creationId xmlns:a16="http://schemas.microsoft.com/office/drawing/2014/main" id="{37E80747-5B7F-9082-6D2B-21F498A1FA3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37" name="Graphic 1199">
                      <a:extLst>
                        <a:ext uri="{FF2B5EF4-FFF2-40B4-BE49-F238E27FC236}">
                          <a16:creationId xmlns:a16="http://schemas.microsoft.com/office/drawing/2014/main" id="{C3368E8C-1AAC-3414-4315-F35F8C3F125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38" name="Graphic 1200">
                      <a:extLst>
                        <a:ext uri="{FF2B5EF4-FFF2-40B4-BE49-F238E27FC236}">
                          <a16:creationId xmlns:a16="http://schemas.microsoft.com/office/drawing/2014/main" id="{26F5597A-4135-EBBD-D625-3F6181A15A9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39" name="Graphic 1201">
                      <a:extLst>
                        <a:ext uri="{FF2B5EF4-FFF2-40B4-BE49-F238E27FC236}">
                          <a16:creationId xmlns:a16="http://schemas.microsoft.com/office/drawing/2014/main" id="{81964EAC-4A6B-E870-7E55-D8CC2504376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40" name="Graphic 1202">
                      <a:extLst>
                        <a:ext uri="{FF2B5EF4-FFF2-40B4-BE49-F238E27FC236}">
                          <a16:creationId xmlns:a16="http://schemas.microsoft.com/office/drawing/2014/main" id="{70BB1D21-998D-9C03-CB8D-619E9C1DA6E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41" name="Graphic 1203">
                      <a:extLst>
                        <a:ext uri="{FF2B5EF4-FFF2-40B4-BE49-F238E27FC236}">
                          <a16:creationId xmlns:a16="http://schemas.microsoft.com/office/drawing/2014/main" id="{8428562D-BA11-CC09-1C81-78C893A3713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42" name="Graphic 1204">
                      <a:extLst>
                        <a:ext uri="{FF2B5EF4-FFF2-40B4-BE49-F238E27FC236}">
                          <a16:creationId xmlns:a16="http://schemas.microsoft.com/office/drawing/2014/main" id="{F412B575-CDF6-1BBB-1FDD-3D662BA06B3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43" name="Graphic 1205">
                      <a:extLst>
                        <a:ext uri="{FF2B5EF4-FFF2-40B4-BE49-F238E27FC236}">
                          <a16:creationId xmlns:a16="http://schemas.microsoft.com/office/drawing/2014/main" id="{F3BFDD06-A326-0509-D37C-C57420C027D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44" name="Graphic 1206">
                      <a:extLst>
                        <a:ext uri="{FF2B5EF4-FFF2-40B4-BE49-F238E27FC236}">
                          <a16:creationId xmlns:a16="http://schemas.microsoft.com/office/drawing/2014/main" id="{529770EC-13A4-B47A-8E84-FB6F63C4D89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45" name="Graphic 1207">
                      <a:extLst>
                        <a:ext uri="{FF2B5EF4-FFF2-40B4-BE49-F238E27FC236}">
                          <a16:creationId xmlns:a16="http://schemas.microsoft.com/office/drawing/2014/main" id="{F16803B8-2599-1E04-CA1A-A1865342FED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46" name="Graphic 1208">
                      <a:extLst>
                        <a:ext uri="{FF2B5EF4-FFF2-40B4-BE49-F238E27FC236}">
                          <a16:creationId xmlns:a16="http://schemas.microsoft.com/office/drawing/2014/main" id="{F14277F8-28BC-D003-5C34-1086BAB193A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47" name="Graphic 1209">
                      <a:extLst>
                        <a:ext uri="{FF2B5EF4-FFF2-40B4-BE49-F238E27FC236}">
                          <a16:creationId xmlns:a16="http://schemas.microsoft.com/office/drawing/2014/main" id="{5E641240-F4F8-7ED7-726B-73DE6C11A87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48" name="Graphic 1210">
                      <a:extLst>
                        <a:ext uri="{FF2B5EF4-FFF2-40B4-BE49-F238E27FC236}">
                          <a16:creationId xmlns:a16="http://schemas.microsoft.com/office/drawing/2014/main" id="{2CE70919-7D70-2AE6-7CED-00A469ACBFA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49" name="Graphic 1211">
                      <a:extLst>
                        <a:ext uri="{FF2B5EF4-FFF2-40B4-BE49-F238E27FC236}">
                          <a16:creationId xmlns:a16="http://schemas.microsoft.com/office/drawing/2014/main" id="{BCAB8875-8FC0-A751-647B-E3F2CE7826B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50" name="Graphic 1212">
                      <a:extLst>
                        <a:ext uri="{FF2B5EF4-FFF2-40B4-BE49-F238E27FC236}">
                          <a16:creationId xmlns:a16="http://schemas.microsoft.com/office/drawing/2014/main" id="{4AC5C290-F7A1-332F-21C3-E6DB91633FB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5115" name="Graphic 1177">
                  <a:extLst>
                    <a:ext uri="{FF2B5EF4-FFF2-40B4-BE49-F238E27FC236}">
                      <a16:creationId xmlns:a16="http://schemas.microsoft.com/office/drawing/2014/main" id="{D25A5865-C746-6053-E149-C21ECE511BE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116" name="Graphic 1178">
                  <a:extLst>
                    <a:ext uri="{FF2B5EF4-FFF2-40B4-BE49-F238E27FC236}">
                      <a16:creationId xmlns:a16="http://schemas.microsoft.com/office/drawing/2014/main" id="{E6C38208-CD14-43EB-CC49-FF9D3729DB0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117" name="Graphic 1179">
                  <a:extLst>
                    <a:ext uri="{FF2B5EF4-FFF2-40B4-BE49-F238E27FC236}">
                      <a16:creationId xmlns:a16="http://schemas.microsoft.com/office/drawing/2014/main" id="{FE3BC7CF-8B5C-0530-1C24-3CD4FA9454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118" name="Graphic 1180">
                  <a:extLst>
                    <a:ext uri="{FF2B5EF4-FFF2-40B4-BE49-F238E27FC236}">
                      <a16:creationId xmlns:a16="http://schemas.microsoft.com/office/drawing/2014/main" id="{A1DEF3CB-7910-DB3E-5B48-25AFB548FA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5119" name="Graphic 1181">
                  <a:extLst>
                    <a:ext uri="{FF2B5EF4-FFF2-40B4-BE49-F238E27FC236}">
                      <a16:creationId xmlns:a16="http://schemas.microsoft.com/office/drawing/2014/main" id="{A2DD9C8E-3958-4343-9DDE-598517933A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120" name="Graphic 1182">
                  <a:extLst>
                    <a:ext uri="{FF2B5EF4-FFF2-40B4-BE49-F238E27FC236}">
                      <a16:creationId xmlns:a16="http://schemas.microsoft.com/office/drawing/2014/main" id="{4CBC7D45-CC9E-7FF4-AAE1-EE1A21A2794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5121" name="Graphic 1183">
                  <a:extLst>
                    <a:ext uri="{FF2B5EF4-FFF2-40B4-BE49-F238E27FC236}">
                      <a16:creationId xmlns:a16="http://schemas.microsoft.com/office/drawing/2014/main" id="{ED84E32B-0260-7F3C-F2EA-0A8FFD80283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122" name="Graphic 1184">
                  <a:extLst>
                    <a:ext uri="{FF2B5EF4-FFF2-40B4-BE49-F238E27FC236}">
                      <a16:creationId xmlns:a16="http://schemas.microsoft.com/office/drawing/2014/main" id="{8D92134E-C5D9-B2C9-532C-DA7763E534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123" name="Graphic 1185">
                  <a:extLst>
                    <a:ext uri="{FF2B5EF4-FFF2-40B4-BE49-F238E27FC236}">
                      <a16:creationId xmlns:a16="http://schemas.microsoft.com/office/drawing/2014/main" id="{7DF482D5-4E12-110B-6AFF-E43998204DA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124" name="Graphic 1186">
                  <a:extLst>
                    <a:ext uri="{FF2B5EF4-FFF2-40B4-BE49-F238E27FC236}">
                      <a16:creationId xmlns:a16="http://schemas.microsoft.com/office/drawing/2014/main" id="{09AB5CB5-37AE-25B2-CE51-C48896700A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125" name="Graphic 1187">
                  <a:extLst>
                    <a:ext uri="{FF2B5EF4-FFF2-40B4-BE49-F238E27FC236}">
                      <a16:creationId xmlns:a16="http://schemas.microsoft.com/office/drawing/2014/main" id="{2AA73A9F-CBA7-BFB7-DE78-F4D494A7FEA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126" name="Graphic 1188">
                  <a:extLst>
                    <a:ext uri="{FF2B5EF4-FFF2-40B4-BE49-F238E27FC236}">
                      <a16:creationId xmlns:a16="http://schemas.microsoft.com/office/drawing/2014/main" id="{17195E67-1759-CED9-6704-3DB9BE55C9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127" name="Graphic 1189">
                  <a:extLst>
                    <a:ext uri="{FF2B5EF4-FFF2-40B4-BE49-F238E27FC236}">
                      <a16:creationId xmlns:a16="http://schemas.microsoft.com/office/drawing/2014/main" id="{08487F77-97D0-14D3-4248-E82A86BBE9D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5110" name="Graphic 1172">
                <a:extLst>
                  <a:ext uri="{FF2B5EF4-FFF2-40B4-BE49-F238E27FC236}">
                    <a16:creationId xmlns:a16="http://schemas.microsoft.com/office/drawing/2014/main" id="{F1F543C4-E6E7-B370-8AFF-C646A8CB43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111" name="Graphic 1173">
                <a:extLst>
                  <a:ext uri="{FF2B5EF4-FFF2-40B4-BE49-F238E27FC236}">
                    <a16:creationId xmlns:a16="http://schemas.microsoft.com/office/drawing/2014/main" id="{20C42482-C5CE-0558-4D9E-7DB97BC1F2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112" name="Graphic 1174">
                <a:extLst>
                  <a:ext uri="{FF2B5EF4-FFF2-40B4-BE49-F238E27FC236}">
                    <a16:creationId xmlns:a16="http://schemas.microsoft.com/office/drawing/2014/main" id="{D10F249B-F803-1DF0-9F17-4E4C31FC1C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113" name="Graphic 1175">
                <a:extLst>
                  <a:ext uri="{FF2B5EF4-FFF2-40B4-BE49-F238E27FC236}">
                    <a16:creationId xmlns:a16="http://schemas.microsoft.com/office/drawing/2014/main" id="{C1E641FD-9E37-5684-3379-D9DFCB7850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48" name="Group 10">
              <a:extLst>
                <a:ext uri="{FF2B5EF4-FFF2-40B4-BE49-F238E27FC236}">
                  <a16:creationId xmlns:a16="http://schemas.microsoft.com/office/drawing/2014/main" id="{F56EA170-9A6C-6C87-7513-0468BDC1F79D}"/>
                </a:ext>
              </a:extLst>
            </p:cNvPr>
            <p:cNvGrpSpPr/>
            <p:nvPr/>
          </p:nvGrpSpPr>
          <p:grpSpPr>
            <a:xfrm>
              <a:off x="997508" y="3697485"/>
              <a:ext cx="135763" cy="134108"/>
              <a:chOff x="5071590" y="2724817"/>
              <a:chExt cx="1901239" cy="1655213"/>
            </a:xfrm>
          </p:grpSpPr>
          <p:grpSp>
            <p:nvGrpSpPr>
              <p:cNvPr id="5067" name="Group 1129">
                <a:extLst>
                  <a:ext uri="{FF2B5EF4-FFF2-40B4-BE49-F238E27FC236}">
                    <a16:creationId xmlns:a16="http://schemas.microsoft.com/office/drawing/2014/main" id="{AA8BA1AD-95DD-8DBC-D9B2-9D7B62D06A6F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5072" name="Group 1134">
                  <a:extLst>
                    <a:ext uri="{FF2B5EF4-FFF2-40B4-BE49-F238E27FC236}">
                      <a16:creationId xmlns:a16="http://schemas.microsoft.com/office/drawing/2014/main" id="{6BA4E544-8973-2C48-117E-C44D1DCADEAA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5086" name="Oval 1148">
                    <a:extLst>
                      <a:ext uri="{FF2B5EF4-FFF2-40B4-BE49-F238E27FC236}">
                        <a16:creationId xmlns:a16="http://schemas.microsoft.com/office/drawing/2014/main" id="{A7B47680-ECDF-F53C-6D80-8087E9810927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5087" name="Group 1149">
                    <a:extLst>
                      <a:ext uri="{FF2B5EF4-FFF2-40B4-BE49-F238E27FC236}">
                        <a16:creationId xmlns:a16="http://schemas.microsoft.com/office/drawing/2014/main" id="{8818F2C0-7C14-054A-EE97-AE9FA02EB615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5088" name="Graphic 1150">
                      <a:extLst>
                        <a:ext uri="{FF2B5EF4-FFF2-40B4-BE49-F238E27FC236}">
                          <a16:creationId xmlns:a16="http://schemas.microsoft.com/office/drawing/2014/main" id="{33F30C1B-0EE1-F7AE-F683-8CA9032167A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89" name="Graphic 1151">
                      <a:extLst>
                        <a:ext uri="{FF2B5EF4-FFF2-40B4-BE49-F238E27FC236}">
                          <a16:creationId xmlns:a16="http://schemas.microsoft.com/office/drawing/2014/main" id="{87ABAD34-0DBD-712A-FD74-BEBA9883DCB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90" name="Graphic 1152">
                      <a:extLst>
                        <a:ext uri="{FF2B5EF4-FFF2-40B4-BE49-F238E27FC236}">
                          <a16:creationId xmlns:a16="http://schemas.microsoft.com/office/drawing/2014/main" id="{188D606E-AC36-18BE-CB9F-BE9CEC7AF8A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91" name="Graphic 1153">
                      <a:extLst>
                        <a:ext uri="{FF2B5EF4-FFF2-40B4-BE49-F238E27FC236}">
                          <a16:creationId xmlns:a16="http://schemas.microsoft.com/office/drawing/2014/main" id="{DD59FCA1-926E-1FE3-97DE-9BC9EF1A4B3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92" name="Graphic 1154">
                      <a:extLst>
                        <a:ext uri="{FF2B5EF4-FFF2-40B4-BE49-F238E27FC236}">
                          <a16:creationId xmlns:a16="http://schemas.microsoft.com/office/drawing/2014/main" id="{528069A0-66D4-3D3E-E415-5F75526D23D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93" name="Graphic 1155">
                      <a:extLst>
                        <a:ext uri="{FF2B5EF4-FFF2-40B4-BE49-F238E27FC236}">
                          <a16:creationId xmlns:a16="http://schemas.microsoft.com/office/drawing/2014/main" id="{BFB46B70-A72E-423A-FF25-2553ED06FEC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94" name="Graphic 1156">
                      <a:extLst>
                        <a:ext uri="{FF2B5EF4-FFF2-40B4-BE49-F238E27FC236}">
                          <a16:creationId xmlns:a16="http://schemas.microsoft.com/office/drawing/2014/main" id="{6A22DE36-18F0-FF7E-0094-CEDBDCD4FE6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95" name="Graphic 1157">
                      <a:extLst>
                        <a:ext uri="{FF2B5EF4-FFF2-40B4-BE49-F238E27FC236}">
                          <a16:creationId xmlns:a16="http://schemas.microsoft.com/office/drawing/2014/main" id="{37F66998-DF1F-7196-08DB-C2872DBB36C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96" name="Graphic 1158">
                      <a:extLst>
                        <a:ext uri="{FF2B5EF4-FFF2-40B4-BE49-F238E27FC236}">
                          <a16:creationId xmlns:a16="http://schemas.microsoft.com/office/drawing/2014/main" id="{73D56DC6-54A6-B333-AFB5-812ADE18260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97" name="Graphic 1159">
                      <a:extLst>
                        <a:ext uri="{FF2B5EF4-FFF2-40B4-BE49-F238E27FC236}">
                          <a16:creationId xmlns:a16="http://schemas.microsoft.com/office/drawing/2014/main" id="{AEC0D0B0-206C-56B2-FA06-28152088894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98" name="Graphic 1160">
                      <a:extLst>
                        <a:ext uri="{FF2B5EF4-FFF2-40B4-BE49-F238E27FC236}">
                          <a16:creationId xmlns:a16="http://schemas.microsoft.com/office/drawing/2014/main" id="{5C46A8DF-6F4B-4F56-827F-2C83E6BF498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99" name="Graphic 1161">
                      <a:extLst>
                        <a:ext uri="{FF2B5EF4-FFF2-40B4-BE49-F238E27FC236}">
                          <a16:creationId xmlns:a16="http://schemas.microsoft.com/office/drawing/2014/main" id="{5DB40C95-F872-F17A-3D32-FB2663306E8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00" name="Graphic 1162">
                      <a:extLst>
                        <a:ext uri="{FF2B5EF4-FFF2-40B4-BE49-F238E27FC236}">
                          <a16:creationId xmlns:a16="http://schemas.microsoft.com/office/drawing/2014/main" id="{019F4C19-38C9-2706-D8EF-D019DF870CB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01" name="Graphic 1163">
                      <a:extLst>
                        <a:ext uri="{FF2B5EF4-FFF2-40B4-BE49-F238E27FC236}">
                          <a16:creationId xmlns:a16="http://schemas.microsoft.com/office/drawing/2014/main" id="{BDE96CAF-F7A6-5D33-A7DF-5ECE69C65EA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02" name="Graphic 1164">
                      <a:extLst>
                        <a:ext uri="{FF2B5EF4-FFF2-40B4-BE49-F238E27FC236}">
                          <a16:creationId xmlns:a16="http://schemas.microsoft.com/office/drawing/2014/main" id="{3EFE54E9-40FF-BB8A-2467-1E9A5D98F0C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03" name="Graphic 1165">
                      <a:extLst>
                        <a:ext uri="{FF2B5EF4-FFF2-40B4-BE49-F238E27FC236}">
                          <a16:creationId xmlns:a16="http://schemas.microsoft.com/office/drawing/2014/main" id="{30FC18A3-6459-D5C3-17C0-CEB7CAF2C82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04" name="Graphic 1166">
                      <a:extLst>
                        <a:ext uri="{FF2B5EF4-FFF2-40B4-BE49-F238E27FC236}">
                          <a16:creationId xmlns:a16="http://schemas.microsoft.com/office/drawing/2014/main" id="{043EA7B5-4C8C-40D8-598C-95E210A7C52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05" name="Graphic 1167">
                      <a:extLst>
                        <a:ext uri="{FF2B5EF4-FFF2-40B4-BE49-F238E27FC236}">
                          <a16:creationId xmlns:a16="http://schemas.microsoft.com/office/drawing/2014/main" id="{8305B1C1-BB66-1699-617A-2E08CD1B00D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06" name="Graphic 1168">
                      <a:extLst>
                        <a:ext uri="{FF2B5EF4-FFF2-40B4-BE49-F238E27FC236}">
                          <a16:creationId xmlns:a16="http://schemas.microsoft.com/office/drawing/2014/main" id="{DB8A1597-4CC8-1A8C-0893-56A2C057E44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07" name="Graphic 1169">
                      <a:extLst>
                        <a:ext uri="{FF2B5EF4-FFF2-40B4-BE49-F238E27FC236}">
                          <a16:creationId xmlns:a16="http://schemas.microsoft.com/office/drawing/2014/main" id="{F81EE106-DB59-6176-E387-8EA4199AE85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108" name="Graphic 1170">
                      <a:extLst>
                        <a:ext uri="{FF2B5EF4-FFF2-40B4-BE49-F238E27FC236}">
                          <a16:creationId xmlns:a16="http://schemas.microsoft.com/office/drawing/2014/main" id="{7FF17983-5331-D851-9BCA-7199F4C3250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5073" name="Graphic 1135">
                  <a:extLst>
                    <a:ext uri="{FF2B5EF4-FFF2-40B4-BE49-F238E27FC236}">
                      <a16:creationId xmlns:a16="http://schemas.microsoft.com/office/drawing/2014/main" id="{CBE74912-74AC-9B26-596A-DDE6E55C57F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74" name="Graphic 1136">
                  <a:extLst>
                    <a:ext uri="{FF2B5EF4-FFF2-40B4-BE49-F238E27FC236}">
                      <a16:creationId xmlns:a16="http://schemas.microsoft.com/office/drawing/2014/main" id="{8BA914E5-9AE4-E892-BEA8-7FB637ED284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75" name="Graphic 1137">
                  <a:extLst>
                    <a:ext uri="{FF2B5EF4-FFF2-40B4-BE49-F238E27FC236}">
                      <a16:creationId xmlns:a16="http://schemas.microsoft.com/office/drawing/2014/main" id="{DD4F0B66-B206-2219-5B16-26345A7C7B7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76" name="Graphic 1138">
                  <a:extLst>
                    <a:ext uri="{FF2B5EF4-FFF2-40B4-BE49-F238E27FC236}">
                      <a16:creationId xmlns:a16="http://schemas.microsoft.com/office/drawing/2014/main" id="{20FF29F1-D630-9B5D-05BD-3AF31EBB5E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5077" name="Graphic 1139">
                  <a:extLst>
                    <a:ext uri="{FF2B5EF4-FFF2-40B4-BE49-F238E27FC236}">
                      <a16:creationId xmlns:a16="http://schemas.microsoft.com/office/drawing/2014/main" id="{E54FE744-6DA5-7ECE-019C-AA1C2D1845C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78" name="Graphic 1140">
                  <a:extLst>
                    <a:ext uri="{FF2B5EF4-FFF2-40B4-BE49-F238E27FC236}">
                      <a16:creationId xmlns:a16="http://schemas.microsoft.com/office/drawing/2014/main" id="{E92245D6-F3CE-6F67-1574-11D790CBB4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5079" name="Graphic 1141">
                  <a:extLst>
                    <a:ext uri="{FF2B5EF4-FFF2-40B4-BE49-F238E27FC236}">
                      <a16:creationId xmlns:a16="http://schemas.microsoft.com/office/drawing/2014/main" id="{05FF0FF7-5207-9F41-58A1-5328EA431CA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80" name="Graphic 1142">
                  <a:extLst>
                    <a:ext uri="{FF2B5EF4-FFF2-40B4-BE49-F238E27FC236}">
                      <a16:creationId xmlns:a16="http://schemas.microsoft.com/office/drawing/2014/main" id="{99444936-9BA3-700D-D5E9-CAD98ED95D5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81" name="Graphic 1143">
                  <a:extLst>
                    <a:ext uri="{FF2B5EF4-FFF2-40B4-BE49-F238E27FC236}">
                      <a16:creationId xmlns:a16="http://schemas.microsoft.com/office/drawing/2014/main" id="{C8C16F69-DEB5-B5BE-2CB3-DA792FA10E9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82" name="Graphic 1144">
                  <a:extLst>
                    <a:ext uri="{FF2B5EF4-FFF2-40B4-BE49-F238E27FC236}">
                      <a16:creationId xmlns:a16="http://schemas.microsoft.com/office/drawing/2014/main" id="{7B8D8EAA-5958-DC9C-749C-81570815103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83" name="Graphic 1145">
                  <a:extLst>
                    <a:ext uri="{FF2B5EF4-FFF2-40B4-BE49-F238E27FC236}">
                      <a16:creationId xmlns:a16="http://schemas.microsoft.com/office/drawing/2014/main" id="{C82F4090-F141-F98E-8512-655D2AE758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84" name="Graphic 1146">
                  <a:extLst>
                    <a:ext uri="{FF2B5EF4-FFF2-40B4-BE49-F238E27FC236}">
                      <a16:creationId xmlns:a16="http://schemas.microsoft.com/office/drawing/2014/main" id="{05452BB8-017B-B514-3794-C38B69F4C5F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85" name="Graphic 1147">
                  <a:extLst>
                    <a:ext uri="{FF2B5EF4-FFF2-40B4-BE49-F238E27FC236}">
                      <a16:creationId xmlns:a16="http://schemas.microsoft.com/office/drawing/2014/main" id="{61811831-352B-CB29-DF6B-249B1D4E7C4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5068" name="Graphic 1130">
                <a:extLst>
                  <a:ext uri="{FF2B5EF4-FFF2-40B4-BE49-F238E27FC236}">
                    <a16:creationId xmlns:a16="http://schemas.microsoft.com/office/drawing/2014/main" id="{E15D705E-81A7-0629-6DFC-29F8D876F9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069" name="Graphic 1131">
                <a:extLst>
                  <a:ext uri="{FF2B5EF4-FFF2-40B4-BE49-F238E27FC236}">
                    <a16:creationId xmlns:a16="http://schemas.microsoft.com/office/drawing/2014/main" id="{0D4C4564-2C7B-533B-C5F6-7558FD15F6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070" name="Graphic 1132">
                <a:extLst>
                  <a:ext uri="{FF2B5EF4-FFF2-40B4-BE49-F238E27FC236}">
                    <a16:creationId xmlns:a16="http://schemas.microsoft.com/office/drawing/2014/main" id="{E06C19FE-7719-3CED-80A7-CBE07DC97D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071" name="Graphic 1133">
                <a:extLst>
                  <a:ext uri="{FF2B5EF4-FFF2-40B4-BE49-F238E27FC236}">
                    <a16:creationId xmlns:a16="http://schemas.microsoft.com/office/drawing/2014/main" id="{25A2BA7E-BCDC-F24B-A680-2BC1B2F0FC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49" name="Group 11">
              <a:extLst>
                <a:ext uri="{FF2B5EF4-FFF2-40B4-BE49-F238E27FC236}">
                  <a16:creationId xmlns:a16="http://schemas.microsoft.com/office/drawing/2014/main" id="{C56C8A54-69BE-117E-E34F-8236650FB4C7}"/>
                </a:ext>
              </a:extLst>
            </p:cNvPr>
            <p:cNvGrpSpPr/>
            <p:nvPr/>
          </p:nvGrpSpPr>
          <p:grpSpPr>
            <a:xfrm>
              <a:off x="1184630" y="3583668"/>
              <a:ext cx="135763" cy="134108"/>
              <a:chOff x="5071590" y="2724817"/>
              <a:chExt cx="1901239" cy="1655213"/>
            </a:xfrm>
          </p:grpSpPr>
          <p:grpSp>
            <p:nvGrpSpPr>
              <p:cNvPr id="5025" name="Group 1087">
                <a:extLst>
                  <a:ext uri="{FF2B5EF4-FFF2-40B4-BE49-F238E27FC236}">
                    <a16:creationId xmlns:a16="http://schemas.microsoft.com/office/drawing/2014/main" id="{CDBECD70-ED10-84F2-E3EF-42424F5F2C20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5030" name="Group 1092">
                  <a:extLst>
                    <a:ext uri="{FF2B5EF4-FFF2-40B4-BE49-F238E27FC236}">
                      <a16:creationId xmlns:a16="http://schemas.microsoft.com/office/drawing/2014/main" id="{10FEFDD7-C762-F8E8-0EC0-EA206D776A09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5044" name="Oval 1106">
                    <a:extLst>
                      <a:ext uri="{FF2B5EF4-FFF2-40B4-BE49-F238E27FC236}">
                        <a16:creationId xmlns:a16="http://schemas.microsoft.com/office/drawing/2014/main" id="{09E43148-EA55-41A8-6FE6-9ADBF4EC3836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5045" name="Group 1107">
                    <a:extLst>
                      <a:ext uri="{FF2B5EF4-FFF2-40B4-BE49-F238E27FC236}">
                        <a16:creationId xmlns:a16="http://schemas.microsoft.com/office/drawing/2014/main" id="{00DC3981-76DB-3E19-D41D-5FDB462CBA82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5046" name="Graphic 1108">
                      <a:extLst>
                        <a:ext uri="{FF2B5EF4-FFF2-40B4-BE49-F238E27FC236}">
                          <a16:creationId xmlns:a16="http://schemas.microsoft.com/office/drawing/2014/main" id="{5AD6D085-2602-8FF0-688C-809CAFFAB20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47" name="Graphic 1109">
                      <a:extLst>
                        <a:ext uri="{FF2B5EF4-FFF2-40B4-BE49-F238E27FC236}">
                          <a16:creationId xmlns:a16="http://schemas.microsoft.com/office/drawing/2014/main" id="{C7B7D491-E0EE-1BAF-A5C1-98FDD6A0B23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48" name="Graphic 1110">
                      <a:extLst>
                        <a:ext uri="{FF2B5EF4-FFF2-40B4-BE49-F238E27FC236}">
                          <a16:creationId xmlns:a16="http://schemas.microsoft.com/office/drawing/2014/main" id="{576B9D12-71DB-DD44-2351-464C1088B9B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49" name="Graphic 1111">
                      <a:extLst>
                        <a:ext uri="{FF2B5EF4-FFF2-40B4-BE49-F238E27FC236}">
                          <a16:creationId xmlns:a16="http://schemas.microsoft.com/office/drawing/2014/main" id="{802C5ACB-1836-171B-FA68-94E282ADDC4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50" name="Graphic 1112">
                      <a:extLst>
                        <a:ext uri="{FF2B5EF4-FFF2-40B4-BE49-F238E27FC236}">
                          <a16:creationId xmlns:a16="http://schemas.microsoft.com/office/drawing/2014/main" id="{6B65BF23-F34A-EF50-F5AD-3437E9415EF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51" name="Graphic 1113">
                      <a:extLst>
                        <a:ext uri="{FF2B5EF4-FFF2-40B4-BE49-F238E27FC236}">
                          <a16:creationId xmlns:a16="http://schemas.microsoft.com/office/drawing/2014/main" id="{4F36BF6A-F355-10B2-7BC1-97AA5369634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52" name="Graphic 1114">
                      <a:extLst>
                        <a:ext uri="{FF2B5EF4-FFF2-40B4-BE49-F238E27FC236}">
                          <a16:creationId xmlns:a16="http://schemas.microsoft.com/office/drawing/2014/main" id="{2AE57AC1-A795-9DF1-9039-D273E544BF0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53" name="Graphic 1115">
                      <a:extLst>
                        <a:ext uri="{FF2B5EF4-FFF2-40B4-BE49-F238E27FC236}">
                          <a16:creationId xmlns:a16="http://schemas.microsoft.com/office/drawing/2014/main" id="{4A73B3C9-E048-3812-25CA-BF7A2FB9F32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54" name="Graphic 1116">
                      <a:extLst>
                        <a:ext uri="{FF2B5EF4-FFF2-40B4-BE49-F238E27FC236}">
                          <a16:creationId xmlns:a16="http://schemas.microsoft.com/office/drawing/2014/main" id="{AFABCB5C-863D-7114-47DA-4B75BC660DC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55" name="Graphic 1117">
                      <a:extLst>
                        <a:ext uri="{FF2B5EF4-FFF2-40B4-BE49-F238E27FC236}">
                          <a16:creationId xmlns:a16="http://schemas.microsoft.com/office/drawing/2014/main" id="{AA2502E0-3097-242B-0C45-D9E3772F81E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56" name="Graphic 1118">
                      <a:extLst>
                        <a:ext uri="{FF2B5EF4-FFF2-40B4-BE49-F238E27FC236}">
                          <a16:creationId xmlns:a16="http://schemas.microsoft.com/office/drawing/2014/main" id="{07201B2F-C661-5DAF-D058-C0EE63806DD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57" name="Graphic 1119">
                      <a:extLst>
                        <a:ext uri="{FF2B5EF4-FFF2-40B4-BE49-F238E27FC236}">
                          <a16:creationId xmlns:a16="http://schemas.microsoft.com/office/drawing/2014/main" id="{A5739BB7-323B-8042-1F83-192B4D5EE12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58" name="Graphic 1120">
                      <a:extLst>
                        <a:ext uri="{FF2B5EF4-FFF2-40B4-BE49-F238E27FC236}">
                          <a16:creationId xmlns:a16="http://schemas.microsoft.com/office/drawing/2014/main" id="{6E8F9DC2-E513-2C89-67BE-5D33FDB70F1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59" name="Graphic 1121">
                      <a:extLst>
                        <a:ext uri="{FF2B5EF4-FFF2-40B4-BE49-F238E27FC236}">
                          <a16:creationId xmlns:a16="http://schemas.microsoft.com/office/drawing/2014/main" id="{2D14750E-743B-A849-AB41-FD09C9AD25E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60" name="Graphic 1122">
                      <a:extLst>
                        <a:ext uri="{FF2B5EF4-FFF2-40B4-BE49-F238E27FC236}">
                          <a16:creationId xmlns:a16="http://schemas.microsoft.com/office/drawing/2014/main" id="{CDCD9305-0F4A-8789-82E6-573729F7A40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61" name="Graphic 1123">
                      <a:extLst>
                        <a:ext uri="{FF2B5EF4-FFF2-40B4-BE49-F238E27FC236}">
                          <a16:creationId xmlns:a16="http://schemas.microsoft.com/office/drawing/2014/main" id="{1E816787-8503-CC89-36CD-29E4C155FB9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62" name="Graphic 1124">
                      <a:extLst>
                        <a:ext uri="{FF2B5EF4-FFF2-40B4-BE49-F238E27FC236}">
                          <a16:creationId xmlns:a16="http://schemas.microsoft.com/office/drawing/2014/main" id="{CE53063B-736C-1A26-AED1-9F2CAEF08DB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63" name="Graphic 1125">
                      <a:extLst>
                        <a:ext uri="{FF2B5EF4-FFF2-40B4-BE49-F238E27FC236}">
                          <a16:creationId xmlns:a16="http://schemas.microsoft.com/office/drawing/2014/main" id="{9A7F6254-92BA-F731-9A20-BBDE8BFEAE1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64" name="Graphic 1126">
                      <a:extLst>
                        <a:ext uri="{FF2B5EF4-FFF2-40B4-BE49-F238E27FC236}">
                          <a16:creationId xmlns:a16="http://schemas.microsoft.com/office/drawing/2014/main" id="{B52E91D5-F5B6-3B85-F1CC-924496BA88A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65" name="Graphic 1127">
                      <a:extLst>
                        <a:ext uri="{FF2B5EF4-FFF2-40B4-BE49-F238E27FC236}">
                          <a16:creationId xmlns:a16="http://schemas.microsoft.com/office/drawing/2014/main" id="{1F99863F-83B4-E673-25B4-BE6A5548D8E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66" name="Graphic 1128">
                      <a:extLst>
                        <a:ext uri="{FF2B5EF4-FFF2-40B4-BE49-F238E27FC236}">
                          <a16:creationId xmlns:a16="http://schemas.microsoft.com/office/drawing/2014/main" id="{3B6A0922-08C9-C532-251E-6026612E0AE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5031" name="Graphic 1093">
                  <a:extLst>
                    <a:ext uri="{FF2B5EF4-FFF2-40B4-BE49-F238E27FC236}">
                      <a16:creationId xmlns:a16="http://schemas.microsoft.com/office/drawing/2014/main" id="{6668C1E8-8F18-AE9D-BE8A-AE95EA05B9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32" name="Graphic 1094">
                  <a:extLst>
                    <a:ext uri="{FF2B5EF4-FFF2-40B4-BE49-F238E27FC236}">
                      <a16:creationId xmlns:a16="http://schemas.microsoft.com/office/drawing/2014/main" id="{4D9A3ACB-3E6E-B7B1-2041-388AA1A6CB7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33" name="Graphic 1095">
                  <a:extLst>
                    <a:ext uri="{FF2B5EF4-FFF2-40B4-BE49-F238E27FC236}">
                      <a16:creationId xmlns:a16="http://schemas.microsoft.com/office/drawing/2014/main" id="{610AFEDC-21F0-8C99-85A5-E2BFF66D26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34" name="Graphic 1096">
                  <a:extLst>
                    <a:ext uri="{FF2B5EF4-FFF2-40B4-BE49-F238E27FC236}">
                      <a16:creationId xmlns:a16="http://schemas.microsoft.com/office/drawing/2014/main" id="{FE955C7F-2F14-73DD-8E15-E0D653BF7F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5035" name="Graphic 1097">
                  <a:extLst>
                    <a:ext uri="{FF2B5EF4-FFF2-40B4-BE49-F238E27FC236}">
                      <a16:creationId xmlns:a16="http://schemas.microsoft.com/office/drawing/2014/main" id="{E958A930-F2F9-8681-5082-68147DF1660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36" name="Graphic 1098">
                  <a:extLst>
                    <a:ext uri="{FF2B5EF4-FFF2-40B4-BE49-F238E27FC236}">
                      <a16:creationId xmlns:a16="http://schemas.microsoft.com/office/drawing/2014/main" id="{49786763-A5EB-8687-FC16-1AD61539A9B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5037" name="Graphic 1099">
                  <a:extLst>
                    <a:ext uri="{FF2B5EF4-FFF2-40B4-BE49-F238E27FC236}">
                      <a16:creationId xmlns:a16="http://schemas.microsoft.com/office/drawing/2014/main" id="{37186401-40C5-F37E-51B4-A17729F70C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38" name="Graphic 1100">
                  <a:extLst>
                    <a:ext uri="{FF2B5EF4-FFF2-40B4-BE49-F238E27FC236}">
                      <a16:creationId xmlns:a16="http://schemas.microsoft.com/office/drawing/2014/main" id="{46836A5B-29F8-9B34-8B6D-692E9773332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39" name="Graphic 1101">
                  <a:extLst>
                    <a:ext uri="{FF2B5EF4-FFF2-40B4-BE49-F238E27FC236}">
                      <a16:creationId xmlns:a16="http://schemas.microsoft.com/office/drawing/2014/main" id="{17EF625E-22E3-8CC4-7F39-684ECBCF31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40" name="Graphic 1102">
                  <a:extLst>
                    <a:ext uri="{FF2B5EF4-FFF2-40B4-BE49-F238E27FC236}">
                      <a16:creationId xmlns:a16="http://schemas.microsoft.com/office/drawing/2014/main" id="{293E1809-7798-2709-5B0F-9477BC847F4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41" name="Graphic 1103">
                  <a:extLst>
                    <a:ext uri="{FF2B5EF4-FFF2-40B4-BE49-F238E27FC236}">
                      <a16:creationId xmlns:a16="http://schemas.microsoft.com/office/drawing/2014/main" id="{E0711895-83E2-83A0-CCC8-343FA721490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42" name="Graphic 1104">
                  <a:extLst>
                    <a:ext uri="{FF2B5EF4-FFF2-40B4-BE49-F238E27FC236}">
                      <a16:creationId xmlns:a16="http://schemas.microsoft.com/office/drawing/2014/main" id="{3389538D-695A-5720-5DBC-D1C38D89C83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43" name="Graphic 1105">
                  <a:extLst>
                    <a:ext uri="{FF2B5EF4-FFF2-40B4-BE49-F238E27FC236}">
                      <a16:creationId xmlns:a16="http://schemas.microsoft.com/office/drawing/2014/main" id="{9F24081B-559B-56A4-3B83-62ED9DC5720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5026" name="Graphic 1088">
                <a:extLst>
                  <a:ext uri="{FF2B5EF4-FFF2-40B4-BE49-F238E27FC236}">
                    <a16:creationId xmlns:a16="http://schemas.microsoft.com/office/drawing/2014/main" id="{2FCD4EEF-C757-3043-8271-25D95C7177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027" name="Graphic 1089">
                <a:extLst>
                  <a:ext uri="{FF2B5EF4-FFF2-40B4-BE49-F238E27FC236}">
                    <a16:creationId xmlns:a16="http://schemas.microsoft.com/office/drawing/2014/main" id="{12EEB8A9-B111-943B-D508-F58E904963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028" name="Graphic 1090">
                <a:extLst>
                  <a:ext uri="{FF2B5EF4-FFF2-40B4-BE49-F238E27FC236}">
                    <a16:creationId xmlns:a16="http://schemas.microsoft.com/office/drawing/2014/main" id="{64EA618E-8F12-1540-F0DF-7F401C8743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029" name="Graphic 1091">
                <a:extLst>
                  <a:ext uri="{FF2B5EF4-FFF2-40B4-BE49-F238E27FC236}">
                    <a16:creationId xmlns:a16="http://schemas.microsoft.com/office/drawing/2014/main" id="{CD02597D-6072-E874-4545-2492AAD158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50" name="Group 12">
              <a:extLst>
                <a:ext uri="{FF2B5EF4-FFF2-40B4-BE49-F238E27FC236}">
                  <a16:creationId xmlns:a16="http://schemas.microsoft.com/office/drawing/2014/main" id="{37CF7923-F6A2-8F93-6322-74D195448A47}"/>
                </a:ext>
              </a:extLst>
            </p:cNvPr>
            <p:cNvGrpSpPr/>
            <p:nvPr/>
          </p:nvGrpSpPr>
          <p:grpSpPr>
            <a:xfrm>
              <a:off x="1030300" y="3521930"/>
              <a:ext cx="135763" cy="134108"/>
              <a:chOff x="5071590" y="2724817"/>
              <a:chExt cx="1901239" cy="1655213"/>
            </a:xfrm>
          </p:grpSpPr>
          <p:grpSp>
            <p:nvGrpSpPr>
              <p:cNvPr id="4983" name="Group 1045">
                <a:extLst>
                  <a:ext uri="{FF2B5EF4-FFF2-40B4-BE49-F238E27FC236}">
                    <a16:creationId xmlns:a16="http://schemas.microsoft.com/office/drawing/2014/main" id="{833EDBCF-7C03-8629-921C-A3047921BE7F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988" name="Group 1050">
                  <a:extLst>
                    <a:ext uri="{FF2B5EF4-FFF2-40B4-BE49-F238E27FC236}">
                      <a16:creationId xmlns:a16="http://schemas.microsoft.com/office/drawing/2014/main" id="{404463B0-72F1-6D75-1D13-1CC31CE3BB60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5002" name="Oval 1064">
                    <a:extLst>
                      <a:ext uri="{FF2B5EF4-FFF2-40B4-BE49-F238E27FC236}">
                        <a16:creationId xmlns:a16="http://schemas.microsoft.com/office/drawing/2014/main" id="{63F13A15-63EB-5950-99B8-1E459478A8FA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5003" name="Group 1065">
                    <a:extLst>
                      <a:ext uri="{FF2B5EF4-FFF2-40B4-BE49-F238E27FC236}">
                        <a16:creationId xmlns:a16="http://schemas.microsoft.com/office/drawing/2014/main" id="{F3B075BA-4054-B0BF-1FF0-BBC0798DB179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5004" name="Graphic 1066">
                      <a:extLst>
                        <a:ext uri="{FF2B5EF4-FFF2-40B4-BE49-F238E27FC236}">
                          <a16:creationId xmlns:a16="http://schemas.microsoft.com/office/drawing/2014/main" id="{6EB6A7D6-89B8-4A6C-8C71-498864F67F2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05" name="Graphic 1067">
                      <a:extLst>
                        <a:ext uri="{FF2B5EF4-FFF2-40B4-BE49-F238E27FC236}">
                          <a16:creationId xmlns:a16="http://schemas.microsoft.com/office/drawing/2014/main" id="{06A9D174-977D-6C52-41A6-0668CD2EEF7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06" name="Graphic 1068">
                      <a:extLst>
                        <a:ext uri="{FF2B5EF4-FFF2-40B4-BE49-F238E27FC236}">
                          <a16:creationId xmlns:a16="http://schemas.microsoft.com/office/drawing/2014/main" id="{2653AF3A-F516-F858-6275-B604793C012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07" name="Graphic 1069">
                      <a:extLst>
                        <a:ext uri="{FF2B5EF4-FFF2-40B4-BE49-F238E27FC236}">
                          <a16:creationId xmlns:a16="http://schemas.microsoft.com/office/drawing/2014/main" id="{5E9DDAF5-C0BF-F842-8BA0-A748EDDA300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08" name="Graphic 1070">
                      <a:extLst>
                        <a:ext uri="{FF2B5EF4-FFF2-40B4-BE49-F238E27FC236}">
                          <a16:creationId xmlns:a16="http://schemas.microsoft.com/office/drawing/2014/main" id="{8BAE0B58-585B-189A-718D-EB5A50F63B2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09" name="Graphic 1071">
                      <a:extLst>
                        <a:ext uri="{FF2B5EF4-FFF2-40B4-BE49-F238E27FC236}">
                          <a16:creationId xmlns:a16="http://schemas.microsoft.com/office/drawing/2014/main" id="{501CC867-7B66-4749-6ADE-DF757BDDE2A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10" name="Graphic 1072">
                      <a:extLst>
                        <a:ext uri="{FF2B5EF4-FFF2-40B4-BE49-F238E27FC236}">
                          <a16:creationId xmlns:a16="http://schemas.microsoft.com/office/drawing/2014/main" id="{AD9FB5A2-3C4A-492B-133F-E29C3597AE2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11" name="Graphic 1073">
                      <a:extLst>
                        <a:ext uri="{FF2B5EF4-FFF2-40B4-BE49-F238E27FC236}">
                          <a16:creationId xmlns:a16="http://schemas.microsoft.com/office/drawing/2014/main" id="{AD628CF0-1BE6-3C00-35BD-EBD1E6485F0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12" name="Graphic 1074">
                      <a:extLst>
                        <a:ext uri="{FF2B5EF4-FFF2-40B4-BE49-F238E27FC236}">
                          <a16:creationId xmlns:a16="http://schemas.microsoft.com/office/drawing/2014/main" id="{78DC1444-5A65-40A0-1AEC-05A9317E4CF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13" name="Graphic 1075">
                      <a:extLst>
                        <a:ext uri="{FF2B5EF4-FFF2-40B4-BE49-F238E27FC236}">
                          <a16:creationId xmlns:a16="http://schemas.microsoft.com/office/drawing/2014/main" id="{1968AE05-399B-91E3-4953-333E59F2A74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14" name="Graphic 1076">
                      <a:extLst>
                        <a:ext uri="{FF2B5EF4-FFF2-40B4-BE49-F238E27FC236}">
                          <a16:creationId xmlns:a16="http://schemas.microsoft.com/office/drawing/2014/main" id="{483A8D07-41AC-45F9-6D46-9F89A15CC93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15" name="Graphic 1077">
                      <a:extLst>
                        <a:ext uri="{FF2B5EF4-FFF2-40B4-BE49-F238E27FC236}">
                          <a16:creationId xmlns:a16="http://schemas.microsoft.com/office/drawing/2014/main" id="{8CDB70BE-E877-27C7-E959-44CF48A64CF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16" name="Graphic 1078">
                      <a:extLst>
                        <a:ext uri="{FF2B5EF4-FFF2-40B4-BE49-F238E27FC236}">
                          <a16:creationId xmlns:a16="http://schemas.microsoft.com/office/drawing/2014/main" id="{772D1FE4-C666-C7BE-713F-793A0D518C9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17" name="Graphic 1079">
                      <a:extLst>
                        <a:ext uri="{FF2B5EF4-FFF2-40B4-BE49-F238E27FC236}">
                          <a16:creationId xmlns:a16="http://schemas.microsoft.com/office/drawing/2014/main" id="{AB840E2A-D8B2-7D68-8D69-8C59053F053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18" name="Graphic 1080">
                      <a:extLst>
                        <a:ext uri="{FF2B5EF4-FFF2-40B4-BE49-F238E27FC236}">
                          <a16:creationId xmlns:a16="http://schemas.microsoft.com/office/drawing/2014/main" id="{F299F7BC-0F7B-0796-DA6A-578585AB53D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19" name="Graphic 1081">
                      <a:extLst>
                        <a:ext uri="{FF2B5EF4-FFF2-40B4-BE49-F238E27FC236}">
                          <a16:creationId xmlns:a16="http://schemas.microsoft.com/office/drawing/2014/main" id="{218663D2-500C-E589-D493-48E3AF3DEF4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20" name="Graphic 1082">
                      <a:extLst>
                        <a:ext uri="{FF2B5EF4-FFF2-40B4-BE49-F238E27FC236}">
                          <a16:creationId xmlns:a16="http://schemas.microsoft.com/office/drawing/2014/main" id="{60C415A3-4DF7-791F-F711-536120324F5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21" name="Graphic 1083">
                      <a:extLst>
                        <a:ext uri="{FF2B5EF4-FFF2-40B4-BE49-F238E27FC236}">
                          <a16:creationId xmlns:a16="http://schemas.microsoft.com/office/drawing/2014/main" id="{AC6FF559-3673-3553-E60D-B93946E26A4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22" name="Graphic 1084">
                      <a:extLst>
                        <a:ext uri="{FF2B5EF4-FFF2-40B4-BE49-F238E27FC236}">
                          <a16:creationId xmlns:a16="http://schemas.microsoft.com/office/drawing/2014/main" id="{9AAB9887-BD09-35B4-3E99-1F63F9B720C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23" name="Graphic 1085">
                      <a:extLst>
                        <a:ext uri="{FF2B5EF4-FFF2-40B4-BE49-F238E27FC236}">
                          <a16:creationId xmlns:a16="http://schemas.microsoft.com/office/drawing/2014/main" id="{80DC8612-CF8D-B820-685C-6DF0D0707EF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24" name="Graphic 1086">
                      <a:extLst>
                        <a:ext uri="{FF2B5EF4-FFF2-40B4-BE49-F238E27FC236}">
                          <a16:creationId xmlns:a16="http://schemas.microsoft.com/office/drawing/2014/main" id="{C33B9CA2-7C44-74C2-B601-589CE5A5B99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989" name="Graphic 1051">
                  <a:extLst>
                    <a:ext uri="{FF2B5EF4-FFF2-40B4-BE49-F238E27FC236}">
                      <a16:creationId xmlns:a16="http://schemas.microsoft.com/office/drawing/2014/main" id="{48FCFB7B-08E0-BBBD-D475-3457EFF570E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90" name="Graphic 1052">
                  <a:extLst>
                    <a:ext uri="{FF2B5EF4-FFF2-40B4-BE49-F238E27FC236}">
                      <a16:creationId xmlns:a16="http://schemas.microsoft.com/office/drawing/2014/main" id="{A381CB62-94B2-FBC4-2798-46492001884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91" name="Graphic 1053">
                  <a:extLst>
                    <a:ext uri="{FF2B5EF4-FFF2-40B4-BE49-F238E27FC236}">
                      <a16:creationId xmlns:a16="http://schemas.microsoft.com/office/drawing/2014/main" id="{F0ECD397-F848-9E11-6E09-3FC5486DFD1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92" name="Graphic 1054">
                  <a:extLst>
                    <a:ext uri="{FF2B5EF4-FFF2-40B4-BE49-F238E27FC236}">
                      <a16:creationId xmlns:a16="http://schemas.microsoft.com/office/drawing/2014/main" id="{4B019E34-E84A-16C9-45D1-E86B37DB83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993" name="Graphic 1055">
                  <a:extLst>
                    <a:ext uri="{FF2B5EF4-FFF2-40B4-BE49-F238E27FC236}">
                      <a16:creationId xmlns:a16="http://schemas.microsoft.com/office/drawing/2014/main" id="{E05AD3E2-1B62-198C-D801-64B2C8FAAB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94" name="Graphic 1056">
                  <a:extLst>
                    <a:ext uri="{FF2B5EF4-FFF2-40B4-BE49-F238E27FC236}">
                      <a16:creationId xmlns:a16="http://schemas.microsoft.com/office/drawing/2014/main" id="{D29DE6E2-FD86-3738-33AB-1A57D9F60F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995" name="Graphic 1057">
                  <a:extLst>
                    <a:ext uri="{FF2B5EF4-FFF2-40B4-BE49-F238E27FC236}">
                      <a16:creationId xmlns:a16="http://schemas.microsoft.com/office/drawing/2014/main" id="{E95B9CED-3529-F27F-4666-85436CD6BF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96" name="Graphic 1058">
                  <a:extLst>
                    <a:ext uri="{FF2B5EF4-FFF2-40B4-BE49-F238E27FC236}">
                      <a16:creationId xmlns:a16="http://schemas.microsoft.com/office/drawing/2014/main" id="{678BB525-78F4-B1DE-5918-57D4BC13649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97" name="Graphic 1059">
                  <a:extLst>
                    <a:ext uri="{FF2B5EF4-FFF2-40B4-BE49-F238E27FC236}">
                      <a16:creationId xmlns:a16="http://schemas.microsoft.com/office/drawing/2014/main" id="{C002D592-7FA2-804B-AAA5-06866E5C2A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98" name="Graphic 1060">
                  <a:extLst>
                    <a:ext uri="{FF2B5EF4-FFF2-40B4-BE49-F238E27FC236}">
                      <a16:creationId xmlns:a16="http://schemas.microsoft.com/office/drawing/2014/main" id="{0C232143-9D94-672F-2117-9E4CDC06D8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99" name="Graphic 1061">
                  <a:extLst>
                    <a:ext uri="{FF2B5EF4-FFF2-40B4-BE49-F238E27FC236}">
                      <a16:creationId xmlns:a16="http://schemas.microsoft.com/office/drawing/2014/main" id="{B30C4BD7-9126-FD85-3373-20D04CEE6D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00" name="Graphic 1062">
                  <a:extLst>
                    <a:ext uri="{FF2B5EF4-FFF2-40B4-BE49-F238E27FC236}">
                      <a16:creationId xmlns:a16="http://schemas.microsoft.com/office/drawing/2014/main" id="{0A62E55A-8A09-2319-27BB-1C38A706CDB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001" name="Graphic 1063">
                  <a:extLst>
                    <a:ext uri="{FF2B5EF4-FFF2-40B4-BE49-F238E27FC236}">
                      <a16:creationId xmlns:a16="http://schemas.microsoft.com/office/drawing/2014/main" id="{DE4A93E1-1730-E788-4CC7-8BE5BD2498D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984" name="Graphic 1046">
                <a:extLst>
                  <a:ext uri="{FF2B5EF4-FFF2-40B4-BE49-F238E27FC236}">
                    <a16:creationId xmlns:a16="http://schemas.microsoft.com/office/drawing/2014/main" id="{3F2C19BF-2C37-5BE4-87BB-71317EAFE2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985" name="Graphic 1047">
                <a:extLst>
                  <a:ext uri="{FF2B5EF4-FFF2-40B4-BE49-F238E27FC236}">
                    <a16:creationId xmlns:a16="http://schemas.microsoft.com/office/drawing/2014/main" id="{62AD91BA-66F4-0CA5-F8A1-D64D87E518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986" name="Graphic 1048">
                <a:extLst>
                  <a:ext uri="{FF2B5EF4-FFF2-40B4-BE49-F238E27FC236}">
                    <a16:creationId xmlns:a16="http://schemas.microsoft.com/office/drawing/2014/main" id="{0B2EB4B9-BEFF-8B10-869E-31EE75F55D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987" name="Graphic 1049">
                <a:extLst>
                  <a:ext uri="{FF2B5EF4-FFF2-40B4-BE49-F238E27FC236}">
                    <a16:creationId xmlns:a16="http://schemas.microsoft.com/office/drawing/2014/main" id="{BA235F7B-FB57-B997-D43E-4A0837AE07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51" name="Group 13">
              <a:extLst>
                <a:ext uri="{FF2B5EF4-FFF2-40B4-BE49-F238E27FC236}">
                  <a16:creationId xmlns:a16="http://schemas.microsoft.com/office/drawing/2014/main" id="{AB617E40-AAF6-A4AB-4802-939C0CFF4D18}"/>
                </a:ext>
              </a:extLst>
            </p:cNvPr>
            <p:cNvGrpSpPr/>
            <p:nvPr/>
          </p:nvGrpSpPr>
          <p:grpSpPr>
            <a:xfrm>
              <a:off x="1327381" y="3720626"/>
              <a:ext cx="125864" cy="124330"/>
              <a:chOff x="5071590" y="2724817"/>
              <a:chExt cx="1901239" cy="1655213"/>
            </a:xfrm>
          </p:grpSpPr>
          <p:grpSp>
            <p:nvGrpSpPr>
              <p:cNvPr id="4941" name="Group 1003">
                <a:extLst>
                  <a:ext uri="{FF2B5EF4-FFF2-40B4-BE49-F238E27FC236}">
                    <a16:creationId xmlns:a16="http://schemas.microsoft.com/office/drawing/2014/main" id="{7FB18EBD-32A3-1512-8FF8-C5AB8C2CD677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946" name="Group 1008">
                  <a:extLst>
                    <a:ext uri="{FF2B5EF4-FFF2-40B4-BE49-F238E27FC236}">
                      <a16:creationId xmlns:a16="http://schemas.microsoft.com/office/drawing/2014/main" id="{790A133B-E98B-3822-1E66-5072259A49C7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960" name="Oval 1022">
                    <a:extLst>
                      <a:ext uri="{FF2B5EF4-FFF2-40B4-BE49-F238E27FC236}">
                        <a16:creationId xmlns:a16="http://schemas.microsoft.com/office/drawing/2014/main" id="{BB333C33-D8C9-B902-39A5-5C1E2CADCDA0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961" name="Group 1023">
                    <a:extLst>
                      <a:ext uri="{FF2B5EF4-FFF2-40B4-BE49-F238E27FC236}">
                        <a16:creationId xmlns:a16="http://schemas.microsoft.com/office/drawing/2014/main" id="{5D8F8228-D65C-C354-DDA9-BE4AC50FC8A3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962" name="Graphic 1024">
                      <a:extLst>
                        <a:ext uri="{FF2B5EF4-FFF2-40B4-BE49-F238E27FC236}">
                          <a16:creationId xmlns:a16="http://schemas.microsoft.com/office/drawing/2014/main" id="{8ED55834-764D-304C-4DD4-452BF23AD2E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63" name="Graphic 1025">
                      <a:extLst>
                        <a:ext uri="{FF2B5EF4-FFF2-40B4-BE49-F238E27FC236}">
                          <a16:creationId xmlns:a16="http://schemas.microsoft.com/office/drawing/2014/main" id="{174582D5-06D8-E5CC-93A2-522CC0B7201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64" name="Graphic 1026">
                      <a:extLst>
                        <a:ext uri="{FF2B5EF4-FFF2-40B4-BE49-F238E27FC236}">
                          <a16:creationId xmlns:a16="http://schemas.microsoft.com/office/drawing/2014/main" id="{897DC933-1792-D112-CE51-C1CF4D70806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65" name="Graphic 1027">
                      <a:extLst>
                        <a:ext uri="{FF2B5EF4-FFF2-40B4-BE49-F238E27FC236}">
                          <a16:creationId xmlns:a16="http://schemas.microsoft.com/office/drawing/2014/main" id="{EF666A11-83E5-EE4F-C97D-F8F931C18A4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66" name="Graphic 1028">
                      <a:extLst>
                        <a:ext uri="{FF2B5EF4-FFF2-40B4-BE49-F238E27FC236}">
                          <a16:creationId xmlns:a16="http://schemas.microsoft.com/office/drawing/2014/main" id="{AA86907E-AB29-86BC-34C9-EA36108D1B9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67" name="Graphic 1029">
                      <a:extLst>
                        <a:ext uri="{FF2B5EF4-FFF2-40B4-BE49-F238E27FC236}">
                          <a16:creationId xmlns:a16="http://schemas.microsoft.com/office/drawing/2014/main" id="{15C18BD4-53EC-B2D7-CA7C-24A7C968E0A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68" name="Graphic 1030">
                      <a:extLst>
                        <a:ext uri="{FF2B5EF4-FFF2-40B4-BE49-F238E27FC236}">
                          <a16:creationId xmlns:a16="http://schemas.microsoft.com/office/drawing/2014/main" id="{90FB9706-2BD6-2CE2-57D7-76F41073B66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69" name="Graphic 1031">
                      <a:extLst>
                        <a:ext uri="{FF2B5EF4-FFF2-40B4-BE49-F238E27FC236}">
                          <a16:creationId xmlns:a16="http://schemas.microsoft.com/office/drawing/2014/main" id="{03AC6E82-F48F-8EED-3290-EEDA9628841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70" name="Graphic 1032">
                      <a:extLst>
                        <a:ext uri="{FF2B5EF4-FFF2-40B4-BE49-F238E27FC236}">
                          <a16:creationId xmlns:a16="http://schemas.microsoft.com/office/drawing/2014/main" id="{4467B419-C5E2-703E-CD19-F1F8B2DC414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71" name="Graphic 1033">
                      <a:extLst>
                        <a:ext uri="{FF2B5EF4-FFF2-40B4-BE49-F238E27FC236}">
                          <a16:creationId xmlns:a16="http://schemas.microsoft.com/office/drawing/2014/main" id="{DA2A2148-DD56-B4C8-3CFC-867081F2E17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72" name="Graphic 1034">
                      <a:extLst>
                        <a:ext uri="{FF2B5EF4-FFF2-40B4-BE49-F238E27FC236}">
                          <a16:creationId xmlns:a16="http://schemas.microsoft.com/office/drawing/2014/main" id="{80B57406-48A0-C6CE-9A71-58B943E3B85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73" name="Graphic 1035">
                      <a:extLst>
                        <a:ext uri="{FF2B5EF4-FFF2-40B4-BE49-F238E27FC236}">
                          <a16:creationId xmlns:a16="http://schemas.microsoft.com/office/drawing/2014/main" id="{7259BF21-3B86-B2EA-F5E8-F7DAA6797E3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74" name="Graphic 1036">
                      <a:extLst>
                        <a:ext uri="{FF2B5EF4-FFF2-40B4-BE49-F238E27FC236}">
                          <a16:creationId xmlns:a16="http://schemas.microsoft.com/office/drawing/2014/main" id="{B4A56D36-6502-969E-4606-62B5109C0AB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75" name="Graphic 1037">
                      <a:extLst>
                        <a:ext uri="{FF2B5EF4-FFF2-40B4-BE49-F238E27FC236}">
                          <a16:creationId xmlns:a16="http://schemas.microsoft.com/office/drawing/2014/main" id="{0D3852A3-BF01-1E7D-917C-87126627AEA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76" name="Graphic 1038">
                      <a:extLst>
                        <a:ext uri="{FF2B5EF4-FFF2-40B4-BE49-F238E27FC236}">
                          <a16:creationId xmlns:a16="http://schemas.microsoft.com/office/drawing/2014/main" id="{D0AC78E1-D5DA-AB7A-510B-D8AD2650EA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77" name="Graphic 1039">
                      <a:extLst>
                        <a:ext uri="{FF2B5EF4-FFF2-40B4-BE49-F238E27FC236}">
                          <a16:creationId xmlns:a16="http://schemas.microsoft.com/office/drawing/2014/main" id="{D907BB66-4606-4C7C-B355-D1099FE4917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78" name="Graphic 1040">
                      <a:extLst>
                        <a:ext uri="{FF2B5EF4-FFF2-40B4-BE49-F238E27FC236}">
                          <a16:creationId xmlns:a16="http://schemas.microsoft.com/office/drawing/2014/main" id="{0B62CB94-08A5-C9C1-34E9-515F2F32E7E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79" name="Graphic 1041">
                      <a:extLst>
                        <a:ext uri="{FF2B5EF4-FFF2-40B4-BE49-F238E27FC236}">
                          <a16:creationId xmlns:a16="http://schemas.microsoft.com/office/drawing/2014/main" id="{4C6AEB5E-9652-B8DE-541E-D533306464C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80" name="Graphic 1042">
                      <a:extLst>
                        <a:ext uri="{FF2B5EF4-FFF2-40B4-BE49-F238E27FC236}">
                          <a16:creationId xmlns:a16="http://schemas.microsoft.com/office/drawing/2014/main" id="{759A7B84-8D0E-28EF-58EA-10C4AF6D951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81" name="Graphic 1043">
                      <a:extLst>
                        <a:ext uri="{FF2B5EF4-FFF2-40B4-BE49-F238E27FC236}">
                          <a16:creationId xmlns:a16="http://schemas.microsoft.com/office/drawing/2014/main" id="{AD142C9D-603B-58AD-2B64-13A4B808855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82" name="Graphic 1044">
                      <a:extLst>
                        <a:ext uri="{FF2B5EF4-FFF2-40B4-BE49-F238E27FC236}">
                          <a16:creationId xmlns:a16="http://schemas.microsoft.com/office/drawing/2014/main" id="{453E0962-6820-104C-9341-07B15F5B27E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947" name="Graphic 1009">
                  <a:extLst>
                    <a:ext uri="{FF2B5EF4-FFF2-40B4-BE49-F238E27FC236}">
                      <a16:creationId xmlns:a16="http://schemas.microsoft.com/office/drawing/2014/main" id="{69E3F7CD-BA6C-FE81-3D8C-D650F243AD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48" name="Graphic 1010">
                  <a:extLst>
                    <a:ext uri="{FF2B5EF4-FFF2-40B4-BE49-F238E27FC236}">
                      <a16:creationId xmlns:a16="http://schemas.microsoft.com/office/drawing/2014/main" id="{E5E455D0-28C1-733C-DED6-7CCA4B8FA6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49" name="Graphic 1011">
                  <a:extLst>
                    <a:ext uri="{FF2B5EF4-FFF2-40B4-BE49-F238E27FC236}">
                      <a16:creationId xmlns:a16="http://schemas.microsoft.com/office/drawing/2014/main" id="{143B337A-D46D-8518-DD3A-0BA238DEF6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50" name="Graphic 1012">
                  <a:extLst>
                    <a:ext uri="{FF2B5EF4-FFF2-40B4-BE49-F238E27FC236}">
                      <a16:creationId xmlns:a16="http://schemas.microsoft.com/office/drawing/2014/main" id="{21345D48-E18F-943E-53D9-8835C2481F3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951" name="Graphic 1013">
                  <a:extLst>
                    <a:ext uri="{FF2B5EF4-FFF2-40B4-BE49-F238E27FC236}">
                      <a16:creationId xmlns:a16="http://schemas.microsoft.com/office/drawing/2014/main" id="{15A2F741-5214-FD36-489A-D0A8A890B80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52" name="Graphic 1014">
                  <a:extLst>
                    <a:ext uri="{FF2B5EF4-FFF2-40B4-BE49-F238E27FC236}">
                      <a16:creationId xmlns:a16="http://schemas.microsoft.com/office/drawing/2014/main" id="{6956B1D9-779F-E64A-5D43-10912A9C62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953" name="Graphic 1015">
                  <a:extLst>
                    <a:ext uri="{FF2B5EF4-FFF2-40B4-BE49-F238E27FC236}">
                      <a16:creationId xmlns:a16="http://schemas.microsoft.com/office/drawing/2014/main" id="{5C00F1C4-DCB2-555D-3FA8-29A7DBB5C54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54" name="Graphic 1016">
                  <a:extLst>
                    <a:ext uri="{FF2B5EF4-FFF2-40B4-BE49-F238E27FC236}">
                      <a16:creationId xmlns:a16="http://schemas.microsoft.com/office/drawing/2014/main" id="{AF661C3C-828F-58C2-7F69-1F3BD0B571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55" name="Graphic 1017">
                  <a:extLst>
                    <a:ext uri="{FF2B5EF4-FFF2-40B4-BE49-F238E27FC236}">
                      <a16:creationId xmlns:a16="http://schemas.microsoft.com/office/drawing/2014/main" id="{54E123F0-1302-AB4E-4888-C3625412834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56" name="Graphic 1018">
                  <a:extLst>
                    <a:ext uri="{FF2B5EF4-FFF2-40B4-BE49-F238E27FC236}">
                      <a16:creationId xmlns:a16="http://schemas.microsoft.com/office/drawing/2014/main" id="{4F879921-DE5D-4569-5997-910BF36E6D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57" name="Graphic 1019">
                  <a:extLst>
                    <a:ext uri="{FF2B5EF4-FFF2-40B4-BE49-F238E27FC236}">
                      <a16:creationId xmlns:a16="http://schemas.microsoft.com/office/drawing/2014/main" id="{57EBA51F-9DBE-C5C7-7FB5-A728C8B7B0A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58" name="Graphic 1020">
                  <a:extLst>
                    <a:ext uri="{FF2B5EF4-FFF2-40B4-BE49-F238E27FC236}">
                      <a16:creationId xmlns:a16="http://schemas.microsoft.com/office/drawing/2014/main" id="{0B662F9B-8E77-43D5-F404-80C218F9387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59" name="Graphic 1021">
                  <a:extLst>
                    <a:ext uri="{FF2B5EF4-FFF2-40B4-BE49-F238E27FC236}">
                      <a16:creationId xmlns:a16="http://schemas.microsoft.com/office/drawing/2014/main" id="{571E1192-14D1-3A57-1E1D-6F2FCD6128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942" name="Graphic 1004">
                <a:extLst>
                  <a:ext uri="{FF2B5EF4-FFF2-40B4-BE49-F238E27FC236}">
                    <a16:creationId xmlns:a16="http://schemas.microsoft.com/office/drawing/2014/main" id="{3ED86641-204C-8AD2-10F3-C5C4F00E5D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943" name="Graphic 1005">
                <a:extLst>
                  <a:ext uri="{FF2B5EF4-FFF2-40B4-BE49-F238E27FC236}">
                    <a16:creationId xmlns:a16="http://schemas.microsoft.com/office/drawing/2014/main" id="{0ED32318-2772-2841-7D8B-93FE802A6C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944" name="Graphic 1006">
                <a:extLst>
                  <a:ext uri="{FF2B5EF4-FFF2-40B4-BE49-F238E27FC236}">
                    <a16:creationId xmlns:a16="http://schemas.microsoft.com/office/drawing/2014/main" id="{F15374D2-F203-7592-E2AD-49C881D120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945" name="Graphic 1007">
                <a:extLst>
                  <a:ext uri="{FF2B5EF4-FFF2-40B4-BE49-F238E27FC236}">
                    <a16:creationId xmlns:a16="http://schemas.microsoft.com/office/drawing/2014/main" id="{A894DC91-61B1-45E8-21F2-D3D74BD1F6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52" name="Group 14">
              <a:extLst>
                <a:ext uri="{FF2B5EF4-FFF2-40B4-BE49-F238E27FC236}">
                  <a16:creationId xmlns:a16="http://schemas.microsoft.com/office/drawing/2014/main" id="{FEB4098E-9B23-CAA2-DB6C-2BEAD9E6E5E2}"/>
                </a:ext>
              </a:extLst>
            </p:cNvPr>
            <p:cNvGrpSpPr/>
            <p:nvPr/>
          </p:nvGrpSpPr>
          <p:grpSpPr>
            <a:xfrm>
              <a:off x="1225142" y="3780434"/>
              <a:ext cx="61436" cy="60687"/>
              <a:chOff x="5071590" y="2724817"/>
              <a:chExt cx="1901239" cy="1655213"/>
            </a:xfrm>
          </p:grpSpPr>
          <p:grpSp>
            <p:nvGrpSpPr>
              <p:cNvPr id="4899" name="Group 961">
                <a:extLst>
                  <a:ext uri="{FF2B5EF4-FFF2-40B4-BE49-F238E27FC236}">
                    <a16:creationId xmlns:a16="http://schemas.microsoft.com/office/drawing/2014/main" id="{503DEFD6-7CD4-B097-2A71-B620B995B03D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904" name="Group 966">
                  <a:extLst>
                    <a:ext uri="{FF2B5EF4-FFF2-40B4-BE49-F238E27FC236}">
                      <a16:creationId xmlns:a16="http://schemas.microsoft.com/office/drawing/2014/main" id="{2F6B3537-FBC5-42F2-E1CC-68F9E77E08A1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918" name="Oval 980">
                    <a:extLst>
                      <a:ext uri="{FF2B5EF4-FFF2-40B4-BE49-F238E27FC236}">
                        <a16:creationId xmlns:a16="http://schemas.microsoft.com/office/drawing/2014/main" id="{0AAE46E3-5126-CCC4-7304-57171FA220B0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919" name="Group 981">
                    <a:extLst>
                      <a:ext uri="{FF2B5EF4-FFF2-40B4-BE49-F238E27FC236}">
                        <a16:creationId xmlns:a16="http://schemas.microsoft.com/office/drawing/2014/main" id="{1EB6232B-E5DE-88B6-4EE7-2779964388D3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920" name="Graphic 982">
                      <a:extLst>
                        <a:ext uri="{FF2B5EF4-FFF2-40B4-BE49-F238E27FC236}">
                          <a16:creationId xmlns:a16="http://schemas.microsoft.com/office/drawing/2014/main" id="{AE0CD5C0-EA1E-951C-4F02-5FED504A978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21" name="Graphic 983">
                      <a:extLst>
                        <a:ext uri="{FF2B5EF4-FFF2-40B4-BE49-F238E27FC236}">
                          <a16:creationId xmlns:a16="http://schemas.microsoft.com/office/drawing/2014/main" id="{EDF630B8-1E57-3C43-E484-D6F1065D38D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22" name="Graphic 984">
                      <a:extLst>
                        <a:ext uri="{FF2B5EF4-FFF2-40B4-BE49-F238E27FC236}">
                          <a16:creationId xmlns:a16="http://schemas.microsoft.com/office/drawing/2014/main" id="{006F3330-6FD2-FC19-596E-484245EDAED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23" name="Graphic 985">
                      <a:extLst>
                        <a:ext uri="{FF2B5EF4-FFF2-40B4-BE49-F238E27FC236}">
                          <a16:creationId xmlns:a16="http://schemas.microsoft.com/office/drawing/2014/main" id="{2A4F25EA-E5BF-D4A2-B4CE-A6B306D49AE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24" name="Graphic 986">
                      <a:extLst>
                        <a:ext uri="{FF2B5EF4-FFF2-40B4-BE49-F238E27FC236}">
                          <a16:creationId xmlns:a16="http://schemas.microsoft.com/office/drawing/2014/main" id="{F2145ED3-223B-3006-2489-0957D0C791F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25" name="Graphic 987">
                      <a:extLst>
                        <a:ext uri="{FF2B5EF4-FFF2-40B4-BE49-F238E27FC236}">
                          <a16:creationId xmlns:a16="http://schemas.microsoft.com/office/drawing/2014/main" id="{6CFB54FB-70A1-7F30-6C63-5816A7CD95F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26" name="Graphic 988">
                      <a:extLst>
                        <a:ext uri="{FF2B5EF4-FFF2-40B4-BE49-F238E27FC236}">
                          <a16:creationId xmlns:a16="http://schemas.microsoft.com/office/drawing/2014/main" id="{BB8DA2EE-E683-4E09-6070-13DD7553AC3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27" name="Graphic 989">
                      <a:extLst>
                        <a:ext uri="{FF2B5EF4-FFF2-40B4-BE49-F238E27FC236}">
                          <a16:creationId xmlns:a16="http://schemas.microsoft.com/office/drawing/2014/main" id="{491AB589-7757-DD57-BD50-CC011F0DBA2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28" name="Graphic 990">
                      <a:extLst>
                        <a:ext uri="{FF2B5EF4-FFF2-40B4-BE49-F238E27FC236}">
                          <a16:creationId xmlns:a16="http://schemas.microsoft.com/office/drawing/2014/main" id="{D8712961-C811-EC60-1FA8-E2F5305F395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29" name="Graphic 991">
                      <a:extLst>
                        <a:ext uri="{FF2B5EF4-FFF2-40B4-BE49-F238E27FC236}">
                          <a16:creationId xmlns:a16="http://schemas.microsoft.com/office/drawing/2014/main" id="{FFDA7DD4-1681-E7FB-66DC-5E98ABD2A4D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30" name="Graphic 992">
                      <a:extLst>
                        <a:ext uri="{FF2B5EF4-FFF2-40B4-BE49-F238E27FC236}">
                          <a16:creationId xmlns:a16="http://schemas.microsoft.com/office/drawing/2014/main" id="{2C0B84D5-7F10-4C29-F870-52395488FA6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31" name="Graphic 993">
                      <a:extLst>
                        <a:ext uri="{FF2B5EF4-FFF2-40B4-BE49-F238E27FC236}">
                          <a16:creationId xmlns:a16="http://schemas.microsoft.com/office/drawing/2014/main" id="{1EC17475-8275-5707-5E16-C5205605E76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32" name="Graphic 994">
                      <a:extLst>
                        <a:ext uri="{FF2B5EF4-FFF2-40B4-BE49-F238E27FC236}">
                          <a16:creationId xmlns:a16="http://schemas.microsoft.com/office/drawing/2014/main" id="{CB0E4F94-B347-506A-D282-73BC0637778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33" name="Graphic 995">
                      <a:extLst>
                        <a:ext uri="{FF2B5EF4-FFF2-40B4-BE49-F238E27FC236}">
                          <a16:creationId xmlns:a16="http://schemas.microsoft.com/office/drawing/2014/main" id="{BE114A1D-3B1C-D40C-DC3E-6CD50541775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34" name="Graphic 996">
                      <a:extLst>
                        <a:ext uri="{FF2B5EF4-FFF2-40B4-BE49-F238E27FC236}">
                          <a16:creationId xmlns:a16="http://schemas.microsoft.com/office/drawing/2014/main" id="{95AE6F55-C349-697E-5E77-152DC77D60E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35" name="Graphic 997">
                      <a:extLst>
                        <a:ext uri="{FF2B5EF4-FFF2-40B4-BE49-F238E27FC236}">
                          <a16:creationId xmlns:a16="http://schemas.microsoft.com/office/drawing/2014/main" id="{31160664-05A1-BED6-F1D1-B00DD7594DD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36" name="Graphic 998">
                      <a:extLst>
                        <a:ext uri="{FF2B5EF4-FFF2-40B4-BE49-F238E27FC236}">
                          <a16:creationId xmlns:a16="http://schemas.microsoft.com/office/drawing/2014/main" id="{0056A5B3-F0C6-77B6-0C5A-E53180F6FE6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37" name="Graphic 999">
                      <a:extLst>
                        <a:ext uri="{FF2B5EF4-FFF2-40B4-BE49-F238E27FC236}">
                          <a16:creationId xmlns:a16="http://schemas.microsoft.com/office/drawing/2014/main" id="{655824CC-DEEA-AA10-A7A4-3040B5D224B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38" name="Graphic 1000">
                      <a:extLst>
                        <a:ext uri="{FF2B5EF4-FFF2-40B4-BE49-F238E27FC236}">
                          <a16:creationId xmlns:a16="http://schemas.microsoft.com/office/drawing/2014/main" id="{3FCFB7D4-9C6C-ADA0-7D87-74B3050DC9A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39" name="Graphic 1001">
                      <a:extLst>
                        <a:ext uri="{FF2B5EF4-FFF2-40B4-BE49-F238E27FC236}">
                          <a16:creationId xmlns:a16="http://schemas.microsoft.com/office/drawing/2014/main" id="{6F2B41D7-1CC1-E046-A972-7912D875E6D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40" name="Graphic 1002">
                      <a:extLst>
                        <a:ext uri="{FF2B5EF4-FFF2-40B4-BE49-F238E27FC236}">
                          <a16:creationId xmlns:a16="http://schemas.microsoft.com/office/drawing/2014/main" id="{D3EC51E0-5CBE-D555-1D16-4FB5F14E807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905" name="Graphic 967">
                  <a:extLst>
                    <a:ext uri="{FF2B5EF4-FFF2-40B4-BE49-F238E27FC236}">
                      <a16:creationId xmlns:a16="http://schemas.microsoft.com/office/drawing/2014/main" id="{504234AE-7139-D7AB-8EF0-3A2630F1A5C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06" name="Graphic 968">
                  <a:extLst>
                    <a:ext uri="{FF2B5EF4-FFF2-40B4-BE49-F238E27FC236}">
                      <a16:creationId xmlns:a16="http://schemas.microsoft.com/office/drawing/2014/main" id="{8D0AAFE6-1F22-EE4F-0822-6D01A11A62F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07" name="Graphic 969">
                  <a:extLst>
                    <a:ext uri="{FF2B5EF4-FFF2-40B4-BE49-F238E27FC236}">
                      <a16:creationId xmlns:a16="http://schemas.microsoft.com/office/drawing/2014/main" id="{267971BA-1C07-3A5B-29C0-62872E7D7F8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08" name="Graphic 970">
                  <a:extLst>
                    <a:ext uri="{FF2B5EF4-FFF2-40B4-BE49-F238E27FC236}">
                      <a16:creationId xmlns:a16="http://schemas.microsoft.com/office/drawing/2014/main" id="{CB336CC9-62D0-74C4-E4A3-5E57B8CE094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909" name="Graphic 971">
                  <a:extLst>
                    <a:ext uri="{FF2B5EF4-FFF2-40B4-BE49-F238E27FC236}">
                      <a16:creationId xmlns:a16="http://schemas.microsoft.com/office/drawing/2014/main" id="{31476B79-4757-4476-A825-87B9EF4B30B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10" name="Graphic 972">
                  <a:extLst>
                    <a:ext uri="{FF2B5EF4-FFF2-40B4-BE49-F238E27FC236}">
                      <a16:creationId xmlns:a16="http://schemas.microsoft.com/office/drawing/2014/main" id="{64484605-F121-8501-0218-B5007B0923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911" name="Graphic 973">
                  <a:extLst>
                    <a:ext uri="{FF2B5EF4-FFF2-40B4-BE49-F238E27FC236}">
                      <a16:creationId xmlns:a16="http://schemas.microsoft.com/office/drawing/2014/main" id="{3A9D61FB-9E63-639C-895B-85FC50AA51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12" name="Graphic 974">
                  <a:extLst>
                    <a:ext uri="{FF2B5EF4-FFF2-40B4-BE49-F238E27FC236}">
                      <a16:creationId xmlns:a16="http://schemas.microsoft.com/office/drawing/2014/main" id="{1230BD00-6263-5E45-D35A-964C4AB832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13" name="Graphic 975">
                  <a:extLst>
                    <a:ext uri="{FF2B5EF4-FFF2-40B4-BE49-F238E27FC236}">
                      <a16:creationId xmlns:a16="http://schemas.microsoft.com/office/drawing/2014/main" id="{21A7128B-7C59-AC99-6E7B-D5585B3EC7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14" name="Graphic 976">
                  <a:extLst>
                    <a:ext uri="{FF2B5EF4-FFF2-40B4-BE49-F238E27FC236}">
                      <a16:creationId xmlns:a16="http://schemas.microsoft.com/office/drawing/2014/main" id="{5D8F27F7-2505-513F-438F-4389B28122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15" name="Graphic 977">
                  <a:extLst>
                    <a:ext uri="{FF2B5EF4-FFF2-40B4-BE49-F238E27FC236}">
                      <a16:creationId xmlns:a16="http://schemas.microsoft.com/office/drawing/2014/main" id="{6C997FF0-BCAB-840A-DBCE-FE040790372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16" name="Graphic 978">
                  <a:extLst>
                    <a:ext uri="{FF2B5EF4-FFF2-40B4-BE49-F238E27FC236}">
                      <a16:creationId xmlns:a16="http://schemas.microsoft.com/office/drawing/2014/main" id="{32155AAB-5B72-639F-3854-8F50EC0CB1C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917" name="Graphic 979">
                  <a:extLst>
                    <a:ext uri="{FF2B5EF4-FFF2-40B4-BE49-F238E27FC236}">
                      <a16:creationId xmlns:a16="http://schemas.microsoft.com/office/drawing/2014/main" id="{17E8B747-1338-7D6F-8458-64E4EBB5CC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900" name="Graphic 962">
                <a:extLst>
                  <a:ext uri="{FF2B5EF4-FFF2-40B4-BE49-F238E27FC236}">
                    <a16:creationId xmlns:a16="http://schemas.microsoft.com/office/drawing/2014/main" id="{3436B0AA-FC89-306A-03A0-2E2854EDBD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901" name="Graphic 963">
                <a:extLst>
                  <a:ext uri="{FF2B5EF4-FFF2-40B4-BE49-F238E27FC236}">
                    <a16:creationId xmlns:a16="http://schemas.microsoft.com/office/drawing/2014/main" id="{707D8433-3D6E-E0DB-14F8-B2FA376736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902" name="Graphic 964">
                <a:extLst>
                  <a:ext uri="{FF2B5EF4-FFF2-40B4-BE49-F238E27FC236}">
                    <a16:creationId xmlns:a16="http://schemas.microsoft.com/office/drawing/2014/main" id="{908F22DD-7759-3AEC-9F3E-A7E72793F9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903" name="Graphic 965">
                <a:extLst>
                  <a:ext uri="{FF2B5EF4-FFF2-40B4-BE49-F238E27FC236}">
                    <a16:creationId xmlns:a16="http://schemas.microsoft.com/office/drawing/2014/main" id="{7E78F05D-4307-91C6-16F5-1C8BBF8AD7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53" name="Group 15">
              <a:extLst>
                <a:ext uri="{FF2B5EF4-FFF2-40B4-BE49-F238E27FC236}">
                  <a16:creationId xmlns:a16="http://schemas.microsoft.com/office/drawing/2014/main" id="{C00860D1-CCB3-D3E0-0653-BF3A69C80F06}"/>
                </a:ext>
              </a:extLst>
            </p:cNvPr>
            <p:cNvGrpSpPr/>
            <p:nvPr/>
          </p:nvGrpSpPr>
          <p:grpSpPr>
            <a:xfrm>
              <a:off x="826965" y="3368556"/>
              <a:ext cx="163034" cy="161047"/>
              <a:chOff x="5071590" y="2724817"/>
              <a:chExt cx="1901239" cy="1655213"/>
            </a:xfrm>
          </p:grpSpPr>
          <p:grpSp>
            <p:nvGrpSpPr>
              <p:cNvPr id="4857" name="Group 919">
                <a:extLst>
                  <a:ext uri="{FF2B5EF4-FFF2-40B4-BE49-F238E27FC236}">
                    <a16:creationId xmlns:a16="http://schemas.microsoft.com/office/drawing/2014/main" id="{CB968601-6096-1477-4FE1-3234B3B51636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862" name="Group 924">
                  <a:extLst>
                    <a:ext uri="{FF2B5EF4-FFF2-40B4-BE49-F238E27FC236}">
                      <a16:creationId xmlns:a16="http://schemas.microsoft.com/office/drawing/2014/main" id="{68F8357B-022E-FA24-A578-F048831FACC6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876" name="Oval 938">
                    <a:extLst>
                      <a:ext uri="{FF2B5EF4-FFF2-40B4-BE49-F238E27FC236}">
                        <a16:creationId xmlns:a16="http://schemas.microsoft.com/office/drawing/2014/main" id="{96703492-632F-39D7-10A2-E922D51B5B10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877" name="Group 939">
                    <a:extLst>
                      <a:ext uri="{FF2B5EF4-FFF2-40B4-BE49-F238E27FC236}">
                        <a16:creationId xmlns:a16="http://schemas.microsoft.com/office/drawing/2014/main" id="{522BFFD7-BD1F-6976-120C-776C9E7509B6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878" name="Graphic 940">
                      <a:extLst>
                        <a:ext uri="{FF2B5EF4-FFF2-40B4-BE49-F238E27FC236}">
                          <a16:creationId xmlns:a16="http://schemas.microsoft.com/office/drawing/2014/main" id="{DAA585FB-15B1-D34A-CD2C-CDC3AFACB6D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79" name="Graphic 941">
                      <a:extLst>
                        <a:ext uri="{FF2B5EF4-FFF2-40B4-BE49-F238E27FC236}">
                          <a16:creationId xmlns:a16="http://schemas.microsoft.com/office/drawing/2014/main" id="{1A451BAB-FB6C-C838-0C15-DED6195420D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80" name="Graphic 942">
                      <a:extLst>
                        <a:ext uri="{FF2B5EF4-FFF2-40B4-BE49-F238E27FC236}">
                          <a16:creationId xmlns:a16="http://schemas.microsoft.com/office/drawing/2014/main" id="{C7E966A5-4C8B-8F45-D2F3-F5CB8D2FD48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81" name="Graphic 943">
                      <a:extLst>
                        <a:ext uri="{FF2B5EF4-FFF2-40B4-BE49-F238E27FC236}">
                          <a16:creationId xmlns:a16="http://schemas.microsoft.com/office/drawing/2014/main" id="{60F6CD3E-54D6-2788-C262-BD3CB86A8C6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82" name="Graphic 944">
                      <a:extLst>
                        <a:ext uri="{FF2B5EF4-FFF2-40B4-BE49-F238E27FC236}">
                          <a16:creationId xmlns:a16="http://schemas.microsoft.com/office/drawing/2014/main" id="{6C807DCC-EF85-4F65-5DD2-E0E6D112486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83" name="Graphic 945">
                      <a:extLst>
                        <a:ext uri="{FF2B5EF4-FFF2-40B4-BE49-F238E27FC236}">
                          <a16:creationId xmlns:a16="http://schemas.microsoft.com/office/drawing/2014/main" id="{52D9A21F-3F83-3614-87D2-D0F9A20BDE8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84" name="Graphic 946">
                      <a:extLst>
                        <a:ext uri="{FF2B5EF4-FFF2-40B4-BE49-F238E27FC236}">
                          <a16:creationId xmlns:a16="http://schemas.microsoft.com/office/drawing/2014/main" id="{7CA13E79-CBE7-DEC8-F977-84A44422991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85" name="Graphic 947">
                      <a:extLst>
                        <a:ext uri="{FF2B5EF4-FFF2-40B4-BE49-F238E27FC236}">
                          <a16:creationId xmlns:a16="http://schemas.microsoft.com/office/drawing/2014/main" id="{D8EE5DA2-3DDD-C333-9CEE-96190169784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86" name="Graphic 948">
                      <a:extLst>
                        <a:ext uri="{FF2B5EF4-FFF2-40B4-BE49-F238E27FC236}">
                          <a16:creationId xmlns:a16="http://schemas.microsoft.com/office/drawing/2014/main" id="{816878EF-7345-C8D0-4EA9-5D40500BB26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87" name="Graphic 949">
                      <a:extLst>
                        <a:ext uri="{FF2B5EF4-FFF2-40B4-BE49-F238E27FC236}">
                          <a16:creationId xmlns:a16="http://schemas.microsoft.com/office/drawing/2014/main" id="{ED824963-FA47-E402-C69F-39F3296847C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88" name="Graphic 950">
                      <a:extLst>
                        <a:ext uri="{FF2B5EF4-FFF2-40B4-BE49-F238E27FC236}">
                          <a16:creationId xmlns:a16="http://schemas.microsoft.com/office/drawing/2014/main" id="{8F5D81A3-0824-C701-6591-538FC42942A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89" name="Graphic 951">
                      <a:extLst>
                        <a:ext uri="{FF2B5EF4-FFF2-40B4-BE49-F238E27FC236}">
                          <a16:creationId xmlns:a16="http://schemas.microsoft.com/office/drawing/2014/main" id="{CE9E328C-5858-2595-EF59-572C57CD68D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90" name="Graphic 952">
                      <a:extLst>
                        <a:ext uri="{FF2B5EF4-FFF2-40B4-BE49-F238E27FC236}">
                          <a16:creationId xmlns:a16="http://schemas.microsoft.com/office/drawing/2014/main" id="{BE49F930-2B0C-5B45-90E7-64F9275647E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91" name="Graphic 953">
                      <a:extLst>
                        <a:ext uri="{FF2B5EF4-FFF2-40B4-BE49-F238E27FC236}">
                          <a16:creationId xmlns:a16="http://schemas.microsoft.com/office/drawing/2014/main" id="{A0D58B67-B32B-3542-83F9-DC05CD4BBFD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92" name="Graphic 954">
                      <a:extLst>
                        <a:ext uri="{FF2B5EF4-FFF2-40B4-BE49-F238E27FC236}">
                          <a16:creationId xmlns:a16="http://schemas.microsoft.com/office/drawing/2014/main" id="{B29BF06E-5966-DF93-FF72-0614BC6679C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93" name="Graphic 955">
                      <a:extLst>
                        <a:ext uri="{FF2B5EF4-FFF2-40B4-BE49-F238E27FC236}">
                          <a16:creationId xmlns:a16="http://schemas.microsoft.com/office/drawing/2014/main" id="{8727FAC5-CA71-B342-81BE-9D942E4372A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94" name="Graphic 956">
                      <a:extLst>
                        <a:ext uri="{FF2B5EF4-FFF2-40B4-BE49-F238E27FC236}">
                          <a16:creationId xmlns:a16="http://schemas.microsoft.com/office/drawing/2014/main" id="{3FDA26D7-45EE-CEC0-43FF-53B673384F7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95" name="Graphic 957">
                      <a:extLst>
                        <a:ext uri="{FF2B5EF4-FFF2-40B4-BE49-F238E27FC236}">
                          <a16:creationId xmlns:a16="http://schemas.microsoft.com/office/drawing/2014/main" id="{67410C49-A095-C39E-7663-EE896B5B702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96" name="Graphic 958">
                      <a:extLst>
                        <a:ext uri="{FF2B5EF4-FFF2-40B4-BE49-F238E27FC236}">
                          <a16:creationId xmlns:a16="http://schemas.microsoft.com/office/drawing/2014/main" id="{9296E684-E535-0744-D262-5B6A52EE728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97" name="Graphic 959">
                      <a:extLst>
                        <a:ext uri="{FF2B5EF4-FFF2-40B4-BE49-F238E27FC236}">
                          <a16:creationId xmlns:a16="http://schemas.microsoft.com/office/drawing/2014/main" id="{10654D99-C357-46F2-A4BA-51A96C97A09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98" name="Graphic 960">
                      <a:extLst>
                        <a:ext uri="{FF2B5EF4-FFF2-40B4-BE49-F238E27FC236}">
                          <a16:creationId xmlns:a16="http://schemas.microsoft.com/office/drawing/2014/main" id="{98887AE2-E880-CA68-3AF2-D18141F7BD7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863" name="Graphic 925">
                  <a:extLst>
                    <a:ext uri="{FF2B5EF4-FFF2-40B4-BE49-F238E27FC236}">
                      <a16:creationId xmlns:a16="http://schemas.microsoft.com/office/drawing/2014/main" id="{C1F93761-A7F9-DDD5-12C5-203C1B7B23F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64" name="Graphic 926">
                  <a:extLst>
                    <a:ext uri="{FF2B5EF4-FFF2-40B4-BE49-F238E27FC236}">
                      <a16:creationId xmlns:a16="http://schemas.microsoft.com/office/drawing/2014/main" id="{60D48F94-138B-7DD0-E871-1A59F855D3D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65" name="Graphic 927">
                  <a:extLst>
                    <a:ext uri="{FF2B5EF4-FFF2-40B4-BE49-F238E27FC236}">
                      <a16:creationId xmlns:a16="http://schemas.microsoft.com/office/drawing/2014/main" id="{DCB1FA08-9043-76BB-74CA-D4EF697290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66" name="Graphic 928">
                  <a:extLst>
                    <a:ext uri="{FF2B5EF4-FFF2-40B4-BE49-F238E27FC236}">
                      <a16:creationId xmlns:a16="http://schemas.microsoft.com/office/drawing/2014/main" id="{B3A4B955-307F-C8B7-B3F5-29CA2B75A01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867" name="Graphic 929">
                  <a:extLst>
                    <a:ext uri="{FF2B5EF4-FFF2-40B4-BE49-F238E27FC236}">
                      <a16:creationId xmlns:a16="http://schemas.microsoft.com/office/drawing/2014/main" id="{CE4916FD-DBEA-4086-10B7-BE2E0B12709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68" name="Graphic 930">
                  <a:extLst>
                    <a:ext uri="{FF2B5EF4-FFF2-40B4-BE49-F238E27FC236}">
                      <a16:creationId xmlns:a16="http://schemas.microsoft.com/office/drawing/2014/main" id="{8E8EF058-0119-C3F7-3F29-7B335CE44C4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869" name="Graphic 931">
                  <a:extLst>
                    <a:ext uri="{FF2B5EF4-FFF2-40B4-BE49-F238E27FC236}">
                      <a16:creationId xmlns:a16="http://schemas.microsoft.com/office/drawing/2014/main" id="{90E05088-826F-AA2C-2B66-511F1CEFA10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70" name="Graphic 932">
                  <a:extLst>
                    <a:ext uri="{FF2B5EF4-FFF2-40B4-BE49-F238E27FC236}">
                      <a16:creationId xmlns:a16="http://schemas.microsoft.com/office/drawing/2014/main" id="{95FA14DB-D9F0-8DFE-4B1C-77CBBD1C3C3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71" name="Graphic 933">
                  <a:extLst>
                    <a:ext uri="{FF2B5EF4-FFF2-40B4-BE49-F238E27FC236}">
                      <a16:creationId xmlns:a16="http://schemas.microsoft.com/office/drawing/2014/main" id="{97B2D05C-BC0E-DBC3-1159-6D4ED010095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72" name="Graphic 934">
                  <a:extLst>
                    <a:ext uri="{FF2B5EF4-FFF2-40B4-BE49-F238E27FC236}">
                      <a16:creationId xmlns:a16="http://schemas.microsoft.com/office/drawing/2014/main" id="{4CAB145A-9218-1B75-A1BC-3AD45B6805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73" name="Graphic 935">
                  <a:extLst>
                    <a:ext uri="{FF2B5EF4-FFF2-40B4-BE49-F238E27FC236}">
                      <a16:creationId xmlns:a16="http://schemas.microsoft.com/office/drawing/2014/main" id="{D71F9DD5-51A7-FD00-C776-6DC53EBDA6C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74" name="Graphic 936">
                  <a:extLst>
                    <a:ext uri="{FF2B5EF4-FFF2-40B4-BE49-F238E27FC236}">
                      <a16:creationId xmlns:a16="http://schemas.microsoft.com/office/drawing/2014/main" id="{71A1B5C6-6C36-8D6A-4B60-AA8D8601DD3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75" name="Graphic 937">
                  <a:extLst>
                    <a:ext uri="{FF2B5EF4-FFF2-40B4-BE49-F238E27FC236}">
                      <a16:creationId xmlns:a16="http://schemas.microsoft.com/office/drawing/2014/main" id="{F6161C2C-CC88-5E02-CB9A-8BAEF44F8F9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858" name="Graphic 920">
                <a:extLst>
                  <a:ext uri="{FF2B5EF4-FFF2-40B4-BE49-F238E27FC236}">
                    <a16:creationId xmlns:a16="http://schemas.microsoft.com/office/drawing/2014/main" id="{4F396C58-F163-3835-AA60-58CC0A98BB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859" name="Graphic 921">
                <a:extLst>
                  <a:ext uri="{FF2B5EF4-FFF2-40B4-BE49-F238E27FC236}">
                    <a16:creationId xmlns:a16="http://schemas.microsoft.com/office/drawing/2014/main" id="{B3F82400-9BAA-C2AE-10A2-D8826D6682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860" name="Graphic 922">
                <a:extLst>
                  <a:ext uri="{FF2B5EF4-FFF2-40B4-BE49-F238E27FC236}">
                    <a16:creationId xmlns:a16="http://schemas.microsoft.com/office/drawing/2014/main" id="{59B8CAEC-DD94-FB80-2ECE-B47D0E2E15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861" name="Graphic 923">
                <a:extLst>
                  <a:ext uri="{FF2B5EF4-FFF2-40B4-BE49-F238E27FC236}">
                    <a16:creationId xmlns:a16="http://schemas.microsoft.com/office/drawing/2014/main" id="{A4D6549D-B9DB-E6EE-E179-A394662F39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54" name="Group 16">
              <a:extLst>
                <a:ext uri="{FF2B5EF4-FFF2-40B4-BE49-F238E27FC236}">
                  <a16:creationId xmlns:a16="http://schemas.microsoft.com/office/drawing/2014/main" id="{DBF10D81-FA46-11B4-032E-AF13E084ED57}"/>
                </a:ext>
              </a:extLst>
            </p:cNvPr>
            <p:cNvGrpSpPr/>
            <p:nvPr/>
          </p:nvGrpSpPr>
          <p:grpSpPr>
            <a:xfrm>
              <a:off x="493283" y="3400088"/>
              <a:ext cx="116580" cy="115160"/>
              <a:chOff x="5071590" y="2724817"/>
              <a:chExt cx="1901239" cy="1655213"/>
            </a:xfrm>
          </p:grpSpPr>
          <p:grpSp>
            <p:nvGrpSpPr>
              <p:cNvPr id="4815" name="Group 877">
                <a:extLst>
                  <a:ext uri="{FF2B5EF4-FFF2-40B4-BE49-F238E27FC236}">
                    <a16:creationId xmlns:a16="http://schemas.microsoft.com/office/drawing/2014/main" id="{B4EB4658-81F5-000D-16A8-8F6A0F0BD655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820" name="Group 882">
                  <a:extLst>
                    <a:ext uri="{FF2B5EF4-FFF2-40B4-BE49-F238E27FC236}">
                      <a16:creationId xmlns:a16="http://schemas.microsoft.com/office/drawing/2014/main" id="{9B2D8E31-DAC5-811C-8AE9-2F2FEBDA6B7A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834" name="Oval 896">
                    <a:extLst>
                      <a:ext uri="{FF2B5EF4-FFF2-40B4-BE49-F238E27FC236}">
                        <a16:creationId xmlns:a16="http://schemas.microsoft.com/office/drawing/2014/main" id="{7A55E364-EBBE-94FF-7881-5D81CA5CCD56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835" name="Group 897">
                    <a:extLst>
                      <a:ext uri="{FF2B5EF4-FFF2-40B4-BE49-F238E27FC236}">
                        <a16:creationId xmlns:a16="http://schemas.microsoft.com/office/drawing/2014/main" id="{BBEB96E2-441F-F3DB-D757-9F2DF296B665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836" name="Graphic 898">
                      <a:extLst>
                        <a:ext uri="{FF2B5EF4-FFF2-40B4-BE49-F238E27FC236}">
                          <a16:creationId xmlns:a16="http://schemas.microsoft.com/office/drawing/2014/main" id="{F9FD7067-FFB1-EA04-D331-DB1C8DBF6B2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37" name="Graphic 899">
                      <a:extLst>
                        <a:ext uri="{FF2B5EF4-FFF2-40B4-BE49-F238E27FC236}">
                          <a16:creationId xmlns:a16="http://schemas.microsoft.com/office/drawing/2014/main" id="{A0C72F3F-339B-D5E6-0738-A045A7ECA14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38" name="Graphic 900">
                      <a:extLst>
                        <a:ext uri="{FF2B5EF4-FFF2-40B4-BE49-F238E27FC236}">
                          <a16:creationId xmlns:a16="http://schemas.microsoft.com/office/drawing/2014/main" id="{4B11AE07-F788-1D73-BDE4-CF19E0F110F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39" name="Graphic 901">
                      <a:extLst>
                        <a:ext uri="{FF2B5EF4-FFF2-40B4-BE49-F238E27FC236}">
                          <a16:creationId xmlns:a16="http://schemas.microsoft.com/office/drawing/2014/main" id="{373813F7-BD0F-343F-8934-52109AF3147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40" name="Graphic 902">
                      <a:extLst>
                        <a:ext uri="{FF2B5EF4-FFF2-40B4-BE49-F238E27FC236}">
                          <a16:creationId xmlns:a16="http://schemas.microsoft.com/office/drawing/2014/main" id="{76CF1E54-4384-F4C7-7BE4-22D319F7265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41" name="Graphic 903">
                      <a:extLst>
                        <a:ext uri="{FF2B5EF4-FFF2-40B4-BE49-F238E27FC236}">
                          <a16:creationId xmlns:a16="http://schemas.microsoft.com/office/drawing/2014/main" id="{99074993-87B6-842F-CF72-AC59AC01C87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42" name="Graphic 904">
                      <a:extLst>
                        <a:ext uri="{FF2B5EF4-FFF2-40B4-BE49-F238E27FC236}">
                          <a16:creationId xmlns:a16="http://schemas.microsoft.com/office/drawing/2014/main" id="{49018A72-A27E-1E25-56E2-108FA7671ED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43" name="Graphic 905">
                      <a:extLst>
                        <a:ext uri="{FF2B5EF4-FFF2-40B4-BE49-F238E27FC236}">
                          <a16:creationId xmlns:a16="http://schemas.microsoft.com/office/drawing/2014/main" id="{6BB01AB7-9BEA-8020-D059-F4E0F00510C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44" name="Graphic 906">
                      <a:extLst>
                        <a:ext uri="{FF2B5EF4-FFF2-40B4-BE49-F238E27FC236}">
                          <a16:creationId xmlns:a16="http://schemas.microsoft.com/office/drawing/2014/main" id="{DF43234A-26EB-EDEF-1E7B-D7521D562F2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45" name="Graphic 907">
                      <a:extLst>
                        <a:ext uri="{FF2B5EF4-FFF2-40B4-BE49-F238E27FC236}">
                          <a16:creationId xmlns:a16="http://schemas.microsoft.com/office/drawing/2014/main" id="{456915A6-065A-3315-B67E-B88C76BE45C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46" name="Graphic 908">
                      <a:extLst>
                        <a:ext uri="{FF2B5EF4-FFF2-40B4-BE49-F238E27FC236}">
                          <a16:creationId xmlns:a16="http://schemas.microsoft.com/office/drawing/2014/main" id="{4BA3F7C3-C13A-6FC4-1E07-7CCA896E7AA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47" name="Graphic 909">
                      <a:extLst>
                        <a:ext uri="{FF2B5EF4-FFF2-40B4-BE49-F238E27FC236}">
                          <a16:creationId xmlns:a16="http://schemas.microsoft.com/office/drawing/2014/main" id="{666A9C3F-AE52-98B8-E7AB-5088FB202A5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48" name="Graphic 910">
                      <a:extLst>
                        <a:ext uri="{FF2B5EF4-FFF2-40B4-BE49-F238E27FC236}">
                          <a16:creationId xmlns:a16="http://schemas.microsoft.com/office/drawing/2014/main" id="{24339985-6AEE-7570-9CC5-F473B5D1F73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49" name="Graphic 911">
                      <a:extLst>
                        <a:ext uri="{FF2B5EF4-FFF2-40B4-BE49-F238E27FC236}">
                          <a16:creationId xmlns:a16="http://schemas.microsoft.com/office/drawing/2014/main" id="{B42A5D7D-1E96-9DDE-B61F-4797A4BD590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50" name="Graphic 912">
                      <a:extLst>
                        <a:ext uri="{FF2B5EF4-FFF2-40B4-BE49-F238E27FC236}">
                          <a16:creationId xmlns:a16="http://schemas.microsoft.com/office/drawing/2014/main" id="{5C1A3826-E5F0-5705-2295-2A2DF9EF65D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51" name="Graphic 913">
                      <a:extLst>
                        <a:ext uri="{FF2B5EF4-FFF2-40B4-BE49-F238E27FC236}">
                          <a16:creationId xmlns:a16="http://schemas.microsoft.com/office/drawing/2014/main" id="{66BC4DB4-2642-86F4-2D02-1C32803A63F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52" name="Graphic 914">
                      <a:extLst>
                        <a:ext uri="{FF2B5EF4-FFF2-40B4-BE49-F238E27FC236}">
                          <a16:creationId xmlns:a16="http://schemas.microsoft.com/office/drawing/2014/main" id="{646BED13-B779-BD87-9A9E-ED1E6BD54CC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53" name="Graphic 915">
                      <a:extLst>
                        <a:ext uri="{FF2B5EF4-FFF2-40B4-BE49-F238E27FC236}">
                          <a16:creationId xmlns:a16="http://schemas.microsoft.com/office/drawing/2014/main" id="{9C29CF3E-C9AD-14AF-439E-71F82545A22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54" name="Graphic 916">
                      <a:extLst>
                        <a:ext uri="{FF2B5EF4-FFF2-40B4-BE49-F238E27FC236}">
                          <a16:creationId xmlns:a16="http://schemas.microsoft.com/office/drawing/2014/main" id="{78C359EC-4E71-C530-8F99-D847214F867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55" name="Graphic 917">
                      <a:extLst>
                        <a:ext uri="{FF2B5EF4-FFF2-40B4-BE49-F238E27FC236}">
                          <a16:creationId xmlns:a16="http://schemas.microsoft.com/office/drawing/2014/main" id="{5328FF0F-763C-A6E5-D113-0B2D16C5542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56" name="Graphic 918">
                      <a:extLst>
                        <a:ext uri="{FF2B5EF4-FFF2-40B4-BE49-F238E27FC236}">
                          <a16:creationId xmlns:a16="http://schemas.microsoft.com/office/drawing/2014/main" id="{157D3618-7768-A427-775C-3824F56AFA1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821" name="Graphic 883">
                  <a:extLst>
                    <a:ext uri="{FF2B5EF4-FFF2-40B4-BE49-F238E27FC236}">
                      <a16:creationId xmlns:a16="http://schemas.microsoft.com/office/drawing/2014/main" id="{369A22F8-0598-D007-8BBD-01286CBCC3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22" name="Graphic 884">
                  <a:extLst>
                    <a:ext uri="{FF2B5EF4-FFF2-40B4-BE49-F238E27FC236}">
                      <a16:creationId xmlns:a16="http://schemas.microsoft.com/office/drawing/2014/main" id="{55868FEB-93CC-163D-99D7-F4B795DE8C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23" name="Graphic 885">
                  <a:extLst>
                    <a:ext uri="{FF2B5EF4-FFF2-40B4-BE49-F238E27FC236}">
                      <a16:creationId xmlns:a16="http://schemas.microsoft.com/office/drawing/2014/main" id="{8D6F9871-4223-4DAF-0F2A-5A0CD1814E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24" name="Graphic 886">
                  <a:extLst>
                    <a:ext uri="{FF2B5EF4-FFF2-40B4-BE49-F238E27FC236}">
                      <a16:creationId xmlns:a16="http://schemas.microsoft.com/office/drawing/2014/main" id="{ACB7F9B7-D41D-3806-C7D8-76B60B5785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825" name="Graphic 887">
                  <a:extLst>
                    <a:ext uri="{FF2B5EF4-FFF2-40B4-BE49-F238E27FC236}">
                      <a16:creationId xmlns:a16="http://schemas.microsoft.com/office/drawing/2014/main" id="{16C40983-48DF-5EBD-451F-6B9BE47052F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26" name="Graphic 888">
                  <a:extLst>
                    <a:ext uri="{FF2B5EF4-FFF2-40B4-BE49-F238E27FC236}">
                      <a16:creationId xmlns:a16="http://schemas.microsoft.com/office/drawing/2014/main" id="{E147DEE5-5D31-2F06-669A-34527098CC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827" name="Graphic 889">
                  <a:extLst>
                    <a:ext uri="{FF2B5EF4-FFF2-40B4-BE49-F238E27FC236}">
                      <a16:creationId xmlns:a16="http://schemas.microsoft.com/office/drawing/2014/main" id="{54592D08-BE51-F8CC-B142-5B335629A28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28" name="Graphic 890">
                  <a:extLst>
                    <a:ext uri="{FF2B5EF4-FFF2-40B4-BE49-F238E27FC236}">
                      <a16:creationId xmlns:a16="http://schemas.microsoft.com/office/drawing/2014/main" id="{5241F954-C589-51F9-2CEA-42E26B281F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29" name="Graphic 891">
                  <a:extLst>
                    <a:ext uri="{FF2B5EF4-FFF2-40B4-BE49-F238E27FC236}">
                      <a16:creationId xmlns:a16="http://schemas.microsoft.com/office/drawing/2014/main" id="{01C58FC6-8AA4-2500-CF56-444DD1D2DA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30" name="Graphic 892">
                  <a:extLst>
                    <a:ext uri="{FF2B5EF4-FFF2-40B4-BE49-F238E27FC236}">
                      <a16:creationId xmlns:a16="http://schemas.microsoft.com/office/drawing/2014/main" id="{A531C9D9-99BC-2291-21BF-3772645729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31" name="Graphic 893">
                  <a:extLst>
                    <a:ext uri="{FF2B5EF4-FFF2-40B4-BE49-F238E27FC236}">
                      <a16:creationId xmlns:a16="http://schemas.microsoft.com/office/drawing/2014/main" id="{F117D385-61BA-BCF9-7511-1140D0C94D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32" name="Graphic 894">
                  <a:extLst>
                    <a:ext uri="{FF2B5EF4-FFF2-40B4-BE49-F238E27FC236}">
                      <a16:creationId xmlns:a16="http://schemas.microsoft.com/office/drawing/2014/main" id="{FDF9CFFF-C343-DDAA-76B3-7E5187EBEB5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833" name="Graphic 895">
                  <a:extLst>
                    <a:ext uri="{FF2B5EF4-FFF2-40B4-BE49-F238E27FC236}">
                      <a16:creationId xmlns:a16="http://schemas.microsoft.com/office/drawing/2014/main" id="{22FD50BC-7279-D434-002A-5AE1E9C822E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816" name="Graphic 878">
                <a:extLst>
                  <a:ext uri="{FF2B5EF4-FFF2-40B4-BE49-F238E27FC236}">
                    <a16:creationId xmlns:a16="http://schemas.microsoft.com/office/drawing/2014/main" id="{29124EDB-57D9-0A46-2A88-A12E7F1FCC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817" name="Graphic 879">
                <a:extLst>
                  <a:ext uri="{FF2B5EF4-FFF2-40B4-BE49-F238E27FC236}">
                    <a16:creationId xmlns:a16="http://schemas.microsoft.com/office/drawing/2014/main" id="{2B6D3619-944D-C9EE-1008-127D49CFD7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818" name="Graphic 880">
                <a:extLst>
                  <a:ext uri="{FF2B5EF4-FFF2-40B4-BE49-F238E27FC236}">
                    <a16:creationId xmlns:a16="http://schemas.microsoft.com/office/drawing/2014/main" id="{13BED8D2-385D-9398-2852-26A5F02C71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819" name="Graphic 881">
                <a:extLst>
                  <a:ext uri="{FF2B5EF4-FFF2-40B4-BE49-F238E27FC236}">
                    <a16:creationId xmlns:a16="http://schemas.microsoft.com/office/drawing/2014/main" id="{B17339C9-B06A-F321-9497-E0A2E7A847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55" name="Group 17">
              <a:extLst>
                <a:ext uri="{FF2B5EF4-FFF2-40B4-BE49-F238E27FC236}">
                  <a16:creationId xmlns:a16="http://schemas.microsoft.com/office/drawing/2014/main" id="{4CFB8FAC-AE58-25BF-8A04-F1D7BAC6960C}"/>
                </a:ext>
              </a:extLst>
            </p:cNvPr>
            <p:cNvGrpSpPr/>
            <p:nvPr/>
          </p:nvGrpSpPr>
          <p:grpSpPr>
            <a:xfrm>
              <a:off x="769910" y="3599170"/>
              <a:ext cx="192351" cy="190007"/>
              <a:chOff x="5071590" y="2724817"/>
              <a:chExt cx="1901239" cy="1655213"/>
            </a:xfrm>
          </p:grpSpPr>
          <p:grpSp>
            <p:nvGrpSpPr>
              <p:cNvPr id="4773" name="Group 835">
                <a:extLst>
                  <a:ext uri="{FF2B5EF4-FFF2-40B4-BE49-F238E27FC236}">
                    <a16:creationId xmlns:a16="http://schemas.microsoft.com/office/drawing/2014/main" id="{429F8BF3-614A-2E39-7E33-D060FB8EC4E9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778" name="Group 840">
                  <a:extLst>
                    <a:ext uri="{FF2B5EF4-FFF2-40B4-BE49-F238E27FC236}">
                      <a16:creationId xmlns:a16="http://schemas.microsoft.com/office/drawing/2014/main" id="{A3C87EF5-B971-BA46-60B4-4FDE11E6C9CB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792" name="Oval 854">
                    <a:extLst>
                      <a:ext uri="{FF2B5EF4-FFF2-40B4-BE49-F238E27FC236}">
                        <a16:creationId xmlns:a16="http://schemas.microsoft.com/office/drawing/2014/main" id="{2E1B7305-486A-3259-C6D9-359C7CE45112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793" name="Group 855">
                    <a:extLst>
                      <a:ext uri="{FF2B5EF4-FFF2-40B4-BE49-F238E27FC236}">
                        <a16:creationId xmlns:a16="http://schemas.microsoft.com/office/drawing/2014/main" id="{66495D16-43D3-EFD2-42C5-D8256F1E6E4F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794" name="Graphic 856">
                      <a:extLst>
                        <a:ext uri="{FF2B5EF4-FFF2-40B4-BE49-F238E27FC236}">
                          <a16:creationId xmlns:a16="http://schemas.microsoft.com/office/drawing/2014/main" id="{42FF42C8-80AF-022E-853F-253B720FBAB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95" name="Graphic 857">
                      <a:extLst>
                        <a:ext uri="{FF2B5EF4-FFF2-40B4-BE49-F238E27FC236}">
                          <a16:creationId xmlns:a16="http://schemas.microsoft.com/office/drawing/2014/main" id="{F7FE575B-FCB8-64DF-AC44-E7D65862033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96" name="Graphic 858">
                      <a:extLst>
                        <a:ext uri="{FF2B5EF4-FFF2-40B4-BE49-F238E27FC236}">
                          <a16:creationId xmlns:a16="http://schemas.microsoft.com/office/drawing/2014/main" id="{FEF8E828-16EF-BD2C-0F8B-ADB44D4B551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97" name="Graphic 859">
                      <a:extLst>
                        <a:ext uri="{FF2B5EF4-FFF2-40B4-BE49-F238E27FC236}">
                          <a16:creationId xmlns:a16="http://schemas.microsoft.com/office/drawing/2014/main" id="{E7EB5472-E992-6D84-A834-9D512CB73FA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98" name="Graphic 860">
                      <a:extLst>
                        <a:ext uri="{FF2B5EF4-FFF2-40B4-BE49-F238E27FC236}">
                          <a16:creationId xmlns:a16="http://schemas.microsoft.com/office/drawing/2014/main" id="{49BC8C63-5BB7-F5F4-1F30-CCF0343A377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99" name="Graphic 861">
                      <a:extLst>
                        <a:ext uri="{FF2B5EF4-FFF2-40B4-BE49-F238E27FC236}">
                          <a16:creationId xmlns:a16="http://schemas.microsoft.com/office/drawing/2014/main" id="{90C0975A-1520-6BC2-F74B-7161E0FA368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00" name="Graphic 862">
                      <a:extLst>
                        <a:ext uri="{FF2B5EF4-FFF2-40B4-BE49-F238E27FC236}">
                          <a16:creationId xmlns:a16="http://schemas.microsoft.com/office/drawing/2014/main" id="{610F1274-E7F5-A410-C5DA-061986BF13F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01" name="Graphic 863">
                      <a:extLst>
                        <a:ext uri="{FF2B5EF4-FFF2-40B4-BE49-F238E27FC236}">
                          <a16:creationId xmlns:a16="http://schemas.microsoft.com/office/drawing/2014/main" id="{8B7C3927-CE12-C72C-CEBD-3AAED0A95DC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02" name="Graphic 864">
                      <a:extLst>
                        <a:ext uri="{FF2B5EF4-FFF2-40B4-BE49-F238E27FC236}">
                          <a16:creationId xmlns:a16="http://schemas.microsoft.com/office/drawing/2014/main" id="{C8B62B47-327A-CFC2-F7C0-FD7140D3EDE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03" name="Graphic 865">
                      <a:extLst>
                        <a:ext uri="{FF2B5EF4-FFF2-40B4-BE49-F238E27FC236}">
                          <a16:creationId xmlns:a16="http://schemas.microsoft.com/office/drawing/2014/main" id="{67E39E22-EB42-56D2-9BFA-93EDAA5A68E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04" name="Graphic 866">
                      <a:extLst>
                        <a:ext uri="{FF2B5EF4-FFF2-40B4-BE49-F238E27FC236}">
                          <a16:creationId xmlns:a16="http://schemas.microsoft.com/office/drawing/2014/main" id="{7D7F4568-BF00-1D79-6DE4-539F583961D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05" name="Graphic 867">
                      <a:extLst>
                        <a:ext uri="{FF2B5EF4-FFF2-40B4-BE49-F238E27FC236}">
                          <a16:creationId xmlns:a16="http://schemas.microsoft.com/office/drawing/2014/main" id="{6810B87D-CA8C-8B02-12E9-44B9998CDAB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06" name="Graphic 868">
                      <a:extLst>
                        <a:ext uri="{FF2B5EF4-FFF2-40B4-BE49-F238E27FC236}">
                          <a16:creationId xmlns:a16="http://schemas.microsoft.com/office/drawing/2014/main" id="{54BB4A67-498F-BB64-5CC6-FE92FD99695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07" name="Graphic 869">
                      <a:extLst>
                        <a:ext uri="{FF2B5EF4-FFF2-40B4-BE49-F238E27FC236}">
                          <a16:creationId xmlns:a16="http://schemas.microsoft.com/office/drawing/2014/main" id="{FB0CAFB4-3C3A-9393-6EC0-BEB4592615F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08" name="Graphic 870">
                      <a:extLst>
                        <a:ext uri="{FF2B5EF4-FFF2-40B4-BE49-F238E27FC236}">
                          <a16:creationId xmlns:a16="http://schemas.microsoft.com/office/drawing/2014/main" id="{BC59EE24-4891-FA8F-EB12-2F25ACD5433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09" name="Graphic 871">
                      <a:extLst>
                        <a:ext uri="{FF2B5EF4-FFF2-40B4-BE49-F238E27FC236}">
                          <a16:creationId xmlns:a16="http://schemas.microsoft.com/office/drawing/2014/main" id="{09557317-434C-9EBD-7D11-CA4F43E41C9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10" name="Graphic 872">
                      <a:extLst>
                        <a:ext uri="{FF2B5EF4-FFF2-40B4-BE49-F238E27FC236}">
                          <a16:creationId xmlns:a16="http://schemas.microsoft.com/office/drawing/2014/main" id="{D3FBE615-E8B9-16A7-A4C1-7A374DAB80B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11" name="Graphic 873">
                      <a:extLst>
                        <a:ext uri="{FF2B5EF4-FFF2-40B4-BE49-F238E27FC236}">
                          <a16:creationId xmlns:a16="http://schemas.microsoft.com/office/drawing/2014/main" id="{B82F6EF0-D80F-EF14-438B-56CFCEF018C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12" name="Graphic 874">
                      <a:extLst>
                        <a:ext uri="{FF2B5EF4-FFF2-40B4-BE49-F238E27FC236}">
                          <a16:creationId xmlns:a16="http://schemas.microsoft.com/office/drawing/2014/main" id="{8714CF54-D91E-E6BF-E29D-5D2C75AEBD8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13" name="Graphic 875">
                      <a:extLst>
                        <a:ext uri="{FF2B5EF4-FFF2-40B4-BE49-F238E27FC236}">
                          <a16:creationId xmlns:a16="http://schemas.microsoft.com/office/drawing/2014/main" id="{FD75B676-7433-C767-8B1C-E273990D7DF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14" name="Graphic 876">
                      <a:extLst>
                        <a:ext uri="{FF2B5EF4-FFF2-40B4-BE49-F238E27FC236}">
                          <a16:creationId xmlns:a16="http://schemas.microsoft.com/office/drawing/2014/main" id="{A17087B4-E62A-F24C-CCB1-F9AC74657B1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779" name="Graphic 841">
                  <a:extLst>
                    <a:ext uri="{FF2B5EF4-FFF2-40B4-BE49-F238E27FC236}">
                      <a16:creationId xmlns:a16="http://schemas.microsoft.com/office/drawing/2014/main" id="{DEAA1AD6-52CC-57F6-823E-B8644D13A33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80" name="Graphic 842">
                  <a:extLst>
                    <a:ext uri="{FF2B5EF4-FFF2-40B4-BE49-F238E27FC236}">
                      <a16:creationId xmlns:a16="http://schemas.microsoft.com/office/drawing/2014/main" id="{535ABC35-9FDA-CAC0-0EDB-F194F15B551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81" name="Graphic 843">
                  <a:extLst>
                    <a:ext uri="{FF2B5EF4-FFF2-40B4-BE49-F238E27FC236}">
                      <a16:creationId xmlns:a16="http://schemas.microsoft.com/office/drawing/2014/main" id="{FAD06357-355B-8CC8-6DA1-DF9FADD5A08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82" name="Graphic 844">
                  <a:extLst>
                    <a:ext uri="{FF2B5EF4-FFF2-40B4-BE49-F238E27FC236}">
                      <a16:creationId xmlns:a16="http://schemas.microsoft.com/office/drawing/2014/main" id="{00155533-8B10-7009-E06F-056F4FC172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783" name="Graphic 845">
                  <a:extLst>
                    <a:ext uri="{FF2B5EF4-FFF2-40B4-BE49-F238E27FC236}">
                      <a16:creationId xmlns:a16="http://schemas.microsoft.com/office/drawing/2014/main" id="{0A9A2BBA-DD4B-4B41-D7B9-48587B89C7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84" name="Graphic 846">
                  <a:extLst>
                    <a:ext uri="{FF2B5EF4-FFF2-40B4-BE49-F238E27FC236}">
                      <a16:creationId xmlns:a16="http://schemas.microsoft.com/office/drawing/2014/main" id="{FC95DD3D-F88C-19F8-7638-DC16B6AE531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785" name="Graphic 847">
                  <a:extLst>
                    <a:ext uri="{FF2B5EF4-FFF2-40B4-BE49-F238E27FC236}">
                      <a16:creationId xmlns:a16="http://schemas.microsoft.com/office/drawing/2014/main" id="{DA16981D-98FF-3499-01CD-FB8A168D754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86" name="Graphic 848">
                  <a:extLst>
                    <a:ext uri="{FF2B5EF4-FFF2-40B4-BE49-F238E27FC236}">
                      <a16:creationId xmlns:a16="http://schemas.microsoft.com/office/drawing/2014/main" id="{372B48C0-0259-EABC-EC2D-7B8ADCD4C6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87" name="Graphic 849">
                  <a:extLst>
                    <a:ext uri="{FF2B5EF4-FFF2-40B4-BE49-F238E27FC236}">
                      <a16:creationId xmlns:a16="http://schemas.microsoft.com/office/drawing/2014/main" id="{E7776AC3-310F-5FA4-D327-448426CD182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88" name="Graphic 850">
                  <a:extLst>
                    <a:ext uri="{FF2B5EF4-FFF2-40B4-BE49-F238E27FC236}">
                      <a16:creationId xmlns:a16="http://schemas.microsoft.com/office/drawing/2014/main" id="{B6E25988-2923-4745-4592-C77CF3E87E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89" name="Graphic 851">
                  <a:extLst>
                    <a:ext uri="{FF2B5EF4-FFF2-40B4-BE49-F238E27FC236}">
                      <a16:creationId xmlns:a16="http://schemas.microsoft.com/office/drawing/2014/main" id="{C895AF26-336A-0F3C-79B5-4BDF4A93F7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90" name="Graphic 852">
                  <a:extLst>
                    <a:ext uri="{FF2B5EF4-FFF2-40B4-BE49-F238E27FC236}">
                      <a16:creationId xmlns:a16="http://schemas.microsoft.com/office/drawing/2014/main" id="{D6069BF2-BDA7-1278-B351-FA8280B647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91" name="Graphic 853">
                  <a:extLst>
                    <a:ext uri="{FF2B5EF4-FFF2-40B4-BE49-F238E27FC236}">
                      <a16:creationId xmlns:a16="http://schemas.microsoft.com/office/drawing/2014/main" id="{126D3C87-2E40-FD9B-DBB1-B371D9D1DD9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774" name="Graphic 836">
                <a:extLst>
                  <a:ext uri="{FF2B5EF4-FFF2-40B4-BE49-F238E27FC236}">
                    <a16:creationId xmlns:a16="http://schemas.microsoft.com/office/drawing/2014/main" id="{CB20FC92-0A94-41A7-8F5D-726CD17823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775" name="Graphic 837">
                <a:extLst>
                  <a:ext uri="{FF2B5EF4-FFF2-40B4-BE49-F238E27FC236}">
                    <a16:creationId xmlns:a16="http://schemas.microsoft.com/office/drawing/2014/main" id="{2B4C84FC-B07A-BCCB-F27B-6423CD2ED5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776" name="Graphic 838">
                <a:extLst>
                  <a:ext uri="{FF2B5EF4-FFF2-40B4-BE49-F238E27FC236}">
                    <a16:creationId xmlns:a16="http://schemas.microsoft.com/office/drawing/2014/main" id="{40BB34E1-E0F2-9F75-5791-0701AFDB51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777" name="Graphic 839">
                <a:extLst>
                  <a:ext uri="{FF2B5EF4-FFF2-40B4-BE49-F238E27FC236}">
                    <a16:creationId xmlns:a16="http://schemas.microsoft.com/office/drawing/2014/main" id="{C42F483C-DF76-5B96-7A15-851A3000E8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56" name="Group 18">
              <a:extLst>
                <a:ext uri="{FF2B5EF4-FFF2-40B4-BE49-F238E27FC236}">
                  <a16:creationId xmlns:a16="http://schemas.microsoft.com/office/drawing/2014/main" id="{A2C0F09A-B0E1-4AFD-9465-E98FD3A50845}"/>
                </a:ext>
              </a:extLst>
            </p:cNvPr>
            <p:cNvGrpSpPr/>
            <p:nvPr/>
          </p:nvGrpSpPr>
          <p:grpSpPr>
            <a:xfrm>
              <a:off x="1674382" y="3367021"/>
              <a:ext cx="88329" cy="87252"/>
              <a:chOff x="5071590" y="2724817"/>
              <a:chExt cx="1901239" cy="1655213"/>
            </a:xfrm>
          </p:grpSpPr>
          <p:grpSp>
            <p:nvGrpSpPr>
              <p:cNvPr id="4731" name="Group 793">
                <a:extLst>
                  <a:ext uri="{FF2B5EF4-FFF2-40B4-BE49-F238E27FC236}">
                    <a16:creationId xmlns:a16="http://schemas.microsoft.com/office/drawing/2014/main" id="{D454837A-C842-4360-1B2F-C6A04B384AFF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736" name="Group 798">
                  <a:extLst>
                    <a:ext uri="{FF2B5EF4-FFF2-40B4-BE49-F238E27FC236}">
                      <a16:creationId xmlns:a16="http://schemas.microsoft.com/office/drawing/2014/main" id="{54A1163C-3274-6038-999F-1E87C31B6D0B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750" name="Oval 812">
                    <a:extLst>
                      <a:ext uri="{FF2B5EF4-FFF2-40B4-BE49-F238E27FC236}">
                        <a16:creationId xmlns:a16="http://schemas.microsoft.com/office/drawing/2014/main" id="{6C38DDD3-B4E8-63CF-EF94-820DCF90C7AC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751" name="Group 813">
                    <a:extLst>
                      <a:ext uri="{FF2B5EF4-FFF2-40B4-BE49-F238E27FC236}">
                        <a16:creationId xmlns:a16="http://schemas.microsoft.com/office/drawing/2014/main" id="{9FBDD2AE-1F66-1D4F-D551-90859083C54E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752" name="Graphic 814">
                      <a:extLst>
                        <a:ext uri="{FF2B5EF4-FFF2-40B4-BE49-F238E27FC236}">
                          <a16:creationId xmlns:a16="http://schemas.microsoft.com/office/drawing/2014/main" id="{20BCC06C-8796-8255-D9BE-BC7A3A54E15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53" name="Graphic 815">
                      <a:extLst>
                        <a:ext uri="{FF2B5EF4-FFF2-40B4-BE49-F238E27FC236}">
                          <a16:creationId xmlns:a16="http://schemas.microsoft.com/office/drawing/2014/main" id="{17BD27E2-901B-A035-EBB2-641993877CE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54" name="Graphic 816">
                      <a:extLst>
                        <a:ext uri="{FF2B5EF4-FFF2-40B4-BE49-F238E27FC236}">
                          <a16:creationId xmlns:a16="http://schemas.microsoft.com/office/drawing/2014/main" id="{4149F3DE-A014-F78D-BAB0-75956B139EC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55" name="Graphic 817">
                      <a:extLst>
                        <a:ext uri="{FF2B5EF4-FFF2-40B4-BE49-F238E27FC236}">
                          <a16:creationId xmlns:a16="http://schemas.microsoft.com/office/drawing/2014/main" id="{73B9A8EB-1C39-0670-8A77-A7BABB210EB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56" name="Graphic 818">
                      <a:extLst>
                        <a:ext uri="{FF2B5EF4-FFF2-40B4-BE49-F238E27FC236}">
                          <a16:creationId xmlns:a16="http://schemas.microsoft.com/office/drawing/2014/main" id="{78220C52-B560-29B5-1431-4B7E1D94F01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57" name="Graphic 819">
                      <a:extLst>
                        <a:ext uri="{FF2B5EF4-FFF2-40B4-BE49-F238E27FC236}">
                          <a16:creationId xmlns:a16="http://schemas.microsoft.com/office/drawing/2014/main" id="{37C96358-E280-1238-170B-DFE35F947F9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58" name="Graphic 820">
                      <a:extLst>
                        <a:ext uri="{FF2B5EF4-FFF2-40B4-BE49-F238E27FC236}">
                          <a16:creationId xmlns:a16="http://schemas.microsoft.com/office/drawing/2014/main" id="{63252A45-9EC7-AA77-C8FB-124DA5122A5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59" name="Graphic 821">
                      <a:extLst>
                        <a:ext uri="{FF2B5EF4-FFF2-40B4-BE49-F238E27FC236}">
                          <a16:creationId xmlns:a16="http://schemas.microsoft.com/office/drawing/2014/main" id="{F4ED5D08-F33E-C059-A283-919EB0807EA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60" name="Graphic 822">
                      <a:extLst>
                        <a:ext uri="{FF2B5EF4-FFF2-40B4-BE49-F238E27FC236}">
                          <a16:creationId xmlns:a16="http://schemas.microsoft.com/office/drawing/2014/main" id="{20F9C5A5-CAFB-06C3-64AB-6A9CAA18FDC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61" name="Graphic 823">
                      <a:extLst>
                        <a:ext uri="{FF2B5EF4-FFF2-40B4-BE49-F238E27FC236}">
                          <a16:creationId xmlns:a16="http://schemas.microsoft.com/office/drawing/2014/main" id="{7E8EECC0-003E-B83F-81D7-287D4E29421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62" name="Graphic 824">
                      <a:extLst>
                        <a:ext uri="{FF2B5EF4-FFF2-40B4-BE49-F238E27FC236}">
                          <a16:creationId xmlns:a16="http://schemas.microsoft.com/office/drawing/2014/main" id="{99EBE661-1FBC-9E9A-C3D9-E7284E628B7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63" name="Graphic 825">
                      <a:extLst>
                        <a:ext uri="{FF2B5EF4-FFF2-40B4-BE49-F238E27FC236}">
                          <a16:creationId xmlns:a16="http://schemas.microsoft.com/office/drawing/2014/main" id="{2C2706C3-BBEA-4223-D50D-61B6DF4602D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64" name="Graphic 826">
                      <a:extLst>
                        <a:ext uri="{FF2B5EF4-FFF2-40B4-BE49-F238E27FC236}">
                          <a16:creationId xmlns:a16="http://schemas.microsoft.com/office/drawing/2014/main" id="{875BBFB0-053D-823B-86E7-8C0FE380BD8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65" name="Graphic 827">
                      <a:extLst>
                        <a:ext uri="{FF2B5EF4-FFF2-40B4-BE49-F238E27FC236}">
                          <a16:creationId xmlns:a16="http://schemas.microsoft.com/office/drawing/2014/main" id="{378685B9-41F5-49EB-7A6F-B3217BDB8DF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66" name="Graphic 828">
                      <a:extLst>
                        <a:ext uri="{FF2B5EF4-FFF2-40B4-BE49-F238E27FC236}">
                          <a16:creationId xmlns:a16="http://schemas.microsoft.com/office/drawing/2014/main" id="{FBEBE9EC-A955-5CF0-BE99-CBEC5981406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67" name="Graphic 829">
                      <a:extLst>
                        <a:ext uri="{FF2B5EF4-FFF2-40B4-BE49-F238E27FC236}">
                          <a16:creationId xmlns:a16="http://schemas.microsoft.com/office/drawing/2014/main" id="{81B327CD-D97D-EAC3-6896-01242DB8582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68" name="Graphic 830">
                      <a:extLst>
                        <a:ext uri="{FF2B5EF4-FFF2-40B4-BE49-F238E27FC236}">
                          <a16:creationId xmlns:a16="http://schemas.microsoft.com/office/drawing/2014/main" id="{4E54649E-CED7-815B-F426-67CFFD5B71C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69" name="Graphic 831">
                      <a:extLst>
                        <a:ext uri="{FF2B5EF4-FFF2-40B4-BE49-F238E27FC236}">
                          <a16:creationId xmlns:a16="http://schemas.microsoft.com/office/drawing/2014/main" id="{C2D32033-C646-F95F-1C88-DB7AE471210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70" name="Graphic 832">
                      <a:extLst>
                        <a:ext uri="{FF2B5EF4-FFF2-40B4-BE49-F238E27FC236}">
                          <a16:creationId xmlns:a16="http://schemas.microsoft.com/office/drawing/2014/main" id="{F59621F4-E86B-FA22-D5A2-970AC5D4927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71" name="Graphic 833">
                      <a:extLst>
                        <a:ext uri="{FF2B5EF4-FFF2-40B4-BE49-F238E27FC236}">
                          <a16:creationId xmlns:a16="http://schemas.microsoft.com/office/drawing/2014/main" id="{A6BD440E-4362-F84B-477E-C63854ED209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72" name="Graphic 834">
                      <a:extLst>
                        <a:ext uri="{FF2B5EF4-FFF2-40B4-BE49-F238E27FC236}">
                          <a16:creationId xmlns:a16="http://schemas.microsoft.com/office/drawing/2014/main" id="{E2DE799F-794D-F07B-A89E-A2738FD391F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737" name="Graphic 799">
                  <a:extLst>
                    <a:ext uri="{FF2B5EF4-FFF2-40B4-BE49-F238E27FC236}">
                      <a16:creationId xmlns:a16="http://schemas.microsoft.com/office/drawing/2014/main" id="{E33985DF-CB0B-630B-C0B4-999877E9565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38" name="Graphic 800">
                  <a:extLst>
                    <a:ext uri="{FF2B5EF4-FFF2-40B4-BE49-F238E27FC236}">
                      <a16:creationId xmlns:a16="http://schemas.microsoft.com/office/drawing/2014/main" id="{24190AB4-366F-BF29-254F-A07C92ADB09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39" name="Graphic 801">
                  <a:extLst>
                    <a:ext uri="{FF2B5EF4-FFF2-40B4-BE49-F238E27FC236}">
                      <a16:creationId xmlns:a16="http://schemas.microsoft.com/office/drawing/2014/main" id="{6CA09D1B-5808-621D-62F7-6AF1020B08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40" name="Graphic 802">
                  <a:extLst>
                    <a:ext uri="{FF2B5EF4-FFF2-40B4-BE49-F238E27FC236}">
                      <a16:creationId xmlns:a16="http://schemas.microsoft.com/office/drawing/2014/main" id="{0669A15A-A30A-FAA4-04DF-15E3D96FF83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741" name="Graphic 803">
                  <a:extLst>
                    <a:ext uri="{FF2B5EF4-FFF2-40B4-BE49-F238E27FC236}">
                      <a16:creationId xmlns:a16="http://schemas.microsoft.com/office/drawing/2014/main" id="{1826BE66-BEE5-17AF-8A2A-977E8C732C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42" name="Graphic 804">
                  <a:extLst>
                    <a:ext uri="{FF2B5EF4-FFF2-40B4-BE49-F238E27FC236}">
                      <a16:creationId xmlns:a16="http://schemas.microsoft.com/office/drawing/2014/main" id="{671D9770-8AC6-1EE8-DD6C-D0092F2CC7C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743" name="Graphic 805">
                  <a:extLst>
                    <a:ext uri="{FF2B5EF4-FFF2-40B4-BE49-F238E27FC236}">
                      <a16:creationId xmlns:a16="http://schemas.microsoft.com/office/drawing/2014/main" id="{B51CE8FE-7529-9F22-944C-ACF1ACDFEAF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44" name="Graphic 806">
                  <a:extLst>
                    <a:ext uri="{FF2B5EF4-FFF2-40B4-BE49-F238E27FC236}">
                      <a16:creationId xmlns:a16="http://schemas.microsoft.com/office/drawing/2014/main" id="{9837613D-7DBE-9D0B-4F0F-C64A072C006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45" name="Graphic 807">
                  <a:extLst>
                    <a:ext uri="{FF2B5EF4-FFF2-40B4-BE49-F238E27FC236}">
                      <a16:creationId xmlns:a16="http://schemas.microsoft.com/office/drawing/2014/main" id="{FA73258D-9379-7D91-4ADB-5362781CC93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46" name="Graphic 808">
                  <a:extLst>
                    <a:ext uri="{FF2B5EF4-FFF2-40B4-BE49-F238E27FC236}">
                      <a16:creationId xmlns:a16="http://schemas.microsoft.com/office/drawing/2014/main" id="{3778B14F-AC1F-C7AC-A6F6-8039BF66DA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47" name="Graphic 809">
                  <a:extLst>
                    <a:ext uri="{FF2B5EF4-FFF2-40B4-BE49-F238E27FC236}">
                      <a16:creationId xmlns:a16="http://schemas.microsoft.com/office/drawing/2014/main" id="{E86F1D39-EE5B-2D2E-F6E0-37E7F65820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48" name="Graphic 810">
                  <a:extLst>
                    <a:ext uri="{FF2B5EF4-FFF2-40B4-BE49-F238E27FC236}">
                      <a16:creationId xmlns:a16="http://schemas.microsoft.com/office/drawing/2014/main" id="{BCE41448-364D-B565-4D9D-D477D4074D3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49" name="Graphic 811">
                  <a:extLst>
                    <a:ext uri="{FF2B5EF4-FFF2-40B4-BE49-F238E27FC236}">
                      <a16:creationId xmlns:a16="http://schemas.microsoft.com/office/drawing/2014/main" id="{D3F4AE28-8044-7005-6928-2E96A108E7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732" name="Graphic 794">
                <a:extLst>
                  <a:ext uri="{FF2B5EF4-FFF2-40B4-BE49-F238E27FC236}">
                    <a16:creationId xmlns:a16="http://schemas.microsoft.com/office/drawing/2014/main" id="{A4E72F24-E42C-7B29-FC2D-1D0FCB003F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733" name="Graphic 795">
                <a:extLst>
                  <a:ext uri="{FF2B5EF4-FFF2-40B4-BE49-F238E27FC236}">
                    <a16:creationId xmlns:a16="http://schemas.microsoft.com/office/drawing/2014/main" id="{3DB28F64-B09E-D857-7DAC-ED58550D4D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734" name="Graphic 796">
                <a:extLst>
                  <a:ext uri="{FF2B5EF4-FFF2-40B4-BE49-F238E27FC236}">
                    <a16:creationId xmlns:a16="http://schemas.microsoft.com/office/drawing/2014/main" id="{B9301F8D-FC9E-934C-E603-89C15AEA76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735" name="Graphic 797">
                <a:extLst>
                  <a:ext uri="{FF2B5EF4-FFF2-40B4-BE49-F238E27FC236}">
                    <a16:creationId xmlns:a16="http://schemas.microsoft.com/office/drawing/2014/main" id="{9A68D965-AA55-CBD5-E4AB-4404A3831B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57" name="Group 19">
              <a:extLst>
                <a:ext uri="{FF2B5EF4-FFF2-40B4-BE49-F238E27FC236}">
                  <a16:creationId xmlns:a16="http://schemas.microsoft.com/office/drawing/2014/main" id="{2186FC6F-66B5-5624-3FE8-8561A970E038}"/>
                </a:ext>
              </a:extLst>
            </p:cNvPr>
            <p:cNvGrpSpPr/>
            <p:nvPr/>
          </p:nvGrpSpPr>
          <p:grpSpPr>
            <a:xfrm>
              <a:off x="1268134" y="3434323"/>
              <a:ext cx="135763" cy="134108"/>
              <a:chOff x="5071590" y="2724817"/>
              <a:chExt cx="1901239" cy="1655213"/>
            </a:xfrm>
          </p:grpSpPr>
          <p:grpSp>
            <p:nvGrpSpPr>
              <p:cNvPr id="4689" name="Group 751">
                <a:extLst>
                  <a:ext uri="{FF2B5EF4-FFF2-40B4-BE49-F238E27FC236}">
                    <a16:creationId xmlns:a16="http://schemas.microsoft.com/office/drawing/2014/main" id="{AFEE0C48-BB15-4A9D-1EF0-6A2D10906303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694" name="Group 756">
                  <a:extLst>
                    <a:ext uri="{FF2B5EF4-FFF2-40B4-BE49-F238E27FC236}">
                      <a16:creationId xmlns:a16="http://schemas.microsoft.com/office/drawing/2014/main" id="{025B5335-352F-86C6-979B-D7B4BF7BE0AC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708" name="Oval 770">
                    <a:extLst>
                      <a:ext uri="{FF2B5EF4-FFF2-40B4-BE49-F238E27FC236}">
                        <a16:creationId xmlns:a16="http://schemas.microsoft.com/office/drawing/2014/main" id="{0818BAFE-8E3A-F914-F430-8A9003FC0ECD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709" name="Group 771">
                    <a:extLst>
                      <a:ext uri="{FF2B5EF4-FFF2-40B4-BE49-F238E27FC236}">
                        <a16:creationId xmlns:a16="http://schemas.microsoft.com/office/drawing/2014/main" id="{041750AC-B53B-A926-702D-FCBA839AB292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710" name="Graphic 772">
                      <a:extLst>
                        <a:ext uri="{FF2B5EF4-FFF2-40B4-BE49-F238E27FC236}">
                          <a16:creationId xmlns:a16="http://schemas.microsoft.com/office/drawing/2014/main" id="{1E519521-14E3-05FD-1406-4A0CDE2E2BA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11" name="Graphic 773">
                      <a:extLst>
                        <a:ext uri="{FF2B5EF4-FFF2-40B4-BE49-F238E27FC236}">
                          <a16:creationId xmlns:a16="http://schemas.microsoft.com/office/drawing/2014/main" id="{B61F59CC-6CA9-21E8-A41F-310F1BCEE6B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12" name="Graphic 774">
                      <a:extLst>
                        <a:ext uri="{FF2B5EF4-FFF2-40B4-BE49-F238E27FC236}">
                          <a16:creationId xmlns:a16="http://schemas.microsoft.com/office/drawing/2014/main" id="{9770A510-52F8-F104-B35A-20C77E339AF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13" name="Graphic 775">
                      <a:extLst>
                        <a:ext uri="{FF2B5EF4-FFF2-40B4-BE49-F238E27FC236}">
                          <a16:creationId xmlns:a16="http://schemas.microsoft.com/office/drawing/2014/main" id="{07ECB142-057E-3A7D-C27B-18F2931BAE6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14" name="Graphic 776">
                      <a:extLst>
                        <a:ext uri="{FF2B5EF4-FFF2-40B4-BE49-F238E27FC236}">
                          <a16:creationId xmlns:a16="http://schemas.microsoft.com/office/drawing/2014/main" id="{BBA782BF-F1FE-61AA-CEFC-7FF696BF7C1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15" name="Graphic 777">
                      <a:extLst>
                        <a:ext uri="{FF2B5EF4-FFF2-40B4-BE49-F238E27FC236}">
                          <a16:creationId xmlns:a16="http://schemas.microsoft.com/office/drawing/2014/main" id="{D2D396CE-51E7-D2D0-3300-5BA97F9A5C3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16" name="Graphic 778">
                      <a:extLst>
                        <a:ext uri="{FF2B5EF4-FFF2-40B4-BE49-F238E27FC236}">
                          <a16:creationId xmlns:a16="http://schemas.microsoft.com/office/drawing/2014/main" id="{A029E370-4000-4A59-69FD-687F9762970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17" name="Graphic 779">
                      <a:extLst>
                        <a:ext uri="{FF2B5EF4-FFF2-40B4-BE49-F238E27FC236}">
                          <a16:creationId xmlns:a16="http://schemas.microsoft.com/office/drawing/2014/main" id="{454BF100-02B6-6E4A-8596-53329D16BC1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18" name="Graphic 780">
                      <a:extLst>
                        <a:ext uri="{FF2B5EF4-FFF2-40B4-BE49-F238E27FC236}">
                          <a16:creationId xmlns:a16="http://schemas.microsoft.com/office/drawing/2014/main" id="{109FA32D-A386-EA99-8040-95497BEB955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19" name="Graphic 781">
                      <a:extLst>
                        <a:ext uri="{FF2B5EF4-FFF2-40B4-BE49-F238E27FC236}">
                          <a16:creationId xmlns:a16="http://schemas.microsoft.com/office/drawing/2014/main" id="{8993D0E2-4836-ACDF-7138-82B5E858DBA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20" name="Graphic 782">
                      <a:extLst>
                        <a:ext uri="{FF2B5EF4-FFF2-40B4-BE49-F238E27FC236}">
                          <a16:creationId xmlns:a16="http://schemas.microsoft.com/office/drawing/2014/main" id="{49C13B95-3C81-A41B-08A4-2BF97B4B5A1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21" name="Graphic 783">
                      <a:extLst>
                        <a:ext uri="{FF2B5EF4-FFF2-40B4-BE49-F238E27FC236}">
                          <a16:creationId xmlns:a16="http://schemas.microsoft.com/office/drawing/2014/main" id="{27AC60EF-9C33-C3EC-AA6D-4C9FBE0B464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22" name="Graphic 784">
                      <a:extLst>
                        <a:ext uri="{FF2B5EF4-FFF2-40B4-BE49-F238E27FC236}">
                          <a16:creationId xmlns:a16="http://schemas.microsoft.com/office/drawing/2014/main" id="{40A51260-9F33-85C8-0573-6F846350B63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23" name="Graphic 785">
                      <a:extLst>
                        <a:ext uri="{FF2B5EF4-FFF2-40B4-BE49-F238E27FC236}">
                          <a16:creationId xmlns:a16="http://schemas.microsoft.com/office/drawing/2014/main" id="{509D275A-D98C-4058-D228-990A37CE78A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24" name="Graphic 786">
                      <a:extLst>
                        <a:ext uri="{FF2B5EF4-FFF2-40B4-BE49-F238E27FC236}">
                          <a16:creationId xmlns:a16="http://schemas.microsoft.com/office/drawing/2014/main" id="{7DB3BB8F-E876-A8B8-A374-7B5DA1C3187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25" name="Graphic 787">
                      <a:extLst>
                        <a:ext uri="{FF2B5EF4-FFF2-40B4-BE49-F238E27FC236}">
                          <a16:creationId xmlns:a16="http://schemas.microsoft.com/office/drawing/2014/main" id="{72D848C5-6BEC-F1AD-7E0C-B076ECABCDE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26" name="Graphic 788">
                      <a:extLst>
                        <a:ext uri="{FF2B5EF4-FFF2-40B4-BE49-F238E27FC236}">
                          <a16:creationId xmlns:a16="http://schemas.microsoft.com/office/drawing/2014/main" id="{F98A454F-1FEE-2BF8-8737-1D9917F5B79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27" name="Graphic 789">
                      <a:extLst>
                        <a:ext uri="{FF2B5EF4-FFF2-40B4-BE49-F238E27FC236}">
                          <a16:creationId xmlns:a16="http://schemas.microsoft.com/office/drawing/2014/main" id="{5BB87855-6A0A-AD32-76FC-0078CCFF706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28" name="Graphic 790">
                      <a:extLst>
                        <a:ext uri="{FF2B5EF4-FFF2-40B4-BE49-F238E27FC236}">
                          <a16:creationId xmlns:a16="http://schemas.microsoft.com/office/drawing/2014/main" id="{42EAD061-BE4A-420D-DE7C-AE8BC55A165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29" name="Graphic 791">
                      <a:extLst>
                        <a:ext uri="{FF2B5EF4-FFF2-40B4-BE49-F238E27FC236}">
                          <a16:creationId xmlns:a16="http://schemas.microsoft.com/office/drawing/2014/main" id="{6C0297BA-E086-ADDC-6C90-D93CAFCB2F2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30" name="Graphic 792">
                      <a:extLst>
                        <a:ext uri="{FF2B5EF4-FFF2-40B4-BE49-F238E27FC236}">
                          <a16:creationId xmlns:a16="http://schemas.microsoft.com/office/drawing/2014/main" id="{D9103AB7-5F00-ECA6-6326-731BAB84396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695" name="Graphic 757">
                  <a:extLst>
                    <a:ext uri="{FF2B5EF4-FFF2-40B4-BE49-F238E27FC236}">
                      <a16:creationId xmlns:a16="http://schemas.microsoft.com/office/drawing/2014/main" id="{C8A9A0DD-3A7C-D1AB-F910-0FEDDEA547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96" name="Graphic 758">
                  <a:extLst>
                    <a:ext uri="{FF2B5EF4-FFF2-40B4-BE49-F238E27FC236}">
                      <a16:creationId xmlns:a16="http://schemas.microsoft.com/office/drawing/2014/main" id="{9F812A7D-FFAE-EF1C-20E9-77E77E07B1C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97" name="Graphic 759">
                  <a:extLst>
                    <a:ext uri="{FF2B5EF4-FFF2-40B4-BE49-F238E27FC236}">
                      <a16:creationId xmlns:a16="http://schemas.microsoft.com/office/drawing/2014/main" id="{C01AAC49-83F6-9BF5-15D1-10FA348D94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98" name="Graphic 760">
                  <a:extLst>
                    <a:ext uri="{FF2B5EF4-FFF2-40B4-BE49-F238E27FC236}">
                      <a16:creationId xmlns:a16="http://schemas.microsoft.com/office/drawing/2014/main" id="{07CB9C16-06BD-15E1-2A3D-BBD718A36A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699" name="Graphic 761">
                  <a:extLst>
                    <a:ext uri="{FF2B5EF4-FFF2-40B4-BE49-F238E27FC236}">
                      <a16:creationId xmlns:a16="http://schemas.microsoft.com/office/drawing/2014/main" id="{5F6C342E-E962-5146-A1E3-70C219DB6B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00" name="Graphic 762">
                  <a:extLst>
                    <a:ext uri="{FF2B5EF4-FFF2-40B4-BE49-F238E27FC236}">
                      <a16:creationId xmlns:a16="http://schemas.microsoft.com/office/drawing/2014/main" id="{6F2EE753-E47C-E00B-A123-441C5A4921D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701" name="Graphic 763">
                  <a:extLst>
                    <a:ext uri="{FF2B5EF4-FFF2-40B4-BE49-F238E27FC236}">
                      <a16:creationId xmlns:a16="http://schemas.microsoft.com/office/drawing/2014/main" id="{255E1877-5D59-AC0F-2797-E4E5B5D35D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02" name="Graphic 764">
                  <a:extLst>
                    <a:ext uri="{FF2B5EF4-FFF2-40B4-BE49-F238E27FC236}">
                      <a16:creationId xmlns:a16="http://schemas.microsoft.com/office/drawing/2014/main" id="{21C02E5A-9195-491F-DA9C-416982C545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03" name="Graphic 765">
                  <a:extLst>
                    <a:ext uri="{FF2B5EF4-FFF2-40B4-BE49-F238E27FC236}">
                      <a16:creationId xmlns:a16="http://schemas.microsoft.com/office/drawing/2014/main" id="{29800720-4DEE-2828-3AD5-C7964F861F9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04" name="Graphic 766">
                  <a:extLst>
                    <a:ext uri="{FF2B5EF4-FFF2-40B4-BE49-F238E27FC236}">
                      <a16:creationId xmlns:a16="http://schemas.microsoft.com/office/drawing/2014/main" id="{2848FBE0-0FC4-087C-4CC3-C394CC9CDCC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05" name="Graphic 767">
                  <a:extLst>
                    <a:ext uri="{FF2B5EF4-FFF2-40B4-BE49-F238E27FC236}">
                      <a16:creationId xmlns:a16="http://schemas.microsoft.com/office/drawing/2014/main" id="{512A0B1A-E675-39BB-D023-513D01D1A1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06" name="Graphic 768">
                  <a:extLst>
                    <a:ext uri="{FF2B5EF4-FFF2-40B4-BE49-F238E27FC236}">
                      <a16:creationId xmlns:a16="http://schemas.microsoft.com/office/drawing/2014/main" id="{E0449256-BF37-C5BA-D227-7A9830B578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707" name="Graphic 769">
                  <a:extLst>
                    <a:ext uri="{FF2B5EF4-FFF2-40B4-BE49-F238E27FC236}">
                      <a16:creationId xmlns:a16="http://schemas.microsoft.com/office/drawing/2014/main" id="{3782C859-9BD9-D519-E127-C304BA011D9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690" name="Graphic 752">
                <a:extLst>
                  <a:ext uri="{FF2B5EF4-FFF2-40B4-BE49-F238E27FC236}">
                    <a16:creationId xmlns:a16="http://schemas.microsoft.com/office/drawing/2014/main" id="{4FA20DA8-091E-6D94-31CC-BCE717E150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691" name="Graphic 753">
                <a:extLst>
                  <a:ext uri="{FF2B5EF4-FFF2-40B4-BE49-F238E27FC236}">
                    <a16:creationId xmlns:a16="http://schemas.microsoft.com/office/drawing/2014/main" id="{EC7D0803-45AE-DF1D-133C-AA281EA6CB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692" name="Graphic 754">
                <a:extLst>
                  <a:ext uri="{FF2B5EF4-FFF2-40B4-BE49-F238E27FC236}">
                    <a16:creationId xmlns:a16="http://schemas.microsoft.com/office/drawing/2014/main" id="{223795BA-B1BE-A157-0205-823CCC1614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693" name="Graphic 755">
                <a:extLst>
                  <a:ext uri="{FF2B5EF4-FFF2-40B4-BE49-F238E27FC236}">
                    <a16:creationId xmlns:a16="http://schemas.microsoft.com/office/drawing/2014/main" id="{E16D33FA-F288-AAE2-5204-5E14A749FF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58" name="Group 20">
              <a:extLst>
                <a:ext uri="{FF2B5EF4-FFF2-40B4-BE49-F238E27FC236}">
                  <a16:creationId xmlns:a16="http://schemas.microsoft.com/office/drawing/2014/main" id="{5004A9FA-5097-47CE-25F3-AC5313E7FE2D}"/>
                </a:ext>
              </a:extLst>
            </p:cNvPr>
            <p:cNvGrpSpPr/>
            <p:nvPr/>
          </p:nvGrpSpPr>
          <p:grpSpPr>
            <a:xfrm>
              <a:off x="1180898" y="3344848"/>
              <a:ext cx="80395" cy="79415"/>
              <a:chOff x="5071590" y="2724817"/>
              <a:chExt cx="1901239" cy="1655213"/>
            </a:xfrm>
          </p:grpSpPr>
          <p:grpSp>
            <p:nvGrpSpPr>
              <p:cNvPr id="4647" name="Group 709">
                <a:extLst>
                  <a:ext uri="{FF2B5EF4-FFF2-40B4-BE49-F238E27FC236}">
                    <a16:creationId xmlns:a16="http://schemas.microsoft.com/office/drawing/2014/main" id="{CF7CBF9F-5EBD-5DC8-4D83-19E471DB1DFD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652" name="Group 714">
                  <a:extLst>
                    <a:ext uri="{FF2B5EF4-FFF2-40B4-BE49-F238E27FC236}">
                      <a16:creationId xmlns:a16="http://schemas.microsoft.com/office/drawing/2014/main" id="{AFBC6093-0D61-AA53-7CCB-5B29F82C3197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666" name="Oval 728">
                    <a:extLst>
                      <a:ext uri="{FF2B5EF4-FFF2-40B4-BE49-F238E27FC236}">
                        <a16:creationId xmlns:a16="http://schemas.microsoft.com/office/drawing/2014/main" id="{4D22B3F9-E208-19CF-BD49-77A6B0503FE2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667" name="Group 729">
                    <a:extLst>
                      <a:ext uri="{FF2B5EF4-FFF2-40B4-BE49-F238E27FC236}">
                        <a16:creationId xmlns:a16="http://schemas.microsoft.com/office/drawing/2014/main" id="{B6D984E1-16D8-1554-4369-E0671E55E22F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668" name="Graphic 730">
                      <a:extLst>
                        <a:ext uri="{FF2B5EF4-FFF2-40B4-BE49-F238E27FC236}">
                          <a16:creationId xmlns:a16="http://schemas.microsoft.com/office/drawing/2014/main" id="{2E56D7B7-C159-43F4-978C-26F258639D7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69" name="Graphic 731">
                      <a:extLst>
                        <a:ext uri="{FF2B5EF4-FFF2-40B4-BE49-F238E27FC236}">
                          <a16:creationId xmlns:a16="http://schemas.microsoft.com/office/drawing/2014/main" id="{EB45172D-9577-BF2D-8699-7D34BBD6A6D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70" name="Graphic 732">
                      <a:extLst>
                        <a:ext uri="{FF2B5EF4-FFF2-40B4-BE49-F238E27FC236}">
                          <a16:creationId xmlns:a16="http://schemas.microsoft.com/office/drawing/2014/main" id="{25742154-852B-5F84-583A-608E3FA78DC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71" name="Graphic 733">
                      <a:extLst>
                        <a:ext uri="{FF2B5EF4-FFF2-40B4-BE49-F238E27FC236}">
                          <a16:creationId xmlns:a16="http://schemas.microsoft.com/office/drawing/2014/main" id="{778A2439-1079-18D0-5D8B-9EE7D1D0605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72" name="Graphic 734">
                      <a:extLst>
                        <a:ext uri="{FF2B5EF4-FFF2-40B4-BE49-F238E27FC236}">
                          <a16:creationId xmlns:a16="http://schemas.microsoft.com/office/drawing/2014/main" id="{372276CE-2EC2-557E-3B89-71A4FD854B7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73" name="Graphic 735">
                      <a:extLst>
                        <a:ext uri="{FF2B5EF4-FFF2-40B4-BE49-F238E27FC236}">
                          <a16:creationId xmlns:a16="http://schemas.microsoft.com/office/drawing/2014/main" id="{22C341F9-CC60-E786-B272-45EFB8A63E9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74" name="Graphic 736">
                      <a:extLst>
                        <a:ext uri="{FF2B5EF4-FFF2-40B4-BE49-F238E27FC236}">
                          <a16:creationId xmlns:a16="http://schemas.microsoft.com/office/drawing/2014/main" id="{DA49D637-878D-D9BC-419D-0287986AA0E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75" name="Graphic 737">
                      <a:extLst>
                        <a:ext uri="{FF2B5EF4-FFF2-40B4-BE49-F238E27FC236}">
                          <a16:creationId xmlns:a16="http://schemas.microsoft.com/office/drawing/2014/main" id="{411BDC6C-58E5-CD46-6875-8CD054ADAFE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76" name="Graphic 738">
                      <a:extLst>
                        <a:ext uri="{FF2B5EF4-FFF2-40B4-BE49-F238E27FC236}">
                          <a16:creationId xmlns:a16="http://schemas.microsoft.com/office/drawing/2014/main" id="{14FA9AED-07A5-C117-2A81-5D4FA449917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77" name="Graphic 739">
                      <a:extLst>
                        <a:ext uri="{FF2B5EF4-FFF2-40B4-BE49-F238E27FC236}">
                          <a16:creationId xmlns:a16="http://schemas.microsoft.com/office/drawing/2014/main" id="{24476FFD-E793-BCEB-A822-7D99FC99763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78" name="Graphic 740">
                      <a:extLst>
                        <a:ext uri="{FF2B5EF4-FFF2-40B4-BE49-F238E27FC236}">
                          <a16:creationId xmlns:a16="http://schemas.microsoft.com/office/drawing/2014/main" id="{486EB734-3558-AEF4-8A68-08ADD840B81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79" name="Graphic 741">
                      <a:extLst>
                        <a:ext uri="{FF2B5EF4-FFF2-40B4-BE49-F238E27FC236}">
                          <a16:creationId xmlns:a16="http://schemas.microsoft.com/office/drawing/2014/main" id="{2562DCBB-79D5-E759-BD72-D0B19FC88B2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80" name="Graphic 742">
                      <a:extLst>
                        <a:ext uri="{FF2B5EF4-FFF2-40B4-BE49-F238E27FC236}">
                          <a16:creationId xmlns:a16="http://schemas.microsoft.com/office/drawing/2014/main" id="{28C7354D-FF53-5844-FFB2-D995911FA41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81" name="Graphic 743">
                      <a:extLst>
                        <a:ext uri="{FF2B5EF4-FFF2-40B4-BE49-F238E27FC236}">
                          <a16:creationId xmlns:a16="http://schemas.microsoft.com/office/drawing/2014/main" id="{2A7C2FC7-687B-3A50-54BA-F3773D0693A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82" name="Graphic 744">
                      <a:extLst>
                        <a:ext uri="{FF2B5EF4-FFF2-40B4-BE49-F238E27FC236}">
                          <a16:creationId xmlns:a16="http://schemas.microsoft.com/office/drawing/2014/main" id="{9425399E-A232-29E4-AF78-CE0A873386D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83" name="Graphic 745">
                      <a:extLst>
                        <a:ext uri="{FF2B5EF4-FFF2-40B4-BE49-F238E27FC236}">
                          <a16:creationId xmlns:a16="http://schemas.microsoft.com/office/drawing/2014/main" id="{DF7C49A4-4464-09EF-0593-1B17C3C8798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84" name="Graphic 746">
                      <a:extLst>
                        <a:ext uri="{FF2B5EF4-FFF2-40B4-BE49-F238E27FC236}">
                          <a16:creationId xmlns:a16="http://schemas.microsoft.com/office/drawing/2014/main" id="{F85F80C7-703A-3E94-68CC-27AB226F7D3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85" name="Graphic 747">
                      <a:extLst>
                        <a:ext uri="{FF2B5EF4-FFF2-40B4-BE49-F238E27FC236}">
                          <a16:creationId xmlns:a16="http://schemas.microsoft.com/office/drawing/2014/main" id="{B0371246-C74F-BD82-293C-BFD01FA375C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86" name="Graphic 748">
                      <a:extLst>
                        <a:ext uri="{FF2B5EF4-FFF2-40B4-BE49-F238E27FC236}">
                          <a16:creationId xmlns:a16="http://schemas.microsoft.com/office/drawing/2014/main" id="{26BF96CF-B897-8BE6-2DAF-5CD2F94B62A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87" name="Graphic 749">
                      <a:extLst>
                        <a:ext uri="{FF2B5EF4-FFF2-40B4-BE49-F238E27FC236}">
                          <a16:creationId xmlns:a16="http://schemas.microsoft.com/office/drawing/2014/main" id="{3D881314-5B7E-A043-E2C8-386E5F34336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88" name="Graphic 750">
                      <a:extLst>
                        <a:ext uri="{FF2B5EF4-FFF2-40B4-BE49-F238E27FC236}">
                          <a16:creationId xmlns:a16="http://schemas.microsoft.com/office/drawing/2014/main" id="{477218A2-F06F-C44D-CB7D-20E32AFD853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653" name="Graphic 715">
                  <a:extLst>
                    <a:ext uri="{FF2B5EF4-FFF2-40B4-BE49-F238E27FC236}">
                      <a16:creationId xmlns:a16="http://schemas.microsoft.com/office/drawing/2014/main" id="{2C7E8B8E-0DDF-F240-E924-77BCCF8ABF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54" name="Graphic 716">
                  <a:extLst>
                    <a:ext uri="{FF2B5EF4-FFF2-40B4-BE49-F238E27FC236}">
                      <a16:creationId xmlns:a16="http://schemas.microsoft.com/office/drawing/2014/main" id="{FE01E25A-32BB-29A7-A528-3729CBB3FD4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55" name="Graphic 717">
                  <a:extLst>
                    <a:ext uri="{FF2B5EF4-FFF2-40B4-BE49-F238E27FC236}">
                      <a16:creationId xmlns:a16="http://schemas.microsoft.com/office/drawing/2014/main" id="{176D7456-C4FF-E773-1A32-1891466E6C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56" name="Graphic 718">
                  <a:extLst>
                    <a:ext uri="{FF2B5EF4-FFF2-40B4-BE49-F238E27FC236}">
                      <a16:creationId xmlns:a16="http://schemas.microsoft.com/office/drawing/2014/main" id="{4B94154F-19A1-29FC-0482-56473C8CB2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657" name="Graphic 719">
                  <a:extLst>
                    <a:ext uri="{FF2B5EF4-FFF2-40B4-BE49-F238E27FC236}">
                      <a16:creationId xmlns:a16="http://schemas.microsoft.com/office/drawing/2014/main" id="{13A50D36-AD39-F83C-BCD3-585613442CC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58" name="Graphic 720">
                  <a:extLst>
                    <a:ext uri="{FF2B5EF4-FFF2-40B4-BE49-F238E27FC236}">
                      <a16:creationId xmlns:a16="http://schemas.microsoft.com/office/drawing/2014/main" id="{081DFBCA-EA12-729D-7640-B1B7C4DBAAF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659" name="Graphic 721">
                  <a:extLst>
                    <a:ext uri="{FF2B5EF4-FFF2-40B4-BE49-F238E27FC236}">
                      <a16:creationId xmlns:a16="http://schemas.microsoft.com/office/drawing/2014/main" id="{AAED0EBB-ECDF-384A-05CD-F6CA04ACEC0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60" name="Graphic 722">
                  <a:extLst>
                    <a:ext uri="{FF2B5EF4-FFF2-40B4-BE49-F238E27FC236}">
                      <a16:creationId xmlns:a16="http://schemas.microsoft.com/office/drawing/2014/main" id="{A3656F73-1651-9941-58EC-8B292D8822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61" name="Graphic 723">
                  <a:extLst>
                    <a:ext uri="{FF2B5EF4-FFF2-40B4-BE49-F238E27FC236}">
                      <a16:creationId xmlns:a16="http://schemas.microsoft.com/office/drawing/2014/main" id="{8D2440D9-B51C-97E5-9CA7-F3748FDCE1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62" name="Graphic 724">
                  <a:extLst>
                    <a:ext uri="{FF2B5EF4-FFF2-40B4-BE49-F238E27FC236}">
                      <a16:creationId xmlns:a16="http://schemas.microsoft.com/office/drawing/2014/main" id="{69B6BC0A-C072-A98D-6BE5-8A675EAE42F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63" name="Graphic 725">
                  <a:extLst>
                    <a:ext uri="{FF2B5EF4-FFF2-40B4-BE49-F238E27FC236}">
                      <a16:creationId xmlns:a16="http://schemas.microsoft.com/office/drawing/2014/main" id="{EF3B126D-EB51-778E-36BA-D29D174A42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64" name="Graphic 726">
                  <a:extLst>
                    <a:ext uri="{FF2B5EF4-FFF2-40B4-BE49-F238E27FC236}">
                      <a16:creationId xmlns:a16="http://schemas.microsoft.com/office/drawing/2014/main" id="{986A11F4-EF64-F9A6-7803-4DB8AB3A4A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65" name="Graphic 727">
                  <a:extLst>
                    <a:ext uri="{FF2B5EF4-FFF2-40B4-BE49-F238E27FC236}">
                      <a16:creationId xmlns:a16="http://schemas.microsoft.com/office/drawing/2014/main" id="{51FB49B4-814A-10C4-E6BF-2204E213F9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648" name="Graphic 710">
                <a:extLst>
                  <a:ext uri="{FF2B5EF4-FFF2-40B4-BE49-F238E27FC236}">
                    <a16:creationId xmlns:a16="http://schemas.microsoft.com/office/drawing/2014/main" id="{F7E8A0EB-9CAA-E31C-A375-DFBD5378BD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649" name="Graphic 711">
                <a:extLst>
                  <a:ext uri="{FF2B5EF4-FFF2-40B4-BE49-F238E27FC236}">
                    <a16:creationId xmlns:a16="http://schemas.microsoft.com/office/drawing/2014/main" id="{3BC6D32A-4A39-A259-1839-440DD3EEFB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650" name="Graphic 712">
                <a:extLst>
                  <a:ext uri="{FF2B5EF4-FFF2-40B4-BE49-F238E27FC236}">
                    <a16:creationId xmlns:a16="http://schemas.microsoft.com/office/drawing/2014/main" id="{D78AE910-5809-CB77-091A-A22678983F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651" name="Graphic 713">
                <a:extLst>
                  <a:ext uri="{FF2B5EF4-FFF2-40B4-BE49-F238E27FC236}">
                    <a16:creationId xmlns:a16="http://schemas.microsoft.com/office/drawing/2014/main" id="{638B58A2-4CC7-8752-80FF-B4C80491F1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59" name="Group 21">
              <a:extLst>
                <a:ext uri="{FF2B5EF4-FFF2-40B4-BE49-F238E27FC236}">
                  <a16:creationId xmlns:a16="http://schemas.microsoft.com/office/drawing/2014/main" id="{07C3D94B-E918-46C2-EF04-5F844B180082}"/>
                </a:ext>
              </a:extLst>
            </p:cNvPr>
            <p:cNvGrpSpPr/>
            <p:nvPr/>
          </p:nvGrpSpPr>
          <p:grpSpPr>
            <a:xfrm>
              <a:off x="1451002" y="3328674"/>
              <a:ext cx="80395" cy="79415"/>
              <a:chOff x="5071590" y="2724817"/>
              <a:chExt cx="1901239" cy="1655213"/>
            </a:xfrm>
          </p:grpSpPr>
          <p:grpSp>
            <p:nvGrpSpPr>
              <p:cNvPr id="4605" name="Group 667">
                <a:extLst>
                  <a:ext uri="{FF2B5EF4-FFF2-40B4-BE49-F238E27FC236}">
                    <a16:creationId xmlns:a16="http://schemas.microsoft.com/office/drawing/2014/main" id="{EDBE656C-B418-135F-36E3-E37C877B6C95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610" name="Group 672">
                  <a:extLst>
                    <a:ext uri="{FF2B5EF4-FFF2-40B4-BE49-F238E27FC236}">
                      <a16:creationId xmlns:a16="http://schemas.microsoft.com/office/drawing/2014/main" id="{A55DD07D-C0C5-CA16-48AB-ACC52452BE6B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624" name="Oval 686">
                    <a:extLst>
                      <a:ext uri="{FF2B5EF4-FFF2-40B4-BE49-F238E27FC236}">
                        <a16:creationId xmlns:a16="http://schemas.microsoft.com/office/drawing/2014/main" id="{3F4F52AB-2E0E-A809-7D9C-9BB16794F20C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625" name="Group 687">
                    <a:extLst>
                      <a:ext uri="{FF2B5EF4-FFF2-40B4-BE49-F238E27FC236}">
                        <a16:creationId xmlns:a16="http://schemas.microsoft.com/office/drawing/2014/main" id="{53047332-5A69-A8FE-0F37-C39F80FE9724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626" name="Graphic 688">
                      <a:extLst>
                        <a:ext uri="{FF2B5EF4-FFF2-40B4-BE49-F238E27FC236}">
                          <a16:creationId xmlns:a16="http://schemas.microsoft.com/office/drawing/2014/main" id="{B2321A35-85DC-BD83-38B3-B8D43068115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27" name="Graphic 689">
                      <a:extLst>
                        <a:ext uri="{FF2B5EF4-FFF2-40B4-BE49-F238E27FC236}">
                          <a16:creationId xmlns:a16="http://schemas.microsoft.com/office/drawing/2014/main" id="{7A515ED8-C203-48B4-1DBD-C53517AC5B5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28" name="Graphic 690">
                      <a:extLst>
                        <a:ext uri="{FF2B5EF4-FFF2-40B4-BE49-F238E27FC236}">
                          <a16:creationId xmlns:a16="http://schemas.microsoft.com/office/drawing/2014/main" id="{DB2ADB87-D005-BC8C-6577-DD9D005326A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29" name="Graphic 691">
                      <a:extLst>
                        <a:ext uri="{FF2B5EF4-FFF2-40B4-BE49-F238E27FC236}">
                          <a16:creationId xmlns:a16="http://schemas.microsoft.com/office/drawing/2014/main" id="{4592B0F5-9CAD-AB98-78F9-E238207EC2E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30" name="Graphic 692">
                      <a:extLst>
                        <a:ext uri="{FF2B5EF4-FFF2-40B4-BE49-F238E27FC236}">
                          <a16:creationId xmlns:a16="http://schemas.microsoft.com/office/drawing/2014/main" id="{C75237B0-6B3A-EC5D-1C35-C388E48E666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31" name="Graphic 693">
                      <a:extLst>
                        <a:ext uri="{FF2B5EF4-FFF2-40B4-BE49-F238E27FC236}">
                          <a16:creationId xmlns:a16="http://schemas.microsoft.com/office/drawing/2014/main" id="{C4EDD59E-A3F0-F0A4-A942-C47A9925FB2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32" name="Graphic 694">
                      <a:extLst>
                        <a:ext uri="{FF2B5EF4-FFF2-40B4-BE49-F238E27FC236}">
                          <a16:creationId xmlns:a16="http://schemas.microsoft.com/office/drawing/2014/main" id="{1A2307CD-109C-5612-0C9F-F292815A612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33" name="Graphic 695">
                      <a:extLst>
                        <a:ext uri="{FF2B5EF4-FFF2-40B4-BE49-F238E27FC236}">
                          <a16:creationId xmlns:a16="http://schemas.microsoft.com/office/drawing/2014/main" id="{18240794-F013-A281-39B7-6E4DC1BE2C4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34" name="Graphic 696">
                      <a:extLst>
                        <a:ext uri="{FF2B5EF4-FFF2-40B4-BE49-F238E27FC236}">
                          <a16:creationId xmlns:a16="http://schemas.microsoft.com/office/drawing/2014/main" id="{0BA74026-9699-3673-1947-03E7CFB1F1E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35" name="Graphic 697">
                      <a:extLst>
                        <a:ext uri="{FF2B5EF4-FFF2-40B4-BE49-F238E27FC236}">
                          <a16:creationId xmlns:a16="http://schemas.microsoft.com/office/drawing/2014/main" id="{2263B379-4DF6-400A-44EC-E1D6B50F90D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36" name="Graphic 698">
                      <a:extLst>
                        <a:ext uri="{FF2B5EF4-FFF2-40B4-BE49-F238E27FC236}">
                          <a16:creationId xmlns:a16="http://schemas.microsoft.com/office/drawing/2014/main" id="{2525B70B-D98C-B926-3176-AA578F96A3D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37" name="Graphic 699">
                      <a:extLst>
                        <a:ext uri="{FF2B5EF4-FFF2-40B4-BE49-F238E27FC236}">
                          <a16:creationId xmlns:a16="http://schemas.microsoft.com/office/drawing/2014/main" id="{B54CB422-3047-3D44-A16A-41362462999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38" name="Graphic 700">
                      <a:extLst>
                        <a:ext uri="{FF2B5EF4-FFF2-40B4-BE49-F238E27FC236}">
                          <a16:creationId xmlns:a16="http://schemas.microsoft.com/office/drawing/2014/main" id="{5DE5146C-B80C-672C-1666-F01841397BB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39" name="Graphic 701">
                      <a:extLst>
                        <a:ext uri="{FF2B5EF4-FFF2-40B4-BE49-F238E27FC236}">
                          <a16:creationId xmlns:a16="http://schemas.microsoft.com/office/drawing/2014/main" id="{AF39D4B4-B8FA-22C0-28FE-430983D6BB1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40" name="Graphic 702">
                      <a:extLst>
                        <a:ext uri="{FF2B5EF4-FFF2-40B4-BE49-F238E27FC236}">
                          <a16:creationId xmlns:a16="http://schemas.microsoft.com/office/drawing/2014/main" id="{064DBFD3-ED29-DF26-1303-F81C2592AA7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41" name="Graphic 703">
                      <a:extLst>
                        <a:ext uri="{FF2B5EF4-FFF2-40B4-BE49-F238E27FC236}">
                          <a16:creationId xmlns:a16="http://schemas.microsoft.com/office/drawing/2014/main" id="{E814AD60-EEC6-5C49-B6C3-875E89957FB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42" name="Graphic 704">
                      <a:extLst>
                        <a:ext uri="{FF2B5EF4-FFF2-40B4-BE49-F238E27FC236}">
                          <a16:creationId xmlns:a16="http://schemas.microsoft.com/office/drawing/2014/main" id="{5C9C2300-47B3-95A6-1021-2DD2EAD2582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43" name="Graphic 705">
                      <a:extLst>
                        <a:ext uri="{FF2B5EF4-FFF2-40B4-BE49-F238E27FC236}">
                          <a16:creationId xmlns:a16="http://schemas.microsoft.com/office/drawing/2014/main" id="{2593C2DF-0C70-2613-B766-ED1DD0AFCB2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44" name="Graphic 706">
                      <a:extLst>
                        <a:ext uri="{FF2B5EF4-FFF2-40B4-BE49-F238E27FC236}">
                          <a16:creationId xmlns:a16="http://schemas.microsoft.com/office/drawing/2014/main" id="{7DE4BA06-DB23-517C-0243-1EFB708A5DD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45" name="Graphic 707">
                      <a:extLst>
                        <a:ext uri="{FF2B5EF4-FFF2-40B4-BE49-F238E27FC236}">
                          <a16:creationId xmlns:a16="http://schemas.microsoft.com/office/drawing/2014/main" id="{3E2E3C71-14A3-8D9A-721D-A7F2E77DCE7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46" name="Graphic 708">
                      <a:extLst>
                        <a:ext uri="{FF2B5EF4-FFF2-40B4-BE49-F238E27FC236}">
                          <a16:creationId xmlns:a16="http://schemas.microsoft.com/office/drawing/2014/main" id="{BB85071B-6FE7-0B01-C893-C93552AE0CD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611" name="Graphic 673">
                  <a:extLst>
                    <a:ext uri="{FF2B5EF4-FFF2-40B4-BE49-F238E27FC236}">
                      <a16:creationId xmlns:a16="http://schemas.microsoft.com/office/drawing/2014/main" id="{F27B1C05-EB93-43E5-AFF5-6850F967B4F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12" name="Graphic 674">
                  <a:extLst>
                    <a:ext uri="{FF2B5EF4-FFF2-40B4-BE49-F238E27FC236}">
                      <a16:creationId xmlns:a16="http://schemas.microsoft.com/office/drawing/2014/main" id="{62CA499C-EBE9-F613-5947-D701118C8D3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13" name="Graphic 675">
                  <a:extLst>
                    <a:ext uri="{FF2B5EF4-FFF2-40B4-BE49-F238E27FC236}">
                      <a16:creationId xmlns:a16="http://schemas.microsoft.com/office/drawing/2014/main" id="{43278686-860D-D22B-CCC3-251994E9FCE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14" name="Graphic 676">
                  <a:extLst>
                    <a:ext uri="{FF2B5EF4-FFF2-40B4-BE49-F238E27FC236}">
                      <a16:creationId xmlns:a16="http://schemas.microsoft.com/office/drawing/2014/main" id="{B1D9850B-6CEF-5C6C-BB44-D87B9984F5D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615" name="Graphic 677">
                  <a:extLst>
                    <a:ext uri="{FF2B5EF4-FFF2-40B4-BE49-F238E27FC236}">
                      <a16:creationId xmlns:a16="http://schemas.microsoft.com/office/drawing/2014/main" id="{ADCCFBDD-FEC7-5E40-4C23-6F90BB2AAB9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16" name="Graphic 678">
                  <a:extLst>
                    <a:ext uri="{FF2B5EF4-FFF2-40B4-BE49-F238E27FC236}">
                      <a16:creationId xmlns:a16="http://schemas.microsoft.com/office/drawing/2014/main" id="{25E321BB-23EF-F5FB-4BB3-8F68F0C9BD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617" name="Graphic 679">
                  <a:extLst>
                    <a:ext uri="{FF2B5EF4-FFF2-40B4-BE49-F238E27FC236}">
                      <a16:creationId xmlns:a16="http://schemas.microsoft.com/office/drawing/2014/main" id="{444603C1-6567-D4BD-7226-B0FF570204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18" name="Graphic 680">
                  <a:extLst>
                    <a:ext uri="{FF2B5EF4-FFF2-40B4-BE49-F238E27FC236}">
                      <a16:creationId xmlns:a16="http://schemas.microsoft.com/office/drawing/2014/main" id="{1748E801-D03F-8E6F-00D9-8E2AD3D777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19" name="Graphic 681">
                  <a:extLst>
                    <a:ext uri="{FF2B5EF4-FFF2-40B4-BE49-F238E27FC236}">
                      <a16:creationId xmlns:a16="http://schemas.microsoft.com/office/drawing/2014/main" id="{6F19E16F-3BCE-699F-670A-B74FFBB020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20" name="Graphic 682">
                  <a:extLst>
                    <a:ext uri="{FF2B5EF4-FFF2-40B4-BE49-F238E27FC236}">
                      <a16:creationId xmlns:a16="http://schemas.microsoft.com/office/drawing/2014/main" id="{C3E8A478-4757-E8F4-F463-23D0C984C2F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21" name="Graphic 683">
                  <a:extLst>
                    <a:ext uri="{FF2B5EF4-FFF2-40B4-BE49-F238E27FC236}">
                      <a16:creationId xmlns:a16="http://schemas.microsoft.com/office/drawing/2014/main" id="{6CDB9077-FA7A-01D5-F403-30EC08EA109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22" name="Graphic 684">
                  <a:extLst>
                    <a:ext uri="{FF2B5EF4-FFF2-40B4-BE49-F238E27FC236}">
                      <a16:creationId xmlns:a16="http://schemas.microsoft.com/office/drawing/2014/main" id="{262D551C-5660-0EC4-E8D9-87A6BB0B65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623" name="Graphic 685">
                  <a:extLst>
                    <a:ext uri="{FF2B5EF4-FFF2-40B4-BE49-F238E27FC236}">
                      <a16:creationId xmlns:a16="http://schemas.microsoft.com/office/drawing/2014/main" id="{177B0B21-D054-B2BC-85C0-9F44815E81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606" name="Graphic 668">
                <a:extLst>
                  <a:ext uri="{FF2B5EF4-FFF2-40B4-BE49-F238E27FC236}">
                    <a16:creationId xmlns:a16="http://schemas.microsoft.com/office/drawing/2014/main" id="{7948E6A0-4CC3-F8A8-2953-2420D7DB56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607" name="Graphic 669">
                <a:extLst>
                  <a:ext uri="{FF2B5EF4-FFF2-40B4-BE49-F238E27FC236}">
                    <a16:creationId xmlns:a16="http://schemas.microsoft.com/office/drawing/2014/main" id="{D86167F0-66B0-1C24-5820-D533BC34AE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608" name="Graphic 670">
                <a:extLst>
                  <a:ext uri="{FF2B5EF4-FFF2-40B4-BE49-F238E27FC236}">
                    <a16:creationId xmlns:a16="http://schemas.microsoft.com/office/drawing/2014/main" id="{0A8D141D-B52C-4218-A2A3-B733181007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609" name="Graphic 671">
                <a:extLst>
                  <a:ext uri="{FF2B5EF4-FFF2-40B4-BE49-F238E27FC236}">
                    <a16:creationId xmlns:a16="http://schemas.microsoft.com/office/drawing/2014/main" id="{2C442A84-3F4A-DF46-2C21-62BFA9AA5C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60" name="Group 22">
              <a:extLst>
                <a:ext uri="{FF2B5EF4-FFF2-40B4-BE49-F238E27FC236}">
                  <a16:creationId xmlns:a16="http://schemas.microsoft.com/office/drawing/2014/main" id="{F52B348A-E38B-3AB5-F186-D4CB9F9107ED}"/>
                </a:ext>
              </a:extLst>
            </p:cNvPr>
            <p:cNvGrpSpPr/>
            <p:nvPr/>
          </p:nvGrpSpPr>
          <p:grpSpPr>
            <a:xfrm>
              <a:off x="1529713" y="3486788"/>
              <a:ext cx="135763" cy="134108"/>
              <a:chOff x="5071590" y="2724817"/>
              <a:chExt cx="1901239" cy="1655213"/>
            </a:xfrm>
          </p:grpSpPr>
          <p:grpSp>
            <p:nvGrpSpPr>
              <p:cNvPr id="4563" name="Group 625">
                <a:extLst>
                  <a:ext uri="{FF2B5EF4-FFF2-40B4-BE49-F238E27FC236}">
                    <a16:creationId xmlns:a16="http://schemas.microsoft.com/office/drawing/2014/main" id="{5FA4FD02-8F37-BD3A-BDCC-99E0F163FFC3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568" name="Group 630">
                  <a:extLst>
                    <a:ext uri="{FF2B5EF4-FFF2-40B4-BE49-F238E27FC236}">
                      <a16:creationId xmlns:a16="http://schemas.microsoft.com/office/drawing/2014/main" id="{40D15083-85E0-E951-6464-ECB578571062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582" name="Oval 644">
                    <a:extLst>
                      <a:ext uri="{FF2B5EF4-FFF2-40B4-BE49-F238E27FC236}">
                        <a16:creationId xmlns:a16="http://schemas.microsoft.com/office/drawing/2014/main" id="{FBD029C9-E609-1AFF-40FA-F52750B8BDA8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583" name="Group 645">
                    <a:extLst>
                      <a:ext uri="{FF2B5EF4-FFF2-40B4-BE49-F238E27FC236}">
                        <a16:creationId xmlns:a16="http://schemas.microsoft.com/office/drawing/2014/main" id="{85320309-9AC4-9E94-1115-D8F7AFB6132A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584" name="Graphic 646">
                      <a:extLst>
                        <a:ext uri="{FF2B5EF4-FFF2-40B4-BE49-F238E27FC236}">
                          <a16:creationId xmlns:a16="http://schemas.microsoft.com/office/drawing/2014/main" id="{9F1E6D33-8DA9-E301-B386-D1B50E76E5E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85" name="Graphic 647">
                      <a:extLst>
                        <a:ext uri="{FF2B5EF4-FFF2-40B4-BE49-F238E27FC236}">
                          <a16:creationId xmlns:a16="http://schemas.microsoft.com/office/drawing/2014/main" id="{78479638-90C3-501D-21D5-C0FB4CFC6BE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86" name="Graphic 648">
                      <a:extLst>
                        <a:ext uri="{FF2B5EF4-FFF2-40B4-BE49-F238E27FC236}">
                          <a16:creationId xmlns:a16="http://schemas.microsoft.com/office/drawing/2014/main" id="{635F12D7-74B5-D8C2-A969-7F93B7AC8EA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87" name="Graphic 649">
                      <a:extLst>
                        <a:ext uri="{FF2B5EF4-FFF2-40B4-BE49-F238E27FC236}">
                          <a16:creationId xmlns:a16="http://schemas.microsoft.com/office/drawing/2014/main" id="{5496958B-B93E-83EC-FCA1-A050755E6B3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88" name="Graphic 650">
                      <a:extLst>
                        <a:ext uri="{FF2B5EF4-FFF2-40B4-BE49-F238E27FC236}">
                          <a16:creationId xmlns:a16="http://schemas.microsoft.com/office/drawing/2014/main" id="{D3D8A7AA-EF89-1A2E-62A2-53CBF012BDC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89" name="Graphic 651">
                      <a:extLst>
                        <a:ext uri="{FF2B5EF4-FFF2-40B4-BE49-F238E27FC236}">
                          <a16:creationId xmlns:a16="http://schemas.microsoft.com/office/drawing/2014/main" id="{90002B83-7FC6-DD07-5589-62AACAB9D22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90" name="Graphic 652">
                      <a:extLst>
                        <a:ext uri="{FF2B5EF4-FFF2-40B4-BE49-F238E27FC236}">
                          <a16:creationId xmlns:a16="http://schemas.microsoft.com/office/drawing/2014/main" id="{4DFF6E16-40FF-2154-E9F5-87B3378EFD0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91" name="Graphic 653">
                      <a:extLst>
                        <a:ext uri="{FF2B5EF4-FFF2-40B4-BE49-F238E27FC236}">
                          <a16:creationId xmlns:a16="http://schemas.microsoft.com/office/drawing/2014/main" id="{D7C0876E-9B8A-4E3D-845B-D7048F5CD9C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92" name="Graphic 654">
                      <a:extLst>
                        <a:ext uri="{FF2B5EF4-FFF2-40B4-BE49-F238E27FC236}">
                          <a16:creationId xmlns:a16="http://schemas.microsoft.com/office/drawing/2014/main" id="{8785B5EA-C851-B9CC-24C9-E8676C6EECB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93" name="Graphic 655">
                      <a:extLst>
                        <a:ext uri="{FF2B5EF4-FFF2-40B4-BE49-F238E27FC236}">
                          <a16:creationId xmlns:a16="http://schemas.microsoft.com/office/drawing/2014/main" id="{6309152D-3DA4-DA66-D693-24910459237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94" name="Graphic 656">
                      <a:extLst>
                        <a:ext uri="{FF2B5EF4-FFF2-40B4-BE49-F238E27FC236}">
                          <a16:creationId xmlns:a16="http://schemas.microsoft.com/office/drawing/2014/main" id="{A7DC274E-0650-5165-D253-889DADC500E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95" name="Graphic 657">
                      <a:extLst>
                        <a:ext uri="{FF2B5EF4-FFF2-40B4-BE49-F238E27FC236}">
                          <a16:creationId xmlns:a16="http://schemas.microsoft.com/office/drawing/2014/main" id="{FADF8456-DEFA-CAE1-16D0-B74F2598190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96" name="Graphic 658">
                      <a:extLst>
                        <a:ext uri="{FF2B5EF4-FFF2-40B4-BE49-F238E27FC236}">
                          <a16:creationId xmlns:a16="http://schemas.microsoft.com/office/drawing/2014/main" id="{85941F28-10C8-878E-C268-C8773F672F4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97" name="Graphic 659">
                      <a:extLst>
                        <a:ext uri="{FF2B5EF4-FFF2-40B4-BE49-F238E27FC236}">
                          <a16:creationId xmlns:a16="http://schemas.microsoft.com/office/drawing/2014/main" id="{48067B35-3DD4-7A7C-BBF6-3F6D525D2B1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98" name="Graphic 660">
                      <a:extLst>
                        <a:ext uri="{FF2B5EF4-FFF2-40B4-BE49-F238E27FC236}">
                          <a16:creationId xmlns:a16="http://schemas.microsoft.com/office/drawing/2014/main" id="{A7504BA6-9A37-21BB-9337-AA0F8439372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99" name="Graphic 661">
                      <a:extLst>
                        <a:ext uri="{FF2B5EF4-FFF2-40B4-BE49-F238E27FC236}">
                          <a16:creationId xmlns:a16="http://schemas.microsoft.com/office/drawing/2014/main" id="{D9EFC6EC-B641-772C-E2BB-C4D24BF3898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00" name="Graphic 662">
                      <a:extLst>
                        <a:ext uri="{FF2B5EF4-FFF2-40B4-BE49-F238E27FC236}">
                          <a16:creationId xmlns:a16="http://schemas.microsoft.com/office/drawing/2014/main" id="{33EEEDB0-F808-D5F6-B24C-B8FD9CF814E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01" name="Graphic 663">
                      <a:extLst>
                        <a:ext uri="{FF2B5EF4-FFF2-40B4-BE49-F238E27FC236}">
                          <a16:creationId xmlns:a16="http://schemas.microsoft.com/office/drawing/2014/main" id="{48CAC4AA-8799-6CBE-8654-AADC4639F44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02" name="Graphic 664">
                      <a:extLst>
                        <a:ext uri="{FF2B5EF4-FFF2-40B4-BE49-F238E27FC236}">
                          <a16:creationId xmlns:a16="http://schemas.microsoft.com/office/drawing/2014/main" id="{AB1F5AA5-C74C-EABD-47FA-1C21130065F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03" name="Graphic 665">
                      <a:extLst>
                        <a:ext uri="{FF2B5EF4-FFF2-40B4-BE49-F238E27FC236}">
                          <a16:creationId xmlns:a16="http://schemas.microsoft.com/office/drawing/2014/main" id="{C2F51F6E-5C57-9F33-9FCA-C4D94383A5C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04" name="Graphic 666">
                      <a:extLst>
                        <a:ext uri="{FF2B5EF4-FFF2-40B4-BE49-F238E27FC236}">
                          <a16:creationId xmlns:a16="http://schemas.microsoft.com/office/drawing/2014/main" id="{3141CDFA-0BA5-158A-290A-B669E7F691E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569" name="Graphic 631">
                  <a:extLst>
                    <a:ext uri="{FF2B5EF4-FFF2-40B4-BE49-F238E27FC236}">
                      <a16:creationId xmlns:a16="http://schemas.microsoft.com/office/drawing/2014/main" id="{56EE0DA9-F03B-4584-960E-3486AE0AFFB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70" name="Graphic 632">
                  <a:extLst>
                    <a:ext uri="{FF2B5EF4-FFF2-40B4-BE49-F238E27FC236}">
                      <a16:creationId xmlns:a16="http://schemas.microsoft.com/office/drawing/2014/main" id="{ED5818D6-DA38-B905-4ED5-B9EA562D2F7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71" name="Graphic 633">
                  <a:extLst>
                    <a:ext uri="{FF2B5EF4-FFF2-40B4-BE49-F238E27FC236}">
                      <a16:creationId xmlns:a16="http://schemas.microsoft.com/office/drawing/2014/main" id="{6DA0F874-19AC-91D2-608A-AC59F92C65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72" name="Graphic 634">
                  <a:extLst>
                    <a:ext uri="{FF2B5EF4-FFF2-40B4-BE49-F238E27FC236}">
                      <a16:creationId xmlns:a16="http://schemas.microsoft.com/office/drawing/2014/main" id="{B7A1F19B-A3BE-076F-2220-B6AC2469168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573" name="Graphic 635">
                  <a:extLst>
                    <a:ext uri="{FF2B5EF4-FFF2-40B4-BE49-F238E27FC236}">
                      <a16:creationId xmlns:a16="http://schemas.microsoft.com/office/drawing/2014/main" id="{BA87CBC7-E980-5813-EC65-F6FBE5D5296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74" name="Graphic 636">
                  <a:extLst>
                    <a:ext uri="{FF2B5EF4-FFF2-40B4-BE49-F238E27FC236}">
                      <a16:creationId xmlns:a16="http://schemas.microsoft.com/office/drawing/2014/main" id="{5E6762A4-5C26-D428-0428-8CA21AC0A1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575" name="Graphic 637">
                  <a:extLst>
                    <a:ext uri="{FF2B5EF4-FFF2-40B4-BE49-F238E27FC236}">
                      <a16:creationId xmlns:a16="http://schemas.microsoft.com/office/drawing/2014/main" id="{08DE6A69-1DBD-37DF-FBAB-43C2FCB838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76" name="Graphic 638">
                  <a:extLst>
                    <a:ext uri="{FF2B5EF4-FFF2-40B4-BE49-F238E27FC236}">
                      <a16:creationId xmlns:a16="http://schemas.microsoft.com/office/drawing/2014/main" id="{046AF305-A114-9044-1005-2E8E529910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77" name="Graphic 639">
                  <a:extLst>
                    <a:ext uri="{FF2B5EF4-FFF2-40B4-BE49-F238E27FC236}">
                      <a16:creationId xmlns:a16="http://schemas.microsoft.com/office/drawing/2014/main" id="{C9D3B56A-83D2-E626-69FF-A2AE6D1361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78" name="Graphic 640">
                  <a:extLst>
                    <a:ext uri="{FF2B5EF4-FFF2-40B4-BE49-F238E27FC236}">
                      <a16:creationId xmlns:a16="http://schemas.microsoft.com/office/drawing/2014/main" id="{EA6C81BD-5B4B-C96A-D06B-C4AEA8C9BD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79" name="Graphic 641">
                  <a:extLst>
                    <a:ext uri="{FF2B5EF4-FFF2-40B4-BE49-F238E27FC236}">
                      <a16:creationId xmlns:a16="http://schemas.microsoft.com/office/drawing/2014/main" id="{5CB1575B-9B3A-9218-5111-91DC7915CA4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80" name="Graphic 642">
                  <a:extLst>
                    <a:ext uri="{FF2B5EF4-FFF2-40B4-BE49-F238E27FC236}">
                      <a16:creationId xmlns:a16="http://schemas.microsoft.com/office/drawing/2014/main" id="{49EDA393-F990-12F5-0EC4-30FDFB7881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81" name="Graphic 643">
                  <a:extLst>
                    <a:ext uri="{FF2B5EF4-FFF2-40B4-BE49-F238E27FC236}">
                      <a16:creationId xmlns:a16="http://schemas.microsoft.com/office/drawing/2014/main" id="{3CFD63E4-095B-0747-0C61-8A798FAF6E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564" name="Graphic 626">
                <a:extLst>
                  <a:ext uri="{FF2B5EF4-FFF2-40B4-BE49-F238E27FC236}">
                    <a16:creationId xmlns:a16="http://schemas.microsoft.com/office/drawing/2014/main" id="{4C036517-9B51-96CB-75CC-113CA365A1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565" name="Graphic 627">
                <a:extLst>
                  <a:ext uri="{FF2B5EF4-FFF2-40B4-BE49-F238E27FC236}">
                    <a16:creationId xmlns:a16="http://schemas.microsoft.com/office/drawing/2014/main" id="{5E70B9B1-6252-F9B9-E8CB-08F93846B2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566" name="Graphic 628">
                <a:extLst>
                  <a:ext uri="{FF2B5EF4-FFF2-40B4-BE49-F238E27FC236}">
                    <a16:creationId xmlns:a16="http://schemas.microsoft.com/office/drawing/2014/main" id="{BDFE8E63-4C45-8D0E-D492-562A90EEA4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567" name="Graphic 629">
                <a:extLst>
                  <a:ext uri="{FF2B5EF4-FFF2-40B4-BE49-F238E27FC236}">
                    <a16:creationId xmlns:a16="http://schemas.microsoft.com/office/drawing/2014/main" id="{BF12B5BC-0BB7-E5E3-CC36-B7E79C7B84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61" name="Group 23">
              <a:extLst>
                <a:ext uri="{FF2B5EF4-FFF2-40B4-BE49-F238E27FC236}">
                  <a16:creationId xmlns:a16="http://schemas.microsoft.com/office/drawing/2014/main" id="{CA56E821-B08D-B34F-E3EA-993DB77860B2}"/>
                </a:ext>
              </a:extLst>
            </p:cNvPr>
            <p:cNvGrpSpPr/>
            <p:nvPr/>
          </p:nvGrpSpPr>
          <p:grpSpPr>
            <a:xfrm>
              <a:off x="1409982" y="3599917"/>
              <a:ext cx="79341" cy="78374"/>
              <a:chOff x="5071590" y="2724817"/>
              <a:chExt cx="1901239" cy="1655213"/>
            </a:xfrm>
          </p:grpSpPr>
          <p:grpSp>
            <p:nvGrpSpPr>
              <p:cNvPr id="4521" name="Group 583">
                <a:extLst>
                  <a:ext uri="{FF2B5EF4-FFF2-40B4-BE49-F238E27FC236}">
                    <a16:creationId xmlns:a16="http://schemas.microsoft.com/office/drawing/2014/main" id="{040CCB3B-ECA6-6509-4EF5-B34B2F33FB6B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526" name="Group 588">
                  <a:extLst>
                    <a:ext uri="{FF2B5EF4-FFF2-40B4-BE49-F238E27FC236}">
                      <a16:creationId xmlns:a16="http://schemas.microsoft.com/office/drawing/2014/main" id="{239D7498-AC7F-E5B6-E479-31B82DC88282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540" name="Oval 602">
                    <a:extLst>
                      <a:ext uri="{FF2B5EF4-FFF2-40B4-BE49-F238E27FC236}">
                        <a16:creationId xmlns:a16="http://schemas.microsoft.com/office/drawing/2014/main" id="{9A57242A-2ED4-4907-3BB9-228BBEFA6080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541" name="Group 603">
                    <a:extLst>
                      <a:ext uri="{FF2B5EF4-FFF2-40B4-BE49-F238E27FC236}">
                        <a16:creationId xmlns:a16="http://schemas.microsoft.com/office/drawing/2014/main" id="{DB79D394-280E-FFF7-9E89-C07E005E0E2C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542" name="Graphic 604">
                      <a:extLst>
                        <a:ext uri="{FF2B5EF4-FFF2-40B4-BE49-F238E27FC236}">
                          <a16:creationId xmlns:a16="http://schemas.microsoft.com/office/drawing/2014/main" id="{84CE0331-BBCA-94B0-7E6B-4F71D700392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43" name="Graphic 605">
                      <a:extLst>
                        <a:ext uri="{FF2B5EF4-FFF2-40B4-BE49-F238E27FC236}">
                          <a16:creationId xmlns:a16="http://schemas.microsoft.com/office/drawing/2014/main" id="{08F3D456-14FB-8588-6146-7E0D6542F30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44" name="Graphic 606">
                      <a:extLst>
                        <a:ext uri="{FF2B5EF4-FFF2-40B4-BE49-F238E27FC236}">
                          <a16:creationId xmlns:a16="http://schemas.microsoft.com/office/drawing/2014/main" id="{CFAB2F60-5A98-9B68-FB4E-088734F055C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45" name="Graphic 607">
                      <a:extLst>
                        <a:ext uri="{FF2B5EF4-FFF2-40B4-BE49-F238E27FC236}">
                          <a16:creationId xmlns:a16="http://schemas.microsoft.com/office/drawing/2014/main" id="{395BD387-15DD-BBEF-17C3-0D685899701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46" name="Graphic 608">
                      <a:extLst>
                        <a:ext uri="{FF2B5EF4-FFF2-40B4-BE49-F238E27FC236}">
                          <a16:creationId xmlns:a16="http://schemas.microsoft.com/office/drawing/2014/main" id="{62B79B92-BD77-BDB5-B8E5-AFF2C34D80A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47" name="Graphic 609">
                      <a:extLst>
                        <a:ext uri="{FF2B5EF4-FFF2-40B4-BE49-F238E27FC236}">
                          <a16:creationId xmlns:a16="http://schemas.microsoft.com/office/drawing/2014/main" id="{00FE117C-457B-C614-C1B8-5CE10E9CB03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48" name="Graphic 610">
                      <a:extLst>
                        <a:ext uri="{FF2B5EF4-FFF2-40B4-BE49-F238E27FC236}">
                          <a16:creationId xmlns:a16="http://schemas.microsoft.com/office/drawing/2014/main" id="{7C8BB6D1-B0D6-0AE6-A5D1-D4A3F069B8D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49" name="Graphic 611">
                      <a:extLst>
                        <a:ext uri="{FF2B5EF4-FFF2-40B4-BE49-F238E27FC236}">
                          <a16:creationId xmlns:a16="http://schemas.microsoft.com/office/drawing/2014/main" id="{4D1F6F40-35FB-F1B0-FCF7-FC0C3371190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50" name="Graphic 612">
                      <a:extLst>
                        <a:ext uri="{FF2B5EF4-FFF2-40B4-BE49-F238E27FC236}">
                          <a16:creationId xmlns:a16="http://schemas.microsoft.com/office/drawing/2014/main" id="{59C2BE15-228B-8352-8A27-02F20A90AAE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51" name="Graphic 613">
                      <a:extLst>
                        <a:ext uri="{FF2B5EF4-FFF2-40B4-BE49-F238E27FC236}">
                          <a16:creationId xmlns:a16="http://schemas.microsoft.com/office/drawing/2014/main" id="{90348EBB-2CE7-FFB1-0AA7-6BFFA005FC8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52" name="Graphic 614">
                      <a:extLst>
                        <a:ext uri="{FF2B5EF4-FFF2-40B4-BE49-F238E27FC236}">
                          <a16:creationId xmlns:a16="http://schemas.microsoft.com/office/drawing/2014/main" id="{76CDAC6A-1CDB-37AB-C45F-2F6F3FD19DB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53" name="Graphic 615">
                      <a:extLst>
                        <a:ext uri="{FF2B5EF4-FFF2-40B4-BE49-F238E27FC236}">
                          <a16:creationId xmlns:a16="http://schemas.microsoft.com/office/drawing/2014/main" id="{654016D9-C4C5-9C19-8ED0-2C5EE064059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54" name="Graphic 616">
                      <a:extLst>
                        <a:ext uri="{FF2B5EF4-FFF2-40B4-BE49-F238E27FC236}">
                          <a16:creationId xmlns:a16="http://schemas.microsoft.com/office/drawing/2014/main" id="{13619E4C-D88A-B9A4-461A-52AAC35DAE9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55" name="Graphic 617">
                      <a:extLst>
                        <a:ext uri="{FF2B5EF4-FFF2-40B4-BE49-F238E27FC236}">
                          <a16:creationId xmlns:a16="http://schemas.microsoft.com/office/drawing/2014/main" id="{5498EAC1-1D5B-E75F-C5C6-C47B39ACED3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56" name="Graphic 618">
                      <a:extLst>
                        <a:ext uri="{FF2B5EF4-FFF2-40B4-BE49-F238E27FC236}">
                          <a16:creationId xmlns:a16="http://schemas.microsoft.com/office/drawing/2014/main" id="{71CC10A7-8F0E-1304-3A85-215BE6F8BEE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57" name="Graphic 619">
                      <a:extLst>
                        <a:ext uri="{FF2B5EF4-FFF2-40B4-BE49-F238E27FC236}">
                          <a16:creationId xmlns:a16="http://schemas.microsoft.com/office/drawing/2014/main" id="{C68593C8-3D7E-D2B5-48DF-F6C89EAE71F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58" name="Graphic 620">
                      <a:extLst>
                        <a:ext uri="{FF2B5EF4-FFF2-40B4-BE49-F238E27FC236}">
                          <a16:creationId xmlns:a16="http://schemas.microsoft.com/office/drawing/2014/main" id="{A2DDDE28-B050-F556-E8D2-D63153C5C8F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59" name="Graphic 621">
                      <a:extLst>
                        <a:ext uri="{FF2B5EF4-FFF2-40B4-BE49-F238E27FC236}">
                          <a16:creationId xmlns:a16="http://schemas.microsoft.com/office/drawing/2014/main" id="{AE98208A-BA0D-6276-098F-A691856DF0E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60" name="Graphic 622">
                      <a:extLst>
                        <a:ext uri="{FF2B5EF4-FFF2-40B4-BE49-F238E27FC236}">
                          <a16:creationId xmlns:a16="http://schemas.microsoft.com/office/drawing/2014/main" id="{1FCBEE70-7885-A757-362D-439E8002846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61" name="Graphic 623">
                      <a:extLst>
                        <a:ext uri="{FF2B5EF4-FFF2-40B4-BE49-F238E27FC236}">
                          <a16:creationId xmlns:a16="http://schemas.microsoft.com/office/drawing/2014/main" id="{685A11E4-83B7-BCF5-3C99-6FFEA5029D1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62" name="Graphic 624">
                      <a:extLst>
                        <a:ext uri="{FF2B5EF4-FFF2-40B4-BE49-F238E27FC236}">
                          <a16:creationId xmlns:a16="http://schemas.microsoft.com/office/drawing/2014/main" id="{097CA0CA-9AD6-4D1D-CA47-6002E8B5449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527" name="Graphic 589">
                  <a:extLst>
                    <a:ext uri="{FF2B5EF4-FFF2-40B4-BE49-F238E27FC236}">
                      <a16:creationId xmlns:a16="http://schemas.microsoft.com/office/drawing/2014/main" id="{10A1594A-1205-796C-2790-F0C3DA53535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28" name="Graphic 590">
                  <a:extLst>
                    <a:ext uri="{FF2B5EF4-FFF2-40B4-BE49-F238E27FC236}">
                      <a16:creationId xmlns:a16="http://schemas.microsoft.com/office/drawing/2014/main" id="{C09BA850-DB0F-621A-74FB-30B29762BC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29" name="Graphic 591">
                  <a:extLst>
                    <a:ext uri="{FF2B5EF4-FFF2-40B4-BE49-F238E27FC236}">
                      <a16:creationId xmlns:a16="http://schemas.microsoft.com/office/drawing/2014/main" id="{7D75BB8F-AC3F-C072-6E4C-8627F55407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30" name="Graphic 592">
                  <a:extLst>
                    <a:ext uri="{FF2B5EF4-FFF2-40B4-BE49-F238E27FC236}">
                      <a16:creationId xmlns:a16="http://schemas.microsoft.com/office/drawing/2014/main" id="{463386A9-DA22-E609-CD9C-7CBDEE16E78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531" name="Graphic 593">
                  <a:extLst>
                    <a:ext uri="{FF2B5EF4-FFF2-40B4-BE49-F238E27FC236}">
                      <a16:creationId xmlns:a16="http://schemas.microsoft.com/office/drawing/2014/main" id="{6592454D-2F83-CB46-AACF-02FA963C54E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32" name="Graphic 594">
                  <a:extLst>
                    <a:ext uri="{FF2B5EF4-FFF2-40B4-BE49-F238E27FC236}">
                      <a16:creationId xmlns:a16="http://schemas.microsoft.com/office/drawing/2014/main" id="{DD1AA986-BF74-F4F4-D672-9420296B589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533" name="Graphic 595">
                  <a:extLst>
                    <a:ext uri="{FF2B5EF4-FFF2-40B4-BE49-F238E27FC236}">
                      <a16:creationId xmlns:a16="http://schemas.microsoft.com/office/drawing/2014/main" id="{4760592C-070B-3FF1-F044-CD6A7AB60BA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34" name="Graphic 596">
                  <a:extLst>
                    <a:ext uri="{FF2B5EF4-FFF2-40B4-BE49-F238E27FC236}">
                      <a16:creationId xmlns:a16="http://schemas.microsoft.com/office/drawing/2014/main" id="{74B859A9-06CC-1347-A92C-1E6AB542D51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35" name="Graphic 597">
                  <a:extLst>
                    <a:ext uri="{FF2B5EF4-FFF2-40B4-BE49-F238E27FC236}">
                      <a16:creationId xmlns:a16="http://schemas.microsoft.com/office/drawing/2014/main" id="{E6199C54-D9D9-943F-3601-9D86FAC0E9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36" name="Graphic 598">
                  <a:extLst>
                    <a:ext uri="{FF2B5EF4-FFF2-40B4-BE49-F238E27FC236}">
                      <a16:creationId xmlns:a16="http://schemas.microsoft.com/office/drawing/2014/main" id="{DE628BE1-EBC1-705E-C476-8500D5ECDD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37" name="Graphic 599">
                  <a:extLst>
                    <a:ext uri="{FF2B5EF4-FFF2-40B4-BE49-F238E27FC236}">
                      <a16:creationId xmlns:a16="http://schemas.microsoft.com/office/drawing/2014/main" id="{F0FE362D-1EB7-4634-7FD0-E842276A944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38" name="Graphic 600">
                  <a:extLst>
                    <a:ext uri="{FF2B5EF4-FFF2-40B4-BE49-F238E27FC236}">
                      <a16:creationId xmlns:a16="http://schemas.microsoft.com/office/drawing/2014/main" id="{5C9F0B0E-AB78-F181-6973-A00B100F70B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539" name="Graphic 601">
                  <a:extLst>
                    <a:ext uri="{FF2B5EF4-FFF2-40B4-BE49-F238E27FC236}">
                      <a16:creationId xmlns:a16="http://schemas.microsoft.com/office/drawing/2014/main" id="{CDEAA813-432F-76D0-26DF-DE78588E1B2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522" name="Graphic 584">
                <a:extLst>
                  <a:ext uri="{FF2B5EF4-FFF2-40B4-BE49-F238E27FC236}">
                    <a16:creationId xmlns:a16="http://schemas.microsoft.com/office/drawing/2014/main" id="{A53135CB-7A08-6CB1-3B15-D309617C1A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523" name="Graphic 585">
                <a:extLst>
                  <a:ext uri="{FF2B5EF4-FFF2-40B4-BE49-F238E27FC236}">
                    <a16:creationId xmlns:a16="http://schemas.microsoft.com/office/drawing/2014/main" id="{80AC8C0B-CCB8-5E80-E4AD-4C06A94168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524" name="Graphic 586">
                <a:extLst>
                  <a:ext uri="{FF2B5EF4-FFF2-40B4-BE49-F238E27FC236}">
                    <a16:creationId xmlns:a16="http://schemas.microsoft.com/office/drawing/2014/main" id="{930D8D53-9B64-11E3-15A5-642FB0D18A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525" name="Graphic 587">
                <a:extLst>
                  <a:ext uri="{FF2B5EF4-FFF2-40B4-BE49-F238E27FC236}">
                    <a16:creationId xmlns:a16="http://schemas.microsoft.com/office/drawing/2014/main" id="{22FFF17F-5656-B696-FC65-A7FBB329B9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62" name="Group 24">
              <a:extLst>
                <a:ext uri="{FF2B5EF4-FFF2-40B4-BE49-F238E27FC236}">
                  <a16:creationId xmlns:a16="http://schemas.microsoft.com/office/drawing/2014/main" id="{FB9032C7-062A-6BA1-EA3E-86071F911247}"/>
                </a:ext>
              </a:extLst>
            </p:cNvPr>
            <p:cNvGrpSpPr/>
            <p:nvPr/>
          </p:nvGrpSpPr>
          <p:grpSpPr>
            <a:xfrm>
              <a:off x="1697488" y="3493453"/>
              <a:ext cx="135763" cy="134108"/>
              <a:chOff x="5071590" y="2724817"/>
              <a:chExt cx="1901239" cy="1655213"/>
            </a:xfrm>
          </p:grpSpPr>
          <p:grpSp>
            <p:nvGrpSpPr>
              <p:cNvPr id="4479" name="Group 541">
                <a:extLst>
                  <a:ext uri="{FF2B5EF4-FFF2-40B4-BE49-F238E27FC236}">
                    <a16:creationId xmlns:a16="http://schemas.microsoft.com/office/drawing/2014/main" id="{57BF8AF1-6EE5-1104-7209-AC428AD147BE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484" name="Group 546">
                  <a:extLst>
                    <a:ext uri="{FF2B5EF4-FFF2-40B4-BE49-F238E27FC236}">
                      <a16:creationId xmlns:a16="http://schemas.microsoft.com/office/drawing/2014/main" id="{691B6090-9F92-49FC-E69B-448DC84D4F8E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498" name="Oval 560">
                    <a:extLst>
                      <a:ext uri="{FF2B5EF4-FFF2-40B4-BE49-F238E27FC236}">
                        <a16:creationId xmlns:a16="http://schemas.microsoft.com/office/drawing/2014/main" id="{22406262-96D4-8C60-5D33-1ED7EEEF0FBF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499" name="Group 561">
                    <a:extLst>
                      <a:ext uri="{FF2B5EF4-FFF2-40B4-BE49-F238E27FC236}">
                        <a16:creationId xmlns:a16="http://schemas.microsoft.com/office/drawing/2014/main" id="{9B26AE68-2EB5-ED31-E90F-2EA6B1CFD5DB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500" name="Graphic 562">
                      <a:extLst>
                        <a:ext uri="{FF2B5EF4-FFF2-40B4-BE49-F238E27FC236}">
                          <a16:creationId xmlns:a16="http://schemas.microsoft.com/office/drawing/2014/main" id="{11D7D1F4-0771-E039-4F64-E5CFE2DB272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01" name="Graphic 563">
                      <a:extLst>
                        <a:ext uri="{FF2B5EF4-FFF2-40B4-BE49-F238E27FC236}">
                          <a16:creationId xmlns:a16="http://schemas.microsoft.com/office/drawing/2014/main" id="{C49A7469-E17F-9400-C539-94B8DE09F0A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02" name="Graphic 564">
                      <a:extLst>
                        <a:ext uri="{FF2B5EF4-FFF2-40B4-BE49-F238E27FC236}">
                          <a16:creationId xmlns:a16="http://schemas.microsoft.com/office/drawing/2014/main" id="{2B7918C8-80AD-F745-29CC-A0FFD141D0D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03" name="Graphic 565">
                      <a:extLst>
                        <a:ext uri="{FF2B5EF4-FFF2-40B4-BE49-F238E27FC236}">
                          <a16:creationId xmlns:a16="http://schemas.microsoft.com/office/drawing/2014/main" id="{D3BFACAB-43CC-C263-DABF-9CF789F12E3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04" name="Graphic 566">
                      <a:extLst>
                        <a:ext uri="{FF2B5EF4-FFF2-40B4-BE49-F238E27FC236}">
                          <a16:creationId xmlns:a16="http://schemas.microsoft.com/office/drawing/2014/main" id="{7F0568A3-6FC4-5835-ACA1-3EF480035DF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05" name="Graphic 567">
                      <a:extLst>
                        <a:ext uri="{FF2B5EF4-FFF2-40B4-BE49-F238E27FC236}">
                          <a16:creationId xmlns:a16="http://schemas.microsoft.com/office/drawing/2014/main" id="{53A7EECD-333A-21D4-5A93-36FDF88E9EE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06" name="Graphic 568">
                      <a:extLst>
                        <a:ext uri="{FF2B5EF4-FFF2-40B4-BE49-F238E27FC236}">
                          <a16:creationId xmlns:a16="http://schemas.microsoft.com/office/drawing/2014/main" id="{235E78AF-BE12-EC16-ED9D-E900FBA1382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07" name="Graphic 569">
                      <a:extLst>
                        <a:ext uri="{FF2B5EF4-FFF2-40B4-BE49-F238E27FC236}">
                          <a16:creationId xmlns:a16="http://schemas.microsoft.com/office/drawing/2014/main" id="{91FCAC7A-AE75-5D4A-F30B-D6288F1CA6A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08" name="Graphic 570">
                      <a:extLst>
                        <a:ext uri="{FF2B5EF4-FFF2-40B4-BE49-F238E27FC236}">
                          <a16:creationId xmlns:a16="http://schemas.microsoft.com/office/drawing/2014/main" id="{4C5D5C9D-1D88-C70D-3E1C-B4B735F5BB0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09" name="Graphic 571">
                      <a:extLst>
                        <a:ext uri="{FF2B5EF4-FFF2-40B4-BE49-F238E27FC236}">
                          <a16:creationId xmlns:a16="http://schemas.microsoft.com/office/drawing/2014/main" id="{DA79411A-4C5E-0579-0E9F-34B1503F6F8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10" name="Graphic 572">
                      <a:extLst>
                        <a:ext uri="{FF2B5EF4-FFF2-40B4-BE49-F238E27FC236}">
                          <a16:creationId xmlns:a16="http://schemas.microsoft.com/office/drawing/2014/main" id="{AA514C41-3C02-1774-BA5B-E2A951A2F7E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11" name="Graphic 573">
                      <a:extLst>
                        <a:ext uri="{FF2B5EF4-FFF2-40B4-BE49-F238E27FC236}">
                          <a16:creationId xmlns:a16="http://schemas.microsoft.com/office/drawing/2014/main" id="{DF406152-FBAD-0CF3-D667-43E27BED85F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12" name="Graphic 574">
                      <a:extLst>
                        <a:ext uri="{FF2B5EF4-FFF2-40B4-BE49-F238E27FC236}">
                          <a16:creationId xmlns:a16="http://schemas.microsoft.com/office/drawing/2014/main" id="{FC6F8D51-C5AD-4D13-AB78-5D7DE10D79E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13" name="Graphic 575">
                      <a:extLst>
                        <a:ext uri="{FF2B5EF4-FFF2-40B4-BE49-F238E27FC236}">
                          <a16:creationId xmlns:a16="http://schemas.microsoft.com/office/drawing/2014/main" id="{9D5F6089-3D8C-A2DE-0477-E325B4882D9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14" name="Graphic 576">
                      <a:extLst>
                        <a:ext uri="{FF2B5EF4-FFF2-40B4-BE49-F238E27FC236}">
                          <a16:creationId xmlns:a16="http://schemas.microsoft.com/office/drawing/2014/main" id="{1C328E90-4C38-3F3C-F61A-7913F4FEAF9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15" name="Graphic 577">
                      <a:extLst>
                        <a:ext uri="{FF2B5EF4-FFF2-40B4-BE49-F238E27FC236}">
                          <a16:creationId xmlns:a16="http://schemas.microsoft.com/office/drawing/2014/main" id="{9545221D-3E6B-7EF1-833D-BDD314620AC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16" name="Graphic 578">
                      <a:extLst>
                        <a:ext uri="{FF2B5EF4-FFF2-40B4-BE49-F238E27FC236}">
                          <a16:creationId xmlns:a16="http://schemas.microsoft.com/office/drawing/2014/main" id="{86F88AD2-9761-50DA-0AC9-232AD02BE9E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17" name="Graphic 579">
                      <a:extLst>
                        <a:ext uri="{FF2B5EF4-FFF2-40B4-BE49-F238E27FC236}">
                          <a16:creationId xmlns:a16="http://schemas.microsoft.com/office/drawing/2014/main" id="{54E86DD1-F495-E585-B31A-004D02B7607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18" name="Graphic 580">
                      <a:extLst>
                        <a:ext uri="{FF2B5EF4-FFF2-40B4-BE49-F238E27FC236}">
                          <a16:creationId xmlns:a16="http://schemas.microsoft.com/office/drawing/2014/main" id="{56664470-CD73-BD1F-711D-2FDA97DD078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19" name="Graphic 581">
                      <a:extLst>
                        <a:ext uri="{FF2B5EF4-FFF2-40B4-BE49-F238E27FC236}">
                          <a16:creationId xmlns:a16="http://schemas.microsoft.com/office/drawing/2014/main" id="{11A5B99F-5B71-E758-1C1B-0F32279D04D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520" name="Graphic 582">
                      <a:extLst>
                        <a:ext uri="{FF2B5EF4-FFF2-40B4-BE49-F238E27FC236}">
                          <a16:creationId xmlns:a16="http://schemas.microsoft.com/office/drawing/2014/main" id="{497FD2BA-4DB8-67D5-BB66-17F44438913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485" name="Graphic 547">
                  <a:extLst>
                    <a:ext uri="{FF2B5EF4-FFF2-40B4-BE49-F238E27FC236}">
                      <a16:creationId xmlns:a16="http://schemas.microsoft.com/office/drawing/2014/main" id="{87AD0F95-F8F8-B4CE-B6F7-991EAA3E45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86" name="Graphic 548">
                  <a:extLst>
                    <a:ext uri="{FF2B5EF4-FFF2-40B4-BE49-F238E27FC236}">
                      <a16:creationId xmlns:a16="http://schemas.microsoft.com/office/drawing/2014/main" id="{2B33A126-CEBC-7F5C-D921-0811E87AEA5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87" name="Graphic 549">
                  <a:extLst>
                    <a:ext uri="{FF2B5EF4-FFF2-40B4-BE49-F238E27FC236}">
                      <a16:creationId xmlns:a16="http://schemas.microsoft.com/office/drawing/2014/main" id="{8EBC14A7-40BA-12C7-709B-D9C35022EB9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88" name="Graphic 550">
                  <a:extLst>
                    <a:ext uri="{FF2B5EF4-FFF2-40B4-BE49-F238E27FC236}">
                      <a16:creationId xmlns:a16="http://schemas.microsoft.com/office/drawing/2014/main" id="{4021745B-41AC-7350-F280-DC11B56137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489" name="Graphic 551">
                  <a:extLst>
                    <a:ext uri="{FF2B5EF4-FFF2-40B4-BE49-F238E27FC236}">
                      <a16:creationId xmlns:a16="http://schemas.microsoft.com/office/drawing/2014/main" id="{F017C953-3B19-6775-8DD8-3E7CC49F9A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90" name="Graphic 552">
                  <a:extLst>
                    <a:ext uri="{FF2B5EF4-FFF2-40B4-BE49-F238E27FC236}">
                      <a16:creationId xmlns:a16="http://schemas.microsoft.com/office/drawing/2014/main" id="{6E54E661-D4B8-5544-2523-E744C5A1E43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491" name="Graphic 553">
                  <a:extLst>
                    <a:ext uri="{FF2B5EF4-FFF2-40B4-BE49-F238E27FC236}">
                      <a16:creationId xmlns:a16="http://schemas.microsoft.com/office/drawing/2014/main" id="{8E7E503A-5494-5F69-0070-B2031AA7D45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92" name="Graphic 554">
                  <a:extLst>
                    <a:ext uri="{FF2B5EF4-FFF2-40B4-BE49-F238E27FC236}">
                      <a16:creationId xmlns:a16="http://schemas.microsoft.com/office/drawing/2014/main" id="{781EDF80-D321-7420-9F6D-23088E4866B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93" name="Graphic 555">
                  <a:extLst>
                    <a:ext uri="{FF2B5EF4-FFF2-40B4-BE49-F238E27FC236}">
                      <a16:creationId xmlns:a16="http://schemas.microsoft.com/office/drawing/2014/main" id="{C2E1E2AC-180D-C2DF-233E-143841D6C6C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94" name="Graphic 556">
                  <a:extLst>
                    <a:ext uri="{FF2B5EF4-FFF2-40B4-BE49-F238E27FC236}">
                      <a16:creationId xmlns:a16="http://schemas.microsoft.com/office/drawing/2014/main" id="{245E3166-B9B5-AAF3-C35F-45DD608CC63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95" name="Graphic 557">
                  <a:extLst>
                    <a:ext uri="{FF2B5EF4-FFF2-40B4-BE49-F238E27FC236}">
                      <a16:creationId xmlns:a16="http://schemas.microsoft.com/office/drawing/2014/main" id="{F8622496-6B39-C1A0-584C-31DA8D9A39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96" name="Graphic 558">
                  <a:extLst>
                    <a:ext uri="{FF2B5EF4-FFF2-40B4-BE49-F238E27FC236}">
                      <a16:creationId xmlns:a16="http://schemas.microsoft.com/office/drawing/2014/main" id="{F56D165C-44E5-74DA-B97B-71D72019AD1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97" name="Graphic 559">
                  <a:extLst>
                    <a:ext uri="{FF2B5EF4-FFF2-40B4-BE49-F238E27FC236}">
                      <a16:creationId xmlns:a16="http://schemas.microsoft.com/office/drawing/2014/main" id="{91F6DE4D-1F9B-1F3F-18E6-DC24AFFE791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480" name="Graphic 542">
                <a:extLst>
                  <a:ext uri="{FF2B5EF4-FFF2-40B4-BE49-F238E27FC236}">
                    <a16:creationId xmlns:a16="http://schemas.microsoft.com/office/drawing/2014/main" id="{FD1C3D4F-2216-6A1B-67D4-5FC60E4C1A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481" name="Graphic 543">
                <a:extLst>
                  <a:ext uri="{FF2B5EF4-FFF2-40B4-BE49-F238E27FC236}">
                    <a16:creationId xmlns:a16="http://schemas.microsoft.com/office/drawing/2014/main" id="{8DAAF350-EE88-F355-F045-68EEE2DF24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482" name="Graphic 544">
                <a:extLst>
                  <a:ext uri="{FF2B5EF4-FFF2-40B4-BE49-F238E27FC236}">
                    <a16:creationId xmlns:a16="http://schemas.microsoft.com/office/drawing/2014/main" id="{FCED2A11-4EED-9992-A96C-2143E67A47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483" name="Graphic 545">
                <a:extLst>
                  <a:ext uri="{FF2B5EF4-FFF2-40B4-BE49-F238E27FC236}">
                    <a16:creationId xmlns:a16="http://schemas.microsoft.com/office/drawing/2014/main" id="{55F9272C-AF58-AA8A-22B4-F18CE7FC8A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63" name="Group 25">
              <a:extLst>
                <a:ext uri="{FF2B5EF4-FFF2-40B4-BE49-F238E27FC236}">
                  <a16:creationId xmlns:a16="http://schemas.microsoft.com/office/drawing/2014/main" id="{B2ED9E8E-DBE6-3647-7927-E1FF4A00BBF4}"/>
                </a:ext>
              </a:extLst>
            </p:cNvPr>
            <p:cNvGrpSpPr/>
            <p:nvPr/>
          </p:nvGrpSpPr>
          <p:grpSpPr>
            <a:xfrm>
              <a:off x="1871332" y="3315233"/>
              <a:ext cx="135763" cy="134108"/>
              <a:chOff x="5071590" y="2724817"/>
              <a:chExt cx="1901239" cy="1655213"/>
            </a:xfrm>
          </p:grpSpPr>
          <p:grpSp>
            <p:nvGrpSpPr>
              <p:cNvPr id="4437" name="Group 499">
                <a:extLst>
                  <a:ext uri="{FF2B5EF4-FFF2-40B4-BE49-F238E27FC236}">
                    <a16:creationId xmlns:a16="http://schemas.microsoft.com/office/drawing/2014/main" id="{93C6F0B8-D037-8618-5F3E-C4E0AC2BFD32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442" name="Group 504">
                  <a:extLst>
                    <a:ext uri="{FF2B5EF4-FFF2-40B4-BE49-F238E27FC236}">
                      <a16:creationId xmlns:a16="http://schemas.microsoft.com/office/drawing/2014/main" id="{BB65C21B-81E5-46E1-C374-A016DE1A75C4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456" name="Oval 518">
                    <a:extLst>
                      <a:ext uri="{FF2B5EF4-FFF2-40B4-BE49-F238E27FC236}">
                        <a16:creationId xmlns:a16="http://schemas.microsoft.com/office/drawing/2014/main" id="{2CDA3D2D-AB5A-852E-85B1-338F7A431DF1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457" name="Group 519">
                    <a:extLst>
                      <a:ext uri="{FF2B5EF4-FFF2-40B4-BE49-F238E27FC236}">
                        <a16:creationId xmlns:a16="http://schemas.microsoft.com/office/drawing/2014/main" id="{EC68505C-EDE9-8303-20A9-D8738D7CB31E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458" name="Graphic 520">
                      <a:extLst>
                        <a:ext uri="{FF2B5EF4-FFF2-40B4-BE49-F238E27FC236}">
                          <a16:creationId xmlns:a16="http://schemas.microsoft.com/office/drawing/2014/main" id="{542C82C9-8F44-C551-C46E-86AA74B2176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59" name="Graphic 521">
                      <a:extLst>
                        <a:ext uri="{FF2B5EF4-FFF2-40B4-BE49-F238E27FC236}">
                          <a16:creationId xmlns:a16="http://schemas.microsoft.com/office/drawing/2014/main" id="{7BDC984E-BCCB-8CAF-77C3-34960BDF113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60" name="Graphic 522">
                      <a:extLst>
                        <a:ext uri="{FF2B5EF4-FFF2-40B4-BE49-F238E27FC236}">
                          <a16:creationId xmlns:a16="http://schemas.microsoft.com/office/drawing/2014/main" id="{90813FC4-1B0D-74B7-7E62-C49E86BE133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61" name="Graphic 523">
                      <a:extLst>
                        <a:ext uri="{FF2B5EF4-FFF2-40B4-BE49-F238E27FC236}">
                          <a16:creationId xmlns:a16="http://schemas.microsoft.com/office/drawing/2014/main" id="{5DF17269-6A85-EEE7-61C2-6D4710CBF7F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62" name="Graphic 524">
                      <a:extLst>
                        <a:ext uri="{FF2B5EF4-FFF2-40B4-BE49-F238E27FC236}">
                          <a16:creationId xmlns:a16="http://schemas.microsoft.com/office/drawing/2014/main" id="{D28B3887-D221-DE7F-CC07-12AA2403699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63" name="Graphic 525">
                      <a:extLst>
                        <a:ext uri="{FF2B5EF4-FFF2-40B4-BE49-F238E27FC236}">
                          <a16:creationId xmlns:a16="http://schemas.microsoft.com/office/drawing/2014/main" id="{1F6C1390-30D3-3321-9710-CF4CFA8846B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64" name="Graphic 526">
                      <a:extLst>
                        <a:ext uri="{FF2B5EF4-FFF2-40B4-BE49-F238E27FC236}">
                          <a16:creationId xmlns:a16="http://schemas.microsoft.com/office/drawing/2014/main" id="{22E7CB4D-9889-2BB9-3A3C-431A57C7EFE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65" name="Graphic 527">
                      <a:extLst>
                        <a:ext uri="{FF2B5EF4-FFF2-40B4-BE49-F238E27FC236}">
                          <a16:creationId xmlns:a16="http://schemas.microsoft.com/office/drawing/2014/main" id="{EB2EE64A-15F5-6F19-D68E-C031E98006F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66" name="Graphic 528">
                      <a:extLst>
                        <a:ext uri="{FF2B5EF4-FFF2-40B4-BE49-F238E27FC236}">
                          <a16:creationId xmlns:a16="http://schemas.microsoft.com/office/drawing/2014/main" id="{24F7C985-D6E2-9872-10E8-82F539E8C82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67" name="Graphic 529">
                      <a:extLst>
                        <a:ext uri="{FF2B5EF4-FFF2-40B4-BE49-F238E27FC236}">
                          <a16:creationId xmlns:a16="http://schemas.microsoft.com/office/drawing/2014/main" id="{9F96074E-33B1-F480-257D-14E0DA0A983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68" name="Graphic 530">
                      <a:extLst>
                        <a:ext uri="{FF2B5EF4-FFF2-40B4-BE49-F238E27FC236}">
                          <a16:creationId xmlns:a16="http://schemas.microsoft.com/office/drawing/2014/main" id="{B9DF27BD-C46D-2BEF-3A29-3A19EECA765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69" name="Graphic 531">
                      <a:extLst>
                        <a:ext uri="{FF2B5EF4-FFF2-40B4-BE49-F238E27FC236}">
                          <a16:creationId xmlns:a16="http://schemas.microsoft.com/office/drawing/2014/main" id="{D17C7DB6-ECF5-0A59-0D0F-689784DDD49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70" name="Graphic 532">
                      <a:extLst>
                        <a:ext uri="{FF2B5EF4-FFF2-40B4-BE49-F238E27FC236}">
                          <a16:creationId xmlns:a16="http://schemas.microsoft.com/office/drawing/2014/main" id="{B0799520-8955-6B53-4567-E59F71C0244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71" name="Graphic 533">
                      <a:extLst>
                        <a:ext uri="{FF2B5EF4-FFF2-40B4-BE49-F238E27FC236}">
                          <a16:creationId xmlns:a16="http://schemas.microsoft.com/office/drawing/2014/main" id="{33D3DF97-F684-6872-CBCD-207C7DF0B79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72" name="Graphic 534">
                      <a:extLst>
                        <a:ext uri="{FF2B5EF4-FFF2-40B4-BE49-F238E27FC236}">
                          <a16:creationId xmlns:a16="http://schemas.microsoft.com/office/drawing/2014/main" id="{9DBE8EFB-C224-EB4D-2ECE-2F0B7CDB8EC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73" name="Graphic 535">
                      <a:extLst>
                        <a:ext uri="{FF2B5EF4-FFF2-40B4-BE49-F238E27FC236}">
                          <a16:creationId xmlns:a16="http://schemas.microsoft.com/office/drawing/2014/main" id="{61F2FCCE-7A5B-F33B-6765-21BA9230A5F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74" name="Graphic 536">
                      <a:extLst>
                        <a:ext uri="{FF2B5EF4-FFF2-40B4-BE49-F238E27FC236}">
                          <a16:creationId xmlns:a16="http://schemas.microsoft.com/office/drawing/2014/main" id="{F69A3F76-713E-D153-C3D3-444459A566C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75" name="Graphic 537">
                      <a:extLst>
                        <a:ext uri="{FF2B5EF4-FFF2-40B4-BE49-F238E27FC236}">
                          <a16:creationId xmlns:a16="http://schemas.microsoft.com/office/drawing/2014/main" id="{C1886FCC-9023-3309-34D7-55711B196A0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76" name="Graphic 538">
                      <a:extLst>
                        <a:ext uri="{FF2B5EF4-FFF2-40B4-BE49-F238E27FC236}">
                          <a16:creationId xmlns:a16="http://schemas.microsoft.com/office/drawing/2014/main" id="{1F2A7A5A-5AE7-E714-746A-856A0977CAE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77" name="Graphic 539">
                      <a:extLst>
                        <a:ext uri="{FF2B5EF4-FFF2-40B4-BE49-F238E27FC236}">
                          <a16:creationId xmlns:a16="http://schemas.microsoft.com/office/drawing/2014/main" id="{F54EABEF-828F-15D2-F1F4-4A16B72E945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78" name="Graphic 540">
                      <a:extLst>
                        <a:ext uri="{FF2B5EF4-FFF2-40B4-BE49-F238E27FC236}">
                          <a16:creationId xmlns:a16="http://schemas.microsoft.com/office/drawing/2014/main" id="{FEC1699D-4BC9-9DBC-F7D5-67DA8972D45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443" name="Graphic 505">
                  <a:extLst>
                    <a:ext uri="{FF2B5EF4-FFF2-40B4-BE49-F238E27FC236}">
                      <a16:creationId xmlns:a16="http://schemas.microsoft.com/office/drawing/2014/main" id="{E87B656C-DD86-2E59-CEAC-939A0A7279C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44" name="Graphic 506">
                  <a:extLst>
                    <a:ext uri="{FF2B5EF4-FFF2-40B4-BE49-F238E27FC236}">
                      <a16:creationId xmlns:a16="http://schemas.microsoft.com/office/drawing/2014/main" id="{260FBAA4-7215-C2DA-F6EF-BCD0B026300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45" name="Graphic 507">
                  <a:extLst>
                    <a:ext uri="{FF2B5EF4-FFF2-40B4-BE49-F238E27FC236}">
                      <a16:creationId xmlns:a16="http://schemas.microsoft.com/office/drawing/2014/main" id="{98071875-C864-7196-42A1-69C2034E7F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46" name="Graphic 508">
                  <a:extLst>
                    <a:ext uri="{FF2B5EF4-FFF2-40B4-BE49-F238E27FC236}">
                      <a16:creationId xmlns:a16="http://schemas.microsoft.com/office/drawing/2014/main" id="{E2E904FB-0039-26A5-4F4F-2EF531201F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447" name="Graphic 509">
                  <a:extLst>
                    <a:ext uri="{FF2B5EF4-FFF2-40B4-BE49-F238E27FC236}">
                      <a16:creationId xmlns:a16="http://schemas.microsoft.com/office/drawing/2014/main" id="{F76F4FD0-05B9-32C3-A7BA-57B5D7C3BC9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48" name="Graphic 510">
                  <a:extLst>
                    <a:ext uri="{FF2B5EF4-FFF2-40B4-BE49-F238E27FC236}">
                      <a16:creationId xmlns:a16="http://schemas.microsoft.com/office/drawing/2014/main" id="{6F4123BE-F73D-56B6-65E6-C9BD4806776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449" name="Graphic 511">
                  <a:extLst>
                    <a:ext uri="{FF2B5EF4-FFF2-40B4-BE49-F238E27FC236}">
                      <a16:creationId xmlns:a16="http://schemas.microsoft.com/office/drawing/2014/main" id="{8292F3F1-4DE9-D307-BFC6-F5995BD097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50" name="Graphic 512">
                  <a:extLst>
                    <a:ext uri="{FF2B5EF4-FFF2-40B4-BE49-F238E27FC236}">
                      <a16:creationId xmlns:a16="http://schemas.microsoft.com/office/drawing/2014/main" id="{48012BED-A32F-BFF8-1AF7-8653EE078F9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51" name="Graphic 513">
                  <a:extLst>
                    <a:ext uri="{FF2B5EF4-FFF2-40B4-BE49-F238E27FC236}">
                      <a16:creationId xmlns:a16="http://schemas.microsoft.com/office/drawing/2014/main" id="{81494919-86C4-C876-1A0F-397DDC8929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52" name="Graphic 514">
                  <a:extLst>
                    <a:ext uri="{FF2B5EF4-FFF2-40B4-BE49-F238E27FC236}">
                      <a16:creationId xmlns:a16="http://schemas.microsoft.com/office/drawing/2014/main" id="{26F9D710-F4A8-53C4-CB1A-91C44D23709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53" name="Graphic 515">
                  <a:extLst>
                    <a:ext uri="{FF2B5EF4-FFF2-40B4-BE49-F238E27FC236}">
                      <a16:creationId xmlns:a16="http://schemas.microsoft.com/office/drawing/2014/main" id="{552DFE84-242F-6A8C-BF80-0F0B8F0DEF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54" name="Graphic 516">
                  <a:extLst>
                    <a:ext uri="{FF2B5EF4-FFF2-40B4-BE49-F238E27FC236}">
                      <a16:creationId xmlns:a16="http://schemas.microsoft.com/office/drawing/2014/main" id="{64A8E73D-B1BB-AD5F-EC1D-3C2C04C42BE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55" name="Graphic 517">
                  <a:extLst>
                    <a:ext uri="{FF2B5EF4-FFF2-40B4-BE49-F238E27FC236}">
                      <a16:creationId xmlns:a16="http://schemas.microsoft.com/office/drawing/2014/main" id="{8F63387F-5B80-23A6-323B-2473B93138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438" name="Graphic 500">
                <a:extLst>
                  <a:ext uri="{FF2B5EF4-FFF2-40B4-BE49-F238E27FC236}">
                    <a16:creationId xmlns:a16="http://schemas.microsoft.com/office/drawing/2014/main" id="{29E16896-6610-102C-1C36-BB39941655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439" name="Graphic 501">
                <a:extLst>
                  <a:ext uri="{FF2B5EF4-FFF2-40B4-BE49-F238E27FC236}">
                    <a16:creationId xmlns:a16="http://schemas.microsoft.com/office/drawing/2014/main" id="{3115E2EE-940C-B794-0297-AF2D53F75A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440" name="Graphic 502">
                <a:extLst>
                  <a:ext uri="{FF2B5EF4-FFF2-40B4-BE49-F238E27FC236}">
                    <a16:creationId xmlns:a16="http://schemas.microsoft.com/office/drawing/2014/main" id="{F4235341-C96E-4D9B-1364-395C58B262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441" name="Graphic 503">
                <a:extLst>
                  <a:ext uri="{FF2B5EF4-FFF2-40B4-BE49-F238E27FC236}">
                    <a16:creationId xmlns:a16="http://schemas.microsoft.com/office/drawing/2014/main" id="{0FB9BD8C-E3AB-77B8-0EFB-C757C5C08D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64" name="Group 26">
              <a:extLst>
                <a:ext uri="{FF2B5EF4-FFF2-40B4-BE49-F238E27FC236}">
                  <a16:creationId xmlns:a16="http://schemas.microsoft.com/office/drawing/2014/main" id="{9DA9F87B-3A41-E63C-6841-0779C9B7C882}"/>
                </a:ext>
              </a:extLst>
            </p:cNvPr>
            <p:cNvGrpSpPr/>
            <p:nvPr/>
          </p:nvGrpSpPr>
          <p:grpSpPr>
            <a:xfrm>
              <a:off x="2081256" y="3280655"/>
              <a:ext cx="100368" cy="99144"/>
              <a:chOff x="5071590" y="2724817"/>
              <a:chExt cx="1901239" cy="1655213"/>
            </a:xfrm>
          </p:grpSpPr>
          <p:grpSp>
            <p:nvGrpSpPr>
              <p:cNvPr id="4395" name="Group 457">
                <a:extLst>
                  <a:ext uri="{FF2B5EF4-FFF2-40B4-BE49-F238E27FC236}">
                    <a16:creationId xmlns:a16="http://schemas.microsoft.com/office/drawing/2014/main" id="{63CC65B5-CE1A-FC95-5B16-0CC6D536A3C2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400" name="Group 462">
                  <a:extLst>
                    <a:ext uri="{FF2B5EF4-FFF2-40B4-BE49-F238E27FC236}">
                      <a16:creationId xmlns:a16="http://schemas.microsoft.com/office/drawing/2014/main" id="{B58E6AD9-8655-E20B-E744-491017A180E9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414" name="Oval 476">
                    <a:extLst>
                      <a:ext uri="{FF2B5EF4-FFF2-40B4-BE49-F238E27FC236}">
                        <a16:creationId xmlns:a16="http://schemas.microsoft.com/office/drawing/2014/main" id="{CA9D57D1-6536-7C7C-14E6-260DE903AA30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415" name="Group 477">
                    <a:extLst>
                      <a:ext uri="{FF2B5EF4-FFF2-40B4-BE49-F238E27FC236}">
                        <a16:creationId xmlns:a16="http://schemas.microsoft.com/office/drawing/2014/main" id="{6A96FCD2-C63C-137B-3455-F86261EA60DC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416" name="Graphic 478">
                      <a:extLst>
                        <a:ext uri="{FF2B5EF4-FFF2-40B4-BE49-F238E27FC236}">
                          <a16:creationId xmlns:a16="http://schemas.microsoft.com/office/drawing/2014/main" id="{9FBB5A38-BD08-2C59-0E60-FB8C1915267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17" name="Graphic 479">
                      <a:extLst>
                        <a:ext uri="{FF2B5EF4-FFF2-40B4-BE49-F238E27FC236}">
                          <a16:creationId xmlns:a16="http://schemas.microsoft.com/office/drawing/2014/main" id="{30F0509D-209D-9B60-C3F7-F02571CC2F3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18" name="Graphic 480">
                      <a:extLst>
                        <a:ext uri="{FF2B5EF4-FFF2-40B4-BE49-F238E27FC236}">
                          <a16:creationId xmlns:a16="http://schemas.microsoft.com/office/drawing/2014/main" id="{DB426EDD-EC7B-AD65-9CF6-3811754EC95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19" name="Graphic 481">
                      <a:extLst>
                        <a:ext uri="{FF2B5EF4-FFF2-40B4-BE49-F238E27FC236}">
                          <a16:creationId xmlns:a16="http://schemas.microsoft.com/office/drawing/2014/main" id="{5ED57F83-6557-3FCA-89A1-36F3DEE2BCA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20" name="Graphic 482">
                      <a:extLst>
                        <a:ext uri="{FF2B5EF4-FFF2-40B4-BE49-F238E27FC236}">
                          <a16:creationId xmlns:a16="http://schemas.microsoft.com/office/drawing/2014/main" id="{BBE1A65A-325B-023D-2CBE-98A4AA10892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21" name="Graphic 483">
                      <a:extLst>
                        <a:ext uri="{FF2B5EF4-FFF2-40B4-BE49-F238E27FC236}">
                          <a16:creationId xmlns:a16="http://schemas.microsoft.com/office/drawing/2014/main" id="{77A3117D-F669-C573-059B-43C10E8D5B0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22" name="Graphic 484">
                      <a:extLst>
                        <a:ext uri="{FF2B5EF4-FFF2-40B4-BE49-F238E27FC236}">
                          <a16:creationId xmlns:a16="http://schemas.microsoft.com/office/drawing/2014/main" id="{360160A6-9C18-600D-10C5-53BF0B1051E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23" name="Graphic 485">
                      <a:extLst>
                        <a:ext uri="{FF2B5EF4-FFF2-40B4-BE49-F238E27FC236}">
                          <a16:creationId xmlns:a16="http://schemas.microsoft.com/office/drawing/2014/main" id="{F881AB48-947A-D738-9149-8686B0EAA3D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24" name="Graphic 486">
                      <a:extLst>
                        <a:ext uri="{FF2B5EF4-FFF2-40B4-BE49-F238E27FC236}">
                          <a16:creationId xmlns:a16="http://schemas.microsoft.com/office/drawing/2014/main" id="{D2D90805-204C-DCA2-4612-4E352B82BA4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25" name="Graphic 487">
                      <a:extLst>
                        <a:ext uri="{FF2B5EF4-FFF2-40B4-BE49-F238E27FC236}">
                          <a16:creationId xmlns:a16="http://schemas.microsoft.com/office/drawing/2014/main" id="{A191A307-F9AA-0358-3DA8-31D0DD549A3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26" name="Graphic 488">
                      <a:extLst>
                        <a:ext uri="{FF2B5EF4-FFF2-40B4-BE49-F238E27FC236}">
                          <a16:creationId xmlns:a16="http://schemas.microsoft.com/office/drawing/2014/main" id="{9578BF55-9BEB-CC35-DEF6-C22863A1E84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27" name="Graphic 489">
                      <a:extLst>
                        <a:ext uri="{FF2B5EF4-FFF2-40B4-BE49-F238E27FC236}">
                          <a16:creationId xmlns:a16="http://schemas.microsoft.com/office/drawing/2014/main" id="{0F0A15A9-1359-1BFC-E2C2-78A56EEB094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28" name="Graphic 490">
                      <a:extLst>
                        <a:ext uri="{FF2B5EF4-FFF2-40B4-BE49-F238E27FC236}">
                          <a16:creationId xmlns:a16="http://schemas.microsoft.com/office/drawing/2014/main" id="{89BA8C29-EB1E-FA4B-8513-6B7F84E5466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29" name="Graphic 491">
                      <a:extLst>
                        <a:ext uri="{FF2B5EF4-FFF2-40B4-BE49-F238E27FC236}">
                          <a16:creationId xmlns:a16="http://schemas.microsoft.com/office/drawing/2014/main" id="{8F9DD858-0932-14DC-1A09-8116F23CAEA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30" name="Graphic 492">
                      <a:extLst>
                        <a:ext uri="{FF2B5EF4-FFF2-40B4-BE49-F238E27FC236}">
                          <a16:creationId xmlns:a16="http://schemas.microsoft.com/office/drawing/2014/main" id="{61BB1950-E8EA-B884-2C5E-239DFF6CB07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31" name="Graphic 493">
                      <a:extLst>
                        <a:ext uri="{FF2B5EF4-FFF2-40B4-BE49-F238E27FC236}">
                          <a16:creationId xmlns:a16="http://schemas.microsoft.com/office/drawing/2014/main" id="{3761299F-0950-0D11-CAE1-981E1A957AB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32" name="Graphic 494">
                      <a:extLst>
                        <a:ext uri="{FF2B5EF4-FFF2-40B4-BE49-F238E27FC236}">
                          <a16:creationId xmlns:a16="http://schemas.microsoft.com/office/drawing/2014/main" id="{DEA7A68C-9C58-36EA-9210-DA0715018FB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33" name="Graphic 495">
                      <a:extLst>
                        <a:ext uri="{FF2B5EF4-FFF2-40B4-BE49-F238E27FC236}">
                          <a16:creationId xmlns:a16="http://schemas.microsoft.com/office/drawing/2014/main" id="{68753845-95AC-619F-A8B2-F27C3295380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34" name="Graphic 496">
                      <a:extLst>
                        <a:ext uri="{FF2B5EF4-FFF2-40B4-BE49-F238E27FC236}">
                          <a16:creationId xmlns:a16="http://schemas.microsoft.com/office/drawing/2014/main" id="{17565F83-9F9A-160D-3601-B1C5CC84A43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35" name="Graphic 497">
                      <a:extLst>
                        <a:ext uri="{FF2B5EF4-FFF2-40B4-BE49-F238E27FC236}">
                          <a16:creationId xmlns:a16="http://schemas.microsoft.com/office/drawing/2014/main" id="{3CBF58D0-1207-5536-D125-61338B6158D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36" name="Graphic 498">
                      <a:extLst>
                        <a:ext uri="{FF2B5EF4-FFF2-40B4-BE49-F238E27FC236}">
                          <a16:creationId xmlns:a16="http://schemas.microsoft.com/office/drawing/2014/main" id="{67B88A9D-8700-1A9E-3805-BE4C8BFC0B4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401" name="Graphic 463">
                  <a:extLst>
                    <a:ext uri="{FF2B5EF4-FFF2-40B4-BE49-F238E27FC236}">
                      <a16:creationId xmlns:a16="http://schemas.microsoft.com/office/drawing/2014/main" id="{CAEF6C68-9817-18DD-30A6-7CD2C83D0C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02" name="Graphic 464">
                  <a:extLst>
                    <a:ext uri="{FF2B5EF4-FFF2-40B4-BE49-F238E27FC236}">
                      <a16:creationId xmlns:a16="http://schemas.microsoft.com/office/drawing/2014/main" id="{53203B53-422D-944F-3F8A-053CD21FA6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03" name="Graphic 465">
                  <a:extLst>
                    <a:ext uri="{FF2B5EF4-FFF2-40B4-BE49-F238E27FC236}">
                      <a16:creationId xmlns:a16="http://schemas.microsoft.com/office/drawing/2014/main" id="{21AC9E52-DBFA-57E8-07F0-041992C0B09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04" name="Graphic 466">
                  <a:extLst>
                    <a:ext uri="{FF2B5EF4-FFF2-40B4-BE49-F238E27FC236}">
                      <a16:creationId xmlns:a16="http://schemas.microsoft.com/office/drawing/2014/main" id="{3388496B-B6A5-48B3-F01E-EFA1996721C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405" name="Graphic 467">
                  <a:extLst>
                    <a:ext uri="{FF2B5EF4-FFF2-40B4-BE49-F238E27FC236}">
                      <a16:creationId xmlns:a16="http://schemas.microsoft.com/office/drawing/2014/main" id="{21934442-C458-2C12-189A-13C8AAFA682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06" name="Graphic 468">
                  <a:extLst>
                    <a:ext uri="{FF2B5EF4-FFF2-40B4-BE49-F238E27FC236}">
                      <a16:creationId xmlns:a16="http://schemas.microsoft.com/office/drawing/2014/main" id="{5F382C47-4EC1-0AC4-12A6-50D287FE641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407" name="Graphic 469">
                  <a:extLst>
                    <a:ext uri="{FF2B5EF4-FFF2-40B4-BE49-F238E27FC236}">
                      <a16:creationId xmlns:a16="http://schemas.microsoft.com/office/drawing/2014/main" id="{B517D4B5-CCB6-30F9-951E-3E2D239A36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08" name="Graphic 470">
                  <a:extLst>
                    <a:ext uri="{FF2B5EF4-FFF2-40B4-BE49-F238E27FC236}">
                      <a16:creationId xmlns:a16="http://schemas.microsoft.com/office/drawing/2014/main" id="{8E69F53B-2223-A554-E68E-AD7BE3D87FD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09" name="Graphic 471">
                  <a:extLst>
                    <a:ext uri="{FF2B5EF4-FFF2-40B4-BE49-F238E27FC236}">
                      <a16:creationId xmlns:a16="http://schemas.microsoft.com/office/drawing/2014/main" id="{E63EB2BD-2B90-7745-446B-D2D987D9EC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10" name="Graphic 472">
                  <a:extLst>
                    <a:ext uri="{FF2B5EF4-FFF2-40B4-BE49-F238E27FC236}">
                      <a16:creationId xmlns:a16="http://schemas.microsoft.com/office/drawing/2014/main" id="{4767D174-6AAE-EA04-FE91-84178E44073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11" name="Graphic 473">
                  <a:extLst>
                    <a:ext uri="{FF2B5EF4-FFF2-40B4-BE49-F238E27FC236}">
                      <a16:creationId xmlns:a16="http://schemas.microsoft.com/office/drawing/2014/main" id="{166E69C3-A099-377B-F03A-92116278A5B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12" name="Graphic 474">
                  <a:extLst>
                    <a:ext uri="{FF2B5EF4-FFF2-40B4-BE49-F238E27FC236}">
                      <a16:creationId xmlns:a16="http://schemas.microsoft.com/office/drawing/2014/main" id="{5D6452E1-6845-73CE-BD63-1D7D42555E8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413" name="Graphic 475">
                  <a:extLst>
                    <a:ext uri="{FF2B5EF4-FFF2-40B4-BE49-F238E27FC236}">
                      <a16:creationId xmlns:a16="http://schemas.microsoft.com/office/drawing/2014/main" id="{10B8EB2F-94E5-477C-0DCB-D138ECC6B2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396" name="Graphic 458">
                <a:extLst>
                  <a:ext uri="{FF2B5EF4-FFF2-40B4-BE49-F238E27FC236}">
                    <a16:creationId xmlns:a16="http://schemas.microsoft.com/office/drawing/2014/main" id="{1B4E9DF8-9850-53C6-D2B4-4022B21F11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397" name="Graphic 459">
                <a:extLst>
                  <a:ext uri="{FF2B5EF4-FFF2-40B4-BE49-F238E27FC236}">
                    <a16:creationId xmlns:a16="http://schemas.microsoft.com/office/drawing/2014/main" id="{B9F3C49A-69E3-EBBA-D840-453D38A475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398" name="Graphic 460">
                <a:extLst>
                  <a:ext uri="{FF2B5EF4-FFF2-40B4-BE49-F238E27FC236}">
                    <a16:creationId xmlns:a16="http://schemas.microsoft.com/office/drawing/2014/main" id="{2391A57B-4A8E-D317-F542-92CB63CF67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399" name="Graphic 461">
                <a:extLst>
                  <a:ext uri="{FF2B5EF4-FFF2-40B4-BE49-F238E27FC236}">
                    <a16:creationId xmlns:a16="http://schemas.microsoft.com/office/drawing/2014/main" id="{2167A911-8ABF-D6E2-70E2-7662696618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65" name="Group 27">
              <a:extLst>
                <a:ext uri="{FF2B5EF4-FFF2-40B4-BE49-F238E27FC236}">
                  <a16:creationId xmlns:a16="http://schemas.microsoft.com/office/drawing/2014/main" id="{B26F2593-FF14-E181-84ED-113301C243B2}"/>
                </a:ext>
              </a:extLst>
            </p:cNvPr>
            <p:cNvGrpSpPr/>
            <p:nvPr/>
          </p:nvGrpSpPr>
          <p:grpSpPr>
            <a:xfrm>
              <a:off x="668591" y="3476172"/>
              <a:ext cx="128989" cy="127417"/>
              <a:chOff x="5071590" y="2724817"/>
              <a:chExt cx="1901239" cy="1655213"/>
            </a:xfrm>
          </p:grpSpPr>
          <p:grpSp>
            <p:nvGrpSpPr>
              <p:cNvPr id="4353" name="Group 415">
                <a:extLst>
                  <a:ext uri="{FF2B5EF4-FFF2-40B4-BE49-F238E27FC236}">
                    <a16:creationId xmlns:a16="http://schemas.microsoft.com/office/drawing/2014/main" id="{E2CDFF4E-986D-3BC2-B8D6-124AE3886C86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358" name="Group 420">
                  <a:extLst>
                    <a:ext uri="{FF2B5EF4-FFF2-40B4-BE49-F238E27FC236}">
                      <a16:creationId xmlns:a16="http://schemas.microsoft.com/office/drawing/2014/main" id="{DAA03E8B-D785-CB1F-B69A-76FA7268EF12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372" name="Oval 434">
                    <a:extLst>
                      <a:ext uri="{FF2B5EF4-FFF2-40B4-BE49-F238E27FC236}">
                        <a16:creationId xmlns:a16="http://schemas.microsoft.com/office/drawing/2014/main" id="{EDAC8D67-FFA1-B5B4-94C0-AF7179084094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373" name="Group 435">
                    <a:extLst>
                      <a:ext uri="{FF2B5EF4-FFF2-40B4-BE49-F238E27FC236}">
                        <a16:creationId xmlns:a16="http://schemas.microsoft.com/office/drawing/2014/main" id="{E2436967-15C8-C31D-676B-7A2BA5660643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374" name="Graphic 436">
                      <a:extLst>
                        <a:ext uri="{FF2B5EF4-FFF2-40B4-BE49-F238E27FC236}">
                          <a16:creationId xmlns:a16="http://schemas.microsoft.com/office/drawing/2014/main" id="{13AD27C4-E69A-11FA-6B79-41C4277CF26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75" name="Graphic 437">
                      <a:extLst>
                        <a:ext uri="{FF2B5EF4-FFF2-40B4-BE49-F238E27FC236}">
                          <a16:creationId xmlns:a16="http://schemas.microsoft.com/office/drawing/2014/main" id="{D318CE4D-143A-4914-6BF5-53B8DD333A0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76" name="Graphic 438">
                      <a:extLst>
                        <a:ext uri="{FF2B5EF4-FFF2-40B4-BE49-F238E27FC236}">
                          <a16:creationId xmlns:a16="http://schemas.microsoft.com/office/drawing/2014/main" id="{CE709581-BCAB-AF3C-1B29-E124A277146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77" name="Graphic 439">
                      <a:extLst>
                        <a:ext uri="{FF2B5EF4-FFF2-40B4-BE49-F238E27FC236}">
                          <a16:creationId xmlns:a16="http://schemas.microsoft.com/office/drawing/2014/main" id="{46ACB898-A59B-F36F-4B89-82D552FB4B6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78" name="Graphic 440">
                      <a:extLst>
                        <a:ext uri="{FF2B5EF4-FFF2-40B4-BE49-F238E27FC236}">
                          <a16:creationId xmlns:a16="http://schemas.microsoft.com/office/drawing/2014/main" id="{11DDD681-8036-90B7-3417-3579DA44B61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79" name="Graphic 441">
                      <a:extLst>
                        <a:ext uri="{FF2B5EF4-FFF2-40B4-BE49-F238E27FC236}">
                          <a16:creationId xmlns:a16="http://schemas.microsoft.com/office/drawing/2014/main" id="{F7AD5580-EBD8-62CE-FA83-95C81D5239A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80" name="Graphic 442">
                      <a:extLst>
                        <a:ext uri="{FF2B5EF4-FFF2-40B4-BE49-F238E27FC236}">
                          <a16:creationId xmlns:a16="http://schemas.microsoft.com/office/drawing/2014/main" id="{95DC9238-A0CF-24AF-9AC2-E57953007C9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81" name="Graphic 443">
                      <a:extLst>
                        <a:ext uri="{FF2B5EF4-FFF2-40B4-BE49-F238E27FC236}">
                          <a16:creationId xmlns:a16="http://schemas.microsoft.com/office/drawing/2014/main" id="{59B35795-1A10-40E0-65DE-80E9A25B29F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82" name="Graphic 444">
                      <a:extLst>
                        <a:ext uri="{FF2B5EF4-FFF2-40B4-BE49-F238E27FC236}">
                          <a16:creationId xmlns:a16="http://schemas.microsoft.com/office/drawing/2014/main" id="{5CDB9E54-5EF0-0405-B9B1-A2FDE3F7BBE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83" name="Graphic 445">
                      <a:extLst>
                        <a:ext uri="{FF2B5EF4-FFF2-40B4-BE49-F238E27FC236}">
                          <a16:creationId xmlns:a16="http://schemas.microsoft.com/office/drawing/2014/main" id="{4DDB3F5C-DF7A-BD5D-85CF-A04E0AFC3B0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84" name="Graphic 446">
                      <a:extLst>
                        <a:ext uri="{FF2B5EF4-FFF2-40B4-BE49-F238E27FC236}">
                          <a16:creationId xmlns:a16="http://schemas.microsoft.com/office/drawing/2014/main" id="{3090A503-8BA8-7C91-54D3-6FC166B22CE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85" name="Graphic 447">
                      <a:extLst>
                        <a:ext uri="{FF2B5EF4-FFF2-40B4-BE49-F238E27FC236}">
                          <a16:creationId xmlns:a16="http://schemas.microsoft.com/office/drawing/2014/main" id="{F661EE31-A976-041C-064A-557B5247B09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86" name="Graphic 448">
                      <a:extLst>
                        <a:ext uri="{FF2B5EF4-FFF2-40B4-BE49-F238E27FC236}">
                          <a16:creationId xmlns:a16="http://schemas.microsoft.com/office/drawing/2014/main" id="{F91DFE19-66D0-3696-1D34-D485968B703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87" name="Graphic 449">
                      <a:extLst>
                        <a:ext uri="{FF2B5EF4-FFF2-40B4-BE49-F238E27FC236}">
                          <a16:creationId xmlns:a16="http://schemas.microsoft.com/office/drawing/2014/main" id="{CC2DAE98-5041-956C-8B25-9075F70C0B4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88" name="Graphic 450">
                      <a:extLst>
                        <a:ext uri="{FF2B5EF4-FFF2-40B4-BE49-F238E27FC236}">
                          <a16:creationId xmlns:a16="http://schemas.microsoft.com/office/drawing/2014/main" id="{78CBAECF-35F3-AC97-96EA-3292C8BEC7B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89" name="Graphic 451">
                      <a:extLst>
                        <a:ext uri="{FF2B5EF4-FFF2-40B4-BE49-F238E27FC236}">
                          <a16:creationId xmlns:a16="http://schemas.microsoft.com/office/drawing/2014/main" id="{BF5562F4-5B46-969E-FD38-4BD68B91ADE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90" name="Graphic 452">
                      <a:extLst>
                        <a:ext uri="{FF2B5EF4-FFF2-40B4-BE49-F238E27FC236}">
                          <a16:creationId xmlns:a16="http://schemas.microsoft.com/office/drawing/2014/main" id="{5BB086B8-6139-1773-E28E-0BF56391284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91" name="Graphic 453">
                      <a:extLst>
                        <a:ext uri="{FF2B5EF4-FFF2-40B4-BE49-F238E27FC236}">
                          <a16:creationId xmlns:a16="http://schemas.microsoft.com/office/drawing/2014/main" id="{E72C0123-2247-52C9-9C2A-7F88ADD8E5B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92" name="Graphic 454">
                      <a:extLst>
                        <a:ext uri="{FF2B5EF4-FFF2-40B4-BE49-F238E27FC236}">
                          <a16:creationId xmlns:a16="http://schemas.microsoft.com/office/drawing/2014/main" id="{6D529E05-D02C-B127-8B59-3569FEFE868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93" name="Graphic 455">
                      <a:extLst>
                        <a:ext uri="{FF2B5EF4-FFF2-40B4-BE49-F238E27FC236}">
                          <a16:creationId xmlns:a16="http://schemas.microsoft.com/office/drawing/2014/main" id="{7621FC58-C2C6-764A-AD02-1CC90515FEA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94" name="Graphic 456">
                      <a:extLst>
                        <a:ext uri="{FF2B5EF4-FFF2-40B4-BE49-F238E27FC236}">
                          <a16:creationId xmlns:a16="http://schemas.microsoft.com/office/drawing/2014/main" id="{82D895D4-54E2-C569-7D1E-97EA8C1737C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359" name="Graphic 421">
                  <a:extLst>
                    <a:ext uri="{FF2B5EF4-FFF2-40B4-BE49-F238E27FC236}">
                      <a16:creationId xmlns:a16="http://schemas.microsoft.com/office/drawing/2014/main" id="{84B72154-FD81-FA3F-DF63-03D0E5EC7B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60" name="Graphic 422">
                  <a:extLst>
                    <a:ext uri="{FF2B5EF4-FFF2-40B4-BE49-F238E27FC236}">
                      <a16:creationId xmlns:a16="http://schemas.microsoft.com/office/drawing/2014/main" id="{D5EDD3D7-3311-31D0-FD2A-7DBDF466E4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61" name="Graphic 423">
                  <a:extLst>
                    <a:ext uri="{FF2B5EF4-FFF2-40B4-BE49-F238E27FC236}">
                      <a16:creationId xmlns:a16="http://schemas.microsoft.com/office/drawing/2014/main" id="{61ADFE09-99AF-D38A-75B1-85648AC7460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62" name="Graphic 424">
                  <a:extLst>
                    <a:ext uri="{FF2B5EF4-FFF2-40B4-BE49-F238E27FC236}">
                      <a16:creationId xmlns:a16="http://schemas.microsoft.com/office/drawing/2014/main" id="{E6E953FC-0570-1132-DBE1-C97908D4142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363" name="Graphic 425">
                  <a:extLst>
                    <a:ext uri="{FF2B5EF4-FFF2-40B4-BE49-F238E27FC236}">
                      <a16:creationId xmlns:a16="http://schemas.microsoft.com/office/drawing/2014/main" id="{8184A824-1ECA-5EE1-81BB-19F94C57E8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64" name="Graphic 426">
                  <a:extLst>
                    <a:ext uri="{FF2B5EF4-FFF2-40B4-BE49-F238E27FC236}">
                      <a16:creationId xmlns:a16="http://schemas.microsoft.com/office/drawing/2014/main" id="{17C9265B-F3C5-0A37-961E-CE8DD47A86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365" name="Graphic 427">
                  <a:extLst>
                    <a:ext uri="{FF2B5EF4-FFF2-40B4-BE49-F238E27FC236}">
                      <a16:creationId xmlns:a16="http://schemas.microsoft.com/office/drawing/2014/main" id="{48673CDE-022A-718D-86E4-BC8B9517F92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66" name="Graphic 428">
                  <a:extLst>
                    <a:ext uri="{FF2B5EF4-FFF2-40B4-BE49-F238E27FC236}">
                      <a16:creationId xmlns:a16="http://schemas.microsoft.com/office/drawing/2014/main" id="{49557B62-B68E-4536-4089-BFF468A3B0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67" name="Graphic 429">
                  <a:extLst>
                    <a:ext uri="{FF2B5EF4-FFF2-40B4-BE49-F238E27FC236}">
                      <a16:creationId xmlns:a16="http://schemas.microsoft.com/office/drawing/2014/main" id="{7BF9492F-C24F-BA32-61C3-C055A48202F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68" name="Graphic 430">
                  <a:extLst>
                    <a:ext uri="{FF2B5EF4-FFF2-40B4-BE49-F238E27FC236}">
                      <a16:creationId xmlns:a16="http://schemas.microsoft.com/office/drawing/2014/main" id="{2D1DC2EB-DB71-A3EE-B6BA-77DA35C136B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69" name="Graphic 431">
                  <a:extLst>
                    <a:ext uri="{FF2B5EF4-FFF2-40B4-BE49-F238E27FC236}">
                      <a16:creationId xmlns:a16="http://schemas.microsoft.com/office/drawing/2014/main" id="{5FA75057-9F47-A158-431E-3EA2A32BD4C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70" name="Graphic 432">
                  <a:extLst>
                    <a:ext uri="{FF2B5EF4-FFF2-40B4-BE49-F238E27FC236}">
                      <a16:creationId xmlns:a16="http://schemas.microsoft.com/office/drawing/2014/main" id="{5AC4E800-8558-7B1A-4A6D-70436D5785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71" name="Graphic 433">
                  <a:extLst>
                    <a:ext uri="{FF2B5EF4-FFF2-40B4-BE49-F238E27FC236}">
                      <a16:creationId xmlns:a16="http://schemas.microsoft.com/office/drawing/2014/main" id="{9C5DF8EA-D573-FF9A-D368-6E0FFFD336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354" name="Graphic 416">
                <a:extLst>
                  <a:ext uri="{FF2B5EF4-FFF2-40B4-BE49-F238E27FC236}">
                    <a16:creationId xmlns:a16="http://schemas.microsoft.com/office/drawing/2014/main" id="{09E4D4FD-1A1C-4CB2-077B-E4BB90822C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355" name="Graphic 417">
                <a:extLst>
                  <a:ext uri="{FF2B5EF4-FFF2-40B4-BE49-F238E27FC236}">
                    <a16:creationId xmlns:a16="http://schemas.microsoft.com/office/drawing/2014/main" id="{F99DABE2-32C4-76BC-4A98-6FC482A39B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356" name="Graphic 418">
                <a:extLst>
                  <a:ext uri="{FF2B5EF4-FFF2-40B4-BE49-F238E27FC236}">
                    <a16:creationId xmlns:a16="http://schemas.microsoft.com/office/drawing/2014/main" id="{B09978DF-B489-5879-F75C-7455CE4B52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357" name="Graphic 419">
                <a:extLst>
                  <a:ext uri="{FF2B5EF4-FFF2-40B4-BE49-F238E27FC236}">
                    <a16:creationId xmlns:a16="http://schemas.microsoft.com/office/drawing/2014/main" id="{4EF74C9C-5DE5-37DC-A680-DF7A5665CC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66" name="Group 28">
              <a:extLst>
                <a:ext uri="{FF2B5EF4-FFF2-40B4-BE49-F238E27FC236}">
                  <a16:creationId xmlns:a16="http://schemas.microsoft.com/office/drawing/2014/main" id="{48FE6FC7-528F-656B-AC90-286F06301017}"/>
                </a:ext>
              </a:extLst>
            </p:cNvPr>
            <p:cNvGrpSpPr/>
            <p:nvPr/>
          </p:nvGrpSpPr>
          <p:grpSpPr>
            <a:xfrm>
              <a:off x="416909" y="3491573"/>
              <a:ext cx="82797" cy="81788"/>
              <a:chOff x="5071590" y="2724817"/>
              <a:chExt cx="1901239" cy="1655213"/>
            </a:xfrm>
          </p:grpSpPr>
          <p:grpSp>
            <p:nvGrpSpPr>
              <p:cNvPr id="4311" name="Group 373">
                <a:extLst>
                  <a:ext uri="{FF2B5EF4-FFF2-40B4-BE49-F238E27FC236}">
                    <a16:creationId xmlns:a16="http://schemas.microsoft.com/office/drawing/2014/main" id="{25923B9F-352C-86AE-ED0D-5FC6B605FA7B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316" name="Group 378">
                  <a:extLst>
                    <a:ext uri="{FF2B5EF4-FFF2-40B4-BE49-F238E27FC236}">
                      <a16:creationId xmlns:a16="http://schemas.microsoft.com/office/drawing/2014/main" id="{F83A4C7E-ECD2-BECB-2F66-E43915E8E1BD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330" name="Oval 392">
                    <a:extLst>
                      <a:ext uri="{FF2B5EF4-FFF2-40B4-BE49-F238E27FC236}">
                        <a16:creationId xmlns:a16="http://schemas.microsoft.com/office/drawing/2014/main" id="{F8ACD604-8DA7-F831-C051-8239681FD1D2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331" name="Group 393">
                    <a:extLst>
                      <a:ext uri="{FF2B5EF4-FFF2-40B4-BE49-F238E27FC236}">
                        <a16:creationId xmlns:a16="http://schemas.microsoft.com/office/drawing/2014/main" id="{15EC2353-A942-74ED-075C-5021C632AA8D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332" name="Graphic 394">
                      <a:extLst>
                        <a:ext uri="{FF2B5EF4-FFF2-40B4-BE49-F238E27FC236}">
                          <a16:creationId xmlns:a16="http://schemas.microsoft.com/office/drawing/2014/main" id="{71CD9568-DA91-363C-885E-7C8F2D4EB13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33" name="Graphic 395">
                      <a:extLst>
                        <a:ext uri="{FF2B5EF4-FFF2-40B4-BE49-F238E27FC236}">
                          <a16:creationId xmlns:a16="http://schemas.microsoft.com/office/drawing/2014/main" id="{18DD9FD4-A508-4FCD-CC22-B55E26BE338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34" name="Graphic 396">
                      <a:extLst>
                        <a:ext uri="{FF2B5EF4-FFF2-40B4-BE49-F238E27FC236}">
                          <a16:creationId xmlns:a16="http://schemas.microsoft.com/office/drawing/2014/main" id="{AE4F845C-F96F-9F61-1318-81F464B65FE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35" name="Graphic 397">
                      <a:extLst>
                        <a:ext uri="{FF2B5EF4-FFF2-40B4-BE49-F238E27FC236}">
                          <a16:creationId xmlns:a16="http://schemas.microsoft.com/office/drawing/2014/main" id="{8B8CFD5F-FFF8-7D85-EF8E-DB2529786E4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36" name="Graphic 398">
                      <a:extLst>
                        <a:ext uri="{FF2B5EF4-FFF2-40B4-BE49-F238E27FC236}">
                          <a16:creationId xmlns:a16="http://schemas.microsoft.com/office/drawing/2014/main" id="{3CEF2DC2-368F-ABC0-2882-E5CEF6EC24B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37" name="Graphic 399">
                      <a:extLst>
                        <a:ext uri="{FF2B5EF4-FFF2-40B4-BE49-F238E27FC236}">
                          <a16:creationId xmlns:a16="http://schemas.microsoft.com/office/drawing/2014/main" id="{7235D7B6-CBC4-4CD2-A8D8-94925B288B1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38" name="Graphic 400">
                      <a:extLst>
                        <a:ext uri="{FF2B5EF4-FFF2-40B4-BE49-F238E27FC236}">
                          <a16:creationId xmlns:a16="http://schemas.microsoft.com/office/drawing/2014/main" id="{C51DF3D8-2AD8-7065-189A-ECF247B5D8E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39" name="Graphic 401">
                      <a:extLst>
                        <a:ext uri="{FF2B5EF4-FFF2-40B4-BE49-F238E27FC236}">
                          <a16:creationId xmlns:a16="http://schemas.microsoft.com/office/drawing/2014/main" id="{45804BF0-BF0B-AE03-2D46-755C3B7D0D4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40" name="Graphic 402">
                      <a:extLst>
                        <a:ext uri="{FF2B5EF4-FFF2-40B4-BE49-F238E27FC236}">
                          <a16:creationId xmlns:a16="http://schemas.microsoft.com/office/drawing/2014/main" id="{33B8468B-0EC4-C2BD-3392-BF125FBB021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41" name="Graphic 403">
                      <a:extLst>
                        <a:ext uri="{FF2B5EF4-FFF2-40B4-BE49-F238E27FC236}">
                          <a16:creationId xmlns:a16="http://schemas.microsoft.com/office/drawing/2014/main" id="{C9A05A9C-46C9-2FF3-E8F1-E94EC3C6B3B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42" name="Graphic 404">
                      <a:extLst>
                        <a:ext uri="{FF2B5EF4-FFF2-40B4-BE49-F238E27FC236}">
                          <a16:creationId xmlns:a16="http://schemas.microsoft.com/office/drawing/2014/main" id="{AF769173-9C77-E37A-C867-57B0A536BDD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43" name="Graphic 405">
                      <a:extLst>
                        <a:ext uri="{FF2B5EF4-FFF2-40B4-BE49-F238E27FC236}">
                          <a16:creationId xmlns:a16="http://schemas.microsoft.com/office/drawing/2014/main" id="{ED60A7B4-9B2D-48D9-C806-435E3BC5617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44" name="Graphic 406">
                      <a:extLst>
                        <a:ext uri="{FF2B5EF4-FFF2-40B4-BE49-F238E27FC236}">
                          <a16:creationId xmlns:a16="http://schemas.microsoft.com/office/drawing/2014/main" id="{156A7963-7F64-2D8B-0529-C3C8736072B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45" name="Graphic 407">
                      <a:extLst>
                        <a:ext uri="{FF2B5EF4-FFF2-40B4-BE49-F238E27FC236}">
                          <a16:creationId xmlns:a16="http://schemas.microsoft.com/office/drawing/2014/main" id="{5EA32C88-9E0E-D17F-B2F5-DAA1647406A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46" name="Graphic 408">
                      <a:extLst>
                        <a:ext uri="{FF2B5EF4-FFF2-40B4-BE49-F238E27FC236}">
                          <a16:creationId xmlns:a16="http://schemas.microsoft.com/office/drawing/2014/main" id="{C2591D3F-C2E4-9557-C1AE-4F8BD70999B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47" name="Graphic 409">
                      <a:extLst>
                        <a:ext uri="{FF2B5EF4-FFF2-40B4-BE49-F238E27FC236}">
                          <a16:creationId xmlns:a16="http://schemas.microsoft.com/office/drawing/2014/main" id="{5F9882A2-9AAA-5A26-B8EA-33F3B9F8EEB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48" name="Graphic 410">
                      <a:extLst>
                        <a:ext uri="{FF2B5EF4-FFF2-40B4-BE49-F238E27FC236}">
                          <a16:creationId xmlns:a16="http://schemas.microsoft.com/office/drawing/2014/main" id="{64D8E333-D111-3F14-33E4-A866F4F94B8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49" name="Graphic 411">
                      <a:extLst>
                        <a:ext uri="{FF2B5EF4-FFF2-40B4-BE49-F238E27FC236}">
                          <a16:creationId xmlns:a16="http://schemas.microsoft.com/office/drawing/2014/main" id="{401FC808-F562-1C5F-5DDE-BEE9935186B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50" name="Graphic 412">
                      <a:extLst>
                        <a:ext uri="{FF2B5EF4-FFF2-40B4-BE49-F238E27FC236}">
                          <a16:creationId xmlns:a16="http://schemas.microsoft.com/office/drawing/2014/main" id="{35EB54D1-937E-1DD1-5D08-F00279261BB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51" name="Graphic 413">
                      <a:extLst>
                        <a:ext uri="{FF2B5EF4-FFF2-40B4-BE49-F238E27FC236}">
                          <a16:creationId xmlns:a16="http://schemas.microsoft.com/office/drawing/2014/main" id="{E4320B07-4DF9-AD3C-7E41-527DD95171A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52" name="Graphic 414">
                      <a:extLst>
                        <a:ext uri="{FF2B5EF4-FFF2-40B4-BE49-F238E27FC236}">
                          <a16:creationId xmlns:a16="http://schemas.microsoft.com/office/drawing/2014/main" id="{A98BBD0B-A872-C036-7E39-F210E8B163D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317" name="Graphic 379">
                  <a:extLst>
                    <a:ext uri="{FF2B5EF4-FFF2-40B4-BE49-F238E27FC236}">
                      <a16:creationId xmlns:a16="http://schemas.microsoft.com/office/drawing/2014/main" id="{D628072C-2D16-C032-E561-9FBD6593F3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18" name="Graphic 380">
                  <a:extLst>
                    <a:ext uri="{FF2B5EF4-FFF2-40B4-BE49-F238E27FC236}">
                      <a16:creationId xmlns:a16="http://schemas.microsoft.com/office/drawing/2014/main" id="{67D87B09-2B4B-D4D1-7C89-6346CE6B53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19" name="Graphic 381">
                  <a:extLst>
                    <a:ext uri="{FF2B5EF4-FFF2-40B4-BE49-F238E27FC236}">
                      <a16:creationId xmlns:a16="http://schemas.microsoft.com/office/drawing/2014/main" id="{ABB8D7EB-A32C-5A89-BD35-90B5073D85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20" name="Graphic 382">
                  <a:extLst>
                    <a:ext uri="{FF2B5EF4-FFF2-40B4-BE49-F238E27FC236}">
                      <a16:creationId xmlns:a16="http://schemas.microsoft.com/office/drawing/2014/main" id="{B3A6EE1E-070B-68EC-FBB3-1FB5C18C2B9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321" name="Graphic 383">
                  <a:extLst>
                    <a:ext uri="{FF2B5EF4-FFF2-40B4-BE49-F238E27FC236}">
                      <a16:creationId xmlns:a16="http://schemas.microsoft.com/office/drawing/2014/main" id="{9B969DEC-16C1-DEB3-95D9-7269375E894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22" name="Graphic 384">
                  <a:extLst>
                    <a:ext uri="{FF2B5EF4-FFF2-40B4-BE49-F238E27FC236}">
                      <a16:creationId xmlns:a16="http://schemas.microsoft.com/office/drawing/2014/main" id="{E8A1D510-27FF-C6BD-9DB7-797CBFC61F5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323" name="Graphic 385">
                  <a:extLst>
                    <a:ext uri="{FF2B5EF4-FFF2-40B4-BE49-F238E27FC236}">
                      <a16:creationId xmlns:a16="http://schemas.microsoft.com/office/drawing/2014/main" id="{1507699C-8C9E-32CE-0177-C8F98C9FC72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24" name="Graphic 386">
                  <a:extLst>
                    <a:ext uri="{FF2B5EF4-FFF2-40B4-BE49-F238E27FC236}">
                      <a16:creationId xmlns:a16="http://schemas.microsoft.com/office/drawing/2014/main" id="{9F2DC686-7731-2334-ED7A-45074142D0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25" name="Graphic 387">
                  <a:extLst>
                    <a:ext uri="{FF2B5EF4-FFF2-40B4-BE49-F238E27FC236}">
                      <a16:creationId xmlns:a16="http://schemas.microsoft.com/office/drawing/2014/main" id="{EE36925E-A1C5-3662-95EA-F5C8FCA046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26" name="Graphic 388">
                  <a:extLst>
                    <a:ext uri="{FF2B5EF4-FFF2-40B4-BE49-F238E27FC236}">
                      <a16:creationId xmlns:a16="http://schemas.microsoft.com/office/drawing/2014/main" id="{E04C4856-ECE0-DEC7-0CD2-1E4DDEEA2E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27" name="Graphic 389">
                  <a:extLst>
                    <a:ext uri="{FF2B5EF4-FFF2-40B4-BE49-F238E27FC236}">
                      <a16:creationId xmlns:a16="http://schemas.microsoft.com/office/drawing/2014/main" id="{FE0636E7-5677-0860-FBC6-0887CA052A6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28" name="Graphic 390">
                  <a:extLst>
                    <a:ext uri="{FF2B5EF4-FFF2-40B4-BE49-F238E27FC236}">
                      <a16:creationId xmlns:a16="http://schemas.microsoft.com/office/drawing/2014/main" id="{3E37BCC4-8B1C-5CFF-C688-2DF3B57653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329" name="Graphic 391">
                  <a:extLst>
                    <a:ext uri="{FF2B5EF4-FFF2-40B4-BE49-F238E27FC236}">
                      <a16:creationId xmlns:a16="http://schemas.microsoft.com/office/drawing/2014/main" id="{046B211D-C00F-8856-5A0D-B46DC273B6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312" name="Graphic 374">
                <a:extLst>
                  <a:ext uri="{FF2B5EF4-FFF2-40B4-BE49-F238E27FC236}">
                    <a16:creationId xmlns:a16="http://schemas.microsoft.com/office/drawing/2014/main" id="{0ADC9D81-EDF5-964C-DC7F-81409EA83E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313" name="Graphic 375">
                <a:extLst>
                  <a:ext uri="{FF2B5EF4-FFF2-40B4-BE49-F238E27FC236}">
                    <a16:creationId xmlns:a16="http://schemas.microsoft.com/office/drawing/2014/main" id="{4C4284FA-4AEB-BC52-2B52-9B11170C3E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314" name="Graphic 376">
                <a:extLst>
                  <a:ext uri="{FF2B5EF4-FFF2-40B4-BE49-F238E27FC236}">
                    <a16:creationId xmlns:a16="http://schemas.microsoft.com/office/drawing/2014/main" id="{50A9DDE7-4E67-3AB8-D372-ED2914716C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315" name="Graphic 377">
                <a:extLst>
                  <a:ext uri="{FF2B5EF4-FFF2-40B4-BE49-F238E27FC236}">
                    <a16:creationId xmlns:a16="http://schemas.microsoft.com/office/drawing/2014/main" id="{9156D803-81A8-8940-6A48-7849757B68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67" name="Group 29">
              <a:extLst>
                <a:ext uri="{FF2B5EF4-FFF2-40B4-BE49-F238E27FC236}">
                  <a16:creationId xmlns:a16="http://schemas.microsoft.com/office/drawing/2014/main" id="{032D00E7-F25F-0322-3C3C-C9BA0D11748D}"/>
                </a:ext>
              </a:extLst>
            </p:cNvPr>
            <p:cNvGrpSpPr/>
            <p:nvPr/>
          </p:nvGrpSpPr>
          <p:grpSpPr>
            <a:xfrm>
              <a:off x="360275" y="3613433"/>
              <a:ext cx="116581" cy="115160"/>
              <a:chOff x="5071590" y="2724817"/>
              <a:chExt cx="1901239" cy="1655213"/>
            </a:xfrm>
          </p:grpSpPr>
          <p:grpSp>
            <p:nvGrpSpPr>
              <p:cNvPr id="4269" name="Group 331">
                <a:extLst>
                  <a:ext uri="{FF2B5EF4-FFF2-40B4-BE49-F238E27FC236}">
                    <a16:creationId xmlns:a16="http://schemas.microsoft.com/office/drawing/2014/main" id="{7CDBF1D7-B0F6-DEC9-6B81-2ACCBBEC7EE5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274" name="Group 336">
                  <a:extLst>
                    <a:ext uri="{FF2B5EF4-FFF2-40B4-BE49-F238E27FC236}">
                      <a16:creationId xmlns:a16="http://schemas.microsoft.com/office/drawing/2014/main" id="{61F9F57E-2BEF-FEF5-4428-499663B6A574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288" name="Oval 350">
                    <a:extLst>
                      <a:ext uri="{FF2B5EF4-FFF2-40B4-BE49-F238E27FC236}">
                        <a16:creationId xmlns:a16="http://schemas.microsoft.com/office/drawing/2014/main" id="{96EF9BAB-4F54-2FFA-02CE-E2161A69B7C6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289" name="Group 351">
                    <a:extLst>
                      <a:ext uri="{FF2B5EF4-FFF2-40B4-BE49-F238E27FC236}">
                        <a16:creationId xmlns:a16="http://schemas.microsoft.com/office/drawing/2014/main" id="{2B957AA8-B8DE-ADC3-141A-0089325AD764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290" name="Graphic 352">
                      <a:extLst>
                        <a:ext uri="{FF2B5EF4-FFF2-40B4-BE49-F238E27FC236}">
                          <a16:creationId xmlns:a16="http://schemas.microsoft.com/office/drawing/2014/main" id="{1BF6761C-1417-837C-40AE-D6A7F95C833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91" name="Graphic 353">
                      <a:extLst>
                        <a:ext uri="{FF2B5EF4-FFF2-40B4-BE49-F238E27FC236}">
                          <a16:creationId xmlns:a16="http://schemas.microsoft.com/office/drawing/2014/main" id="{3B402407-719E-5D15-8D54-9A2F7A62110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92" name="Graphic 354">
                      <a:extLst>
                        <a:ext uri="{FF2B5EF4-FFF2-40B4-BE49-F238E27FC236}">
                          <a16:creationId xmlns:a16="http://schemas.microsoft.com/office/drawing/2014/main" id="{2D418655-1E73-3642-FFC4-25D447C4BF2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93" name="Graphic 355">
                      <a:extLst>
                        <a:ext uri="{FF2B5EF4-FFF2-40B4-BE49-F238E27FC236}">
                          <a16:creationId xmlns:a16="http://schemas.microsoft.com/office/drawing/2014/main" id="{F037EE95-1B3C-1FAC-B6F1-0ACC2BE603C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94" name="Graphic 356">
                      <a:extLst>
                        <a:ext uri="{FF2B5EF4-FFF2-40B4-BE49-F238E27FC236}">
                          <a16:creationId xmlns:a16="http://schemas.microsoft.com/office/drawing/2014/main" id="{FC21C1FC-646B-4619-3B3D-5AE38949364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95" name="Graphic 357">
                      <a:extLst>
                        <a:ext uri="{FF2B5EF4-FFF2-40B4-BE49-F238E27FC236}">
                          <a16:creationId xmlns:a16="http://schemas.microsoft.com/office/drawing/2014/main" id="{F0B32073-877E-631B-B046-AC49E8150CA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96" name="Graphic 358">
                      <a:extLst>
                        <a:ext uri="{FF2B5EF4-FFF2-40B4-BE49-F238E27FC236}">
                          <a16:creationId xmlns:a16="http://schemas.microsoft.com/office/drawing/2014/main" id="{78C13D9B-34A6-BDB6-A47C-69D2204E166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97" name="Graphic 359">
                      <a:extLst>
                        <a:ext uri="{FF2B5EF4-FFF2-40B4-BE49-F238E27FC236}">
                          <a16:creationId xmlns:a16="http://schemas.microsoft.com/office/drawing/2014/main" id="{E72ECCB8-FBF9-BBA8-96BE-35299E7147A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98" name="Graphic 360">
                      <a:extLst>
                        <a:ext uri="{FF2B5EF4-FFF2-40B4-BE49-F238E27FC236}">
                          <a16:creationId xmlns:a16="http://schemas.microsoft.com/office/drawing/2014/main" id="{911C9219-7907-E45E-7B4A-4BC0E84753E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99" name="Graphic 361">
                      <a:extLst>
                        <a:ext uri="{FF2B5EF4-FFF2-40B4-BE49-F238E27FC236}">
                          <a16:creationId xmlns:a16="http://schemas.microsoft.com/office/drawing/2014/main" id="{C7DEE690-C5D1-08C4-352E-FE365585587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00" name="Graphic 362">
                      <a:extLst>
                        <a:ext uri="{FF2B5EF4-FFF2-40B4-BE49-F238E27FC236}">
                          <a16:creationId xmlns:a16="http://schemas.microsoft.com/office/drawing/2014/main" id="{70215D79-FA83-0989-0D8A-487CCA7792E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01" name="Graphic 363">
                      <a:extLst>
                        <a:ext uri="{FF2B5EF4-FFF2-40B4-BE49-F238E27FC236}">
                          <a16:creationId xmlns:a16="http://schemas.microsoft.com/office/drawing/2014/main" id="{F326BBC2-518E-3C50-E95D-FEEF244BD90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02" name="Graphic 364">
                      <a:extLst>
                        <a:ext uri="{FF2B5EF4-FFF2-40B4-BE49-F238E27FC236}">
                          <a16:creationId xmlns:a16="http://schemas.microsoft.com/office/drawing/2014/main" id="{EE1B57A3-BE14-EB3F-87A5-73382AEFE0D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03" name="Graphic 365">
                      <a:extLst>
                        <a:ext uri="{FF2B5EF4-FFF2-40B4-BE49-F238E27FC236}">
                          <a16:creationId xmlns:a16="http://schemas.microsoft.com/office/drawing/2014/main" id="{8A9483C3-B4EE-5AAF-0F87-3204C2D9407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04" name="Graphic 366">
                      <a:extLst>
                        <a:ext uri="{FF2B5EF4-FFF2-40B4-BE49-F238E27FC236}">
                          <a16:creationId xmlns:a16="http://schemas.microsoft.com/office/drawing/2014/main" id="{B1524F1D-5071-B0B0-EDED-1849A21362B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05" name="Graphic 367">
                      <a:extLst>
                        <a:ext uri="{FF2B5EF4-FFF2-40B4-BE49-F238E27FC236}">
                          <a16:creationId xmlns:a16="http://schemas.microsoft.com/office/drawing/2014/main" id="{141EAC71-BE78-9669-9D0F-3BB967FE56E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06" name="Graphic 368">
                      <a:extLst>
                        <a:ext uri="{FF2B5EF4-FFF2-40B4-BE49-F238E27FC236}">
                          <a16:creationId xmlns:a16="http://schemas.microsoft.com/office/drawing/2014/main" id="{BE020639-8CA2-0C24-FA5C-DBFC85586AB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07" name="Graphic 369">
                      <a:extLst>
                        <a:ext uri="{FF2B5EF4-FFF2-40B4-BE49-F238E27FC236}">
                          <a16:creationId xmlns:a16="http://schemas.microsoft.com/office/drawing/2014/main" id="{9AEBC40F-5AF6-4443-B537-6CC40D1EC1E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08" name="Graphic 370">
                      <a:extLst>
                        <a:ext uri="{FF2B5EF4-FFF2-40B4-BE49-F238E27FC236}">
                          <a16:creationId xmlns:a16="http://schemas.microsoft.com/office/drawing/2014/main" id="{75D3B4FA-D849-52E8-391C-1766B6AD3FE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09" name="Graphic 371">
                      <a:extLst>
                        <a:ext uri="{FF2B5EF4-FFF2-40B4-BE49-F238E27FC236}">
                          <a16:creationId xmlns:a16="http://schemas.microsoft.com/office/drawing/2014/main" id="{49F49DA5-2CAD-AE7F-4AF7-0EE3F6789A9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10" name="Graphic 372">
                      <a:extLst>
                        <a:ext uri="{FF2B5EF4-FFF2-40B4-BE49-F238E27FC236}">
                          <a16:creationId xmlns:a16="http://schemas.microsoft.com/office/drawing/2014/main" id="{15B8ACFB-3916-ACE3-F653-FB701D48CFD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275" name="Graphic 337">
                  <a:extLst>
                    <a:ext uri="{FF2B5EF4-FFF2-40B4-BE49-F238E27FC236}">
                      <a16:creationId xmlns:a16="http://schemas.microsoft.com/office/drawing/2014/main" id="{35C02A97-7138-BA0D-AF58-02CE8A4DFFF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76" name="Graphic 338">
                  <a:extLst>
                    <a:ext uri="{FF2B5EF4-FFF2-40B4-BE49-F238E27FC236}">
                      <a16:creationId xmlns:a16="http://schemas.microsoft.com/office/drawing/2014/main" id="{E0D12064-C20E-BE2A-B38C-20AB740FD15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77" name="Graphic 339">
                  <a:extLst>
                    <a:ext uri="{FF2B5EF4-FFF2-40B4-BE49-F238E27FC236}">
                      <a16:creationId xmlns:a16="http://schemas.microsoft.com/office/drawing/2014/main" id="{BE574150-084B-F481-06EA-BD67ADC4BD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78" name="Graphic 340">
                  <a:extLst>
                    <a:ext uri="{FF2B5EF4-FFF2-40B4-BE49-F238E27FC236}">
                      <a16:creationId xmlns:a16="http://schemas.microsoft.com/office/drawing/2014/main" id="{9CC545BB-6427-88FC-B72B-8327763E05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279" name="Graphic 341">
                  <a:extLst>
                    <a:ext uri="{FF2B5EF4-FFF2-40B4-BE49-F238E27FC236}">
                      <a16:creationId xmlns:a16="http://schemas.microsoft.com/office/drawing/2014/main" id="{0CE26EC0-C644-1AA1-E140-59013FA07D7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80" name="Graphic 342">
                  <a:extLst>
                    <a:ext uri="{FF2B5EF4-FFF2-40B4-BE49-F238E27FC236}">
                      <a16:creationId xmlns:a16="http://schemas.microsoft.com/office/drawing/2014/main" id="{827E9A32-FDB7-660F-2046-BE574225E0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281" name="Graphic 343">
                  <a:extLst>
                    <a:ext uri="{FF2B5EF4-FFF2-40B4-BE49-F238E27FC236}">
                      <a16:creationId xmlns:a16="http://schemas.microsoft.com/office/drawing/2014/main" id="{0C3D9B73-41CD-54C0-87AC-BE18EADB6CA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82" name="Graphic 344">
                  <a:extLst>
                    <a:ext uri="{FF2B5EF4-FFF2-40B4-BE49-F238E27FC236}">
                      <a16:creationId xmlns:a16="http://schemas.microsoft.com/office/drawing/2014/main" id="{311433FC-A890-5630-0038-28FE128AC19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83" name="Graphic 345">
                  <a:extLst>
                    <a:ext uri="{FF2B5EF4-FFF2-40B4-BE49-F238E27FC236}">
                      <a16:creationId xmlns:a16="http://schemas.microsoft.com/office/drawing/2014/main" id="{0EBF58BD-C547-0BAB-E9B7-EFCACF14D9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84" name="Graphic 346">
                  <a:extLst>
                    <a:ext uri="{FF2B5EF4-FFF2-40B4-BE49-F238E27FC236}">
                      <a16:creationId xmlns:a16="http://schemas.microsoft.com/office/drawing/2014/main" id="{8D87B667-3C70-3C11-AF3A-0786E15CB7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85" name="Graphic 347">
                  <a:extLst>
                    <a:ext uri="{FF2B5EF4-FFF2-40B4-BE49-F238E27FC236}">
                      <a16:creationId xmlns:a16="http://schemas.microsoft.com/office/drawing/2014/main" id="{91472E73-5800-DF96-7784-90ACDEBBEDE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86" name="Graphic 348">
                  <a:extLst>
                    <a:ext uri="{FF2B5EF4-FFF2-40B4-BE49-F238E27FC236}">
                      <a16:creationId xmlns:a16="http://schemas.microsoft.com/office/drawing/2014/main" id="{F7612A1C-3109-8CF2-404C-C3E8CB47E61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87" name="Graphic 349">
                  <a:extLst>
                    <a:ext uri="{FF2B5EF4-FFF2-40B4-BE49-F238E27FC236}">
                      <a16:creationId xmlns:a16="http://schemas.microsoft.com/office/drawing/2014/main" id="{86F50D6C-5E86-8D6A-3728-9D93286898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270" name="Graphic 332">
                <a:extLst>
                  <a:ext uri="{FF2B5EF4-FFF2-40B4-BE49-F238E27FC236}">
                    <a16:creationId xmlns:a16="http://schemas.microsoft.com/office/drawing/2014/main" id="{712EAC00-B934-61F6-55C3-86E6E361CD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271" name="Graphic 333">
                <a:extLst>
                  <a:ext uri="{FF2B5EF4-FFF2-40B4-BE49-F238E27FC236}">
                    <a16:creationId xmlns:a16="http://schemas.microsoft.com/office/drawing/2014/main" id="{2E72315E-64E6-CD33-DDE0-1983622622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272" name="Graphic 334">
                <a:extLst>
                  <a:ext uri="{FF2B5EF4-FFF2-40B4-BE49-F238E27FC236}">
                    <a16:creationId xmlns:a16="http://schemas.microsoft.com/office/drawing/2014/main" id="{0D325C5C-0E0E-59D7-7D7D-995F631BA3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273" name="Graphic 335">
                <a:extLst>
                  <a:ext uri="{FF2B5EF4-FFF2-40B4-BE49-F238E27FC236}">
                    <a16:creationId xmlns:a16="http://schemas.microsoft.com/office/drawing/2014/main" id="{1291E497-FA59-CCEA-6E7A-1CAE2DF739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68" name="Group 30">
              <a:extLst>
                <a:ext uri="{FF2B5EF4-FFF2-40B4-BE49-F238E27FC236}">
                  <a16:creationId xmlns:a16="http://schemas.microsoft.com/office/drawing/2014/main" id="{08C9610B-8183-E661-DE56-406B06E00274}"/>
                </a:ext>
              </a:extLst>
            </p:cNvPr>
            <p:cNvGrpSpPr/>
            <p:nvPr/>
          </p:nvGrpSpPr>
          <p:grpSpPr>
            <a:xfrm>
              <a:off x="749040" y="4052016"/>
              <a:ext cx="88850" cy="87767"/>
              <a:chOff x="5071590" y="2724817"/>
              <a:chExt cx="1901239" cy="1655213"/>
            </a:xfrm>
          </p:grpSpPr>
          <p:grpSp>
            <p:nvGrpSpPr>
              <p:cNvPr id="4227" name="Group 289">
                <a:extLst>
                  <a:ext uri="{FF2B5EF4-FFF2-40B4-BE49-F238E27FC236}">
                    <a16:creationId xmlns:a16="http://schemas.microsoft.com/office/drawing/2014/main" id="{9804A309-0232-DDFA-2A6A-7E8F05BCBB4B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232" name="Group 294">
                  <a:extLst>
                    <a:ext uri="{FF2B5EF4-FFF2-40B4-BE49-F238E27FC236}">
                      <a16:creationId xmlns:a16="http://schemas.microsoft.com/office/drawing/2014/main" id="{D975C358-1E14-6E51-427B-3A0DB4392957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246" name="Oval 308">
                    <a:extLst>
                      <a:ext uri="{FF2B5EF4-FFF2-40B4-BE49-F238E27FC236}">
                        <a16:creationId xmlns:a16="http://schemas.microsoft.com/office/drawing/2014/main" id="{BAA9DFE6-32AC-4707-009B-81C162631D4F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247" name="Group 309">
                    <a:extLst>
                      <a:ext uri="{FF2B5EF4-FFF2-40B4-BE49-F238E27FC236}">
                        <a16:creationId xmlns:a16="http://schemas.microsoft.com/office/drawing/2014/main" id="{3F84BCDE-2E22-A433-3E76-9D2BD976E4E3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248" name="Graphic 310">
                      <a:extLst>
                        <a:ext uri="{FF2B5EF4-FFF2-40B4-BE49-F238E27FC236}">
                          <a16:creationId xmlns:a16="http://schemas.microsoft.com/office/drawing/2014/main" id="{F4FB84F3-F7E0-F1BC-31E7-E85AAEE0190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49" name="Graphic 311">
                      <a:extLst>
                        <a:ext uri="{FF2B5EF4-FFF2-40B4-BE49-F238E27FC236}">
                          <a16:creationId xmlns:a16="http://schemas.microsoft.com/office/drawing/2014/main" id="{70701FC2-AD5C-EFDC-89E7-4C7FEE76D3F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50" name="Graphic 312">
                      <a:extLst>
                        <a:ext uri="{FF2B5EF4-FFF2-40B4-BE49-F238E27FC236}">
                          <a16:creationId xmlns:a16="http://schemas.microsoft.com/office/drawing/2014/main" id="{43D76A84-521B-9A62-4462-0651077A9B6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51" name="Graphic 313">
                      <a:extLst>
                        <a:ext uri="{FF2B5EF4-FFF2-40B4-BE49-F238E27FC236}">
                          <a16:creationId xmlns:a16="http://schemas.microsoft.com/office/drawing/2014/main" id="{1FAF3824-368C-DCBD-D1E6-9F991BCFA89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52" name="Graphic 314">
                      <a:extLst>
                        <a:ext uri="{FF2B5EF4-FFF2-40B4-BE49-F238E27FC236}">
                          <a16:creationId xmlns:a16="http://schemas.microsoft.com/office/drawing/2014/main" id="{B39CD389-2B57-7082-9566-09096BF42AA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53" name="Graphic 315">
                      <a:extLst>
                        <a:ext uri="{FF2B5EF4-FFF2-40B4-BE49-F238E27FC236}">
                          <a16:creationId xmlns:a16="http://schemas.microsoft.com/office/drawing/2014/main" id="{19A01E31-9B6A-EFA2-4D89-0B5D5DF5C16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54" name="Graphic 316">
                      <a:extLst>
                        <a:ext uri="{FF2B5EF4-FFF2-40B4-BE49-F238E27FC236}">
                          <a16:creationId xmlns:a16="http://schemas.microsoft.com/office/drawing/2014/main" id="{84D49BD8-CA6E-9DB3-3CA6-54B45D771FA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55" name="Graphic 317">
                      <a:extLst>
                        <a:ext uri="{FF2B5EF4-FFF2-40B4-BE49-F238E27FC236}">
                          <a16:creationId xmlns:a16="http://schemas.microsoft.com/office/drawing/2014/main" id="{B586F4BD-B4B1-B06F-B0B1-2BE6A41E18D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56" name="Graphic 318">
                      <a:extLst>
                        <a:ext uri="{FF2B5EF4-FFF2-40B4-BE49-F238E27FC236}">
                          <a16:creationId xmlns:a16="http://schemas.microsoft.com/office/drawing/2014/main" id="{E1D5D9C7-8FB0-A828-CDCB-23FA1B9C0E1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57" name="Graphic 319">
                      <a:extLst>
                        <a:ext uri="{FF2B5EF4-FFF2-40B4-BE49-F238E27FC236}">
                          <a16:creationId xmlns:a16="http://schemas.microsoft.com/office/drawing/2014/main" id="{05D33E17-207C-3005-422F-C7E432314FF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58" name="Graphic 320">
                      <a:extLst>
                        <a:ext uri="{FF2B5EF4-FFF2-40B4-BE49-F238E27FC236}">
                          <a16:creationId xmlns:a16="http://schemas.microsoft.com/office/drawing/2014/main" id="{EC2A5E70-0430-98B3-20A6-5A022D6ECF2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59" name="Graphic 321">
                      <a:extLst>
                        <a:ext uri="{FF2B5EF4-FFF2-40B4-BE49-F238E27FC236}">
                          <a16:creationId xmlns:a16="http://schemas.microsoft.com/office/drawing/2014/main" id="{2EBDDB64-19C0-9E4A-73EF-F6C72D317BD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60" name="Graphic 322">
                      <a:extLst>
                        <a:ext uri="{FF2B5EF4-FFF2-40B4-BE49-F238E27FC236}">
                          <a16:creationId xmlns:a16="http://schemas.microsoft.com/office/drawing/2014/main" id="{8933D9FE-937F-B64D-98EF-F1CF4FB69F5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61" name="Graphic 323">
                      <a:extLst>
                        <a:ext uri="{FF2B5EF4-FFF2-40B4-BE49-F238E27FC236}">
                          <a16:creationId xmlns:a16="http://schemas.microsoft.com/office/drawing/2014/main" id="{F10115AE-7553-E048-41B4-B2D32006DE7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62" name="Graphic 324">
                      <a:extLst>
                        <a:ext uri="{FF2B5EF4-FFF2-40B4-BE49-F238E27FC236}">
                          <a16:creationId xmlns:a16="http://schemas.microsoft.com/office/drawing/2014/main" id="{D0F5F9EE-EAE4-CF26-A2F4-8357F67153C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63" name="Graphic 325">
                      <a:extLst>
                        <a:ext uri="{FF2B5EF4-FFF2-40B4-BE49-F238E27FC236}">
                          <a16:creationId xmlns:a16="http://schemas.microsoft.com/office/drawing/2014/main" id="{0FA61A18-BB3E-757E-4683-D3BECACADB7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64" name="Graphic 326">
                      <a:extLst>
                        <a:ext uri="{FF2B5EF4-FFF2-40B4-BE49-F238E27FC236}">
                          <a16:creationId xmlns:a16="http://schemas.microsoft.com/office/drawing/2014/main" id="{F1545ECA-8D0C-A5CE-B756-2CCCD6831AA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65" name="Graphic 327">
                      <a:extLst>
                        <a:ext uri="{FF2B5EF4-FFF2-40B4-BE49-F238E27FC236}">
                          <a16:creationId xmlns:a16="http://schemas.microsoft.com/office/drawing/2014/main" id="{D3C6A658-09EB-F6EE-AA6A-02B3B21233A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66" name="Graphic 328">
                      <a:extLst>
                        <a:ext uri="{FF2B5EF4-FFF2-40B4-BE49-F238E27FC236}">
                          <a16:creationId xmlns:a16="http://schemas.microsoft.com/office/drawing/2014/main" id="{2630D31B-9439-D348-FA4C-58BA92056DC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67" name="Graphic 329">
                      <a:extLst>
                        <a:ext uri="{FF2B5EF4-FFF2-40B4-BE49-F238E27FC236}">
                          <a16:creationId xmlns:a16="http://schemas.microsoft.com/office/drawing/2014/main" id="{F37C2AA7-5BCB-3752-9861-FBD52B63F61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68" name="Graphic 330">
                      <a:extLst>
                        <a:ext uri="{FF2B5EF4-FFF2-40B4-BE49-F238E27FC236}">
                          <a16:creationId xmlns:a16="http://schemas.microsoft.com/office/drawing/2014/main" id="{B36C23D9-9D79-D289-E19D-6593817A4BB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233" name="Graphic 295">
                  <a:extLst>
                    <a:ext uri="{FF2B5EF4-FFF2-40B4-BE49-F238E27FC236}">
                      <a16:creationId xmlns:a16="http://schemas.microsoft.com/office/drawing/2014/main" id="{824330AC-4DE4-1F9B-14D9-62340248D14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34" name="Graphic 296">
                  <a:extLst>
                    <a:ext uri="{FF2B5EF4-FFF2-40B4-BE49-F238E27FC236}">
                      <a16:creationId xmlns:a16="http://schemas.microsoft.com/office/drawing/2014/main" id="{4EAD6E20-7675-5FBB-4737-85F6DD24994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35" name="Graphic 297">
                  <a:extLst>
                    <a:ext uri="{FF2B5EF4-FFF2-40B4-BE49-F238E27FC236}">
                      <a16:creationId xmlns:a16="http://schemas.microsoft.com/office/drawing/2014/main" id="{A5A7A4C5-58E1-0EAC-466F-391D87A40C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36" name="Graphic 298">
                  <a:extLst>
                    <a:ext uri="{FF2B5EF4-FFF2-40B4-BE49-F238E27FC236}">
                      <a16:creationId xmlns:a16="http://schemas.microsoft.com/office/drawing/2014/main" id="{C2BE4591-AC14-1A07-80FD-645A333E604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237" name="Graphic 299">
                  <a:extLst>
                    <a:ext uri="{FF2B5EF4-FFF2-40B4-BE49-F238E27FC236}">
                      <a16:creationId xmlns:a16="http://schemas.microsoft.com/office/drawing/2014/main" id="{B0CF1FA8-C92E-3D6F-284E-53DD54D545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38" name="Graphic 300">
                  <a:extLst>
                    <a:ext uri="{FF2B5EF4-FFF2-40B4-BE49-F238E27FC236}">
                      <a16:creationId xmlns:a16="http://schemas.microsoft.com/office/drawing/2014/main" id="{47AFAC4B-13DC-21DF-E298-09FAAEE5715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239" name="Graphic 301">
                  <a:extLst>
                    <a:ext uri="{FF2B5EF4-FFF2-40B4-BE49-F238E27FC236}">
                      <a16:creationId xmlns:a16="http://schemas.microsoft.com/office/drawing/2014/main" id="{24BD27CD-C6E0-7145-3418-70DF6FB43DE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40" name="Graphic 302">
                  <a:extLst>
                    <a:ext uri="{FF2B5EF4-FFF2-40B4-BE49-F238E27FC236}">
                      <a16:creationId xmlns:a16="http://schemas.microsoft.com/office/drawing/2014/main" id="{282216C6-94DC-4980-6984-9C37A2EEFE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41" name="Graphic 303">
                  <a:extLst>
                    <a:ext uri="{FF2B5EF4-FFF2-40B4-BE49-F238E27FC236}">
                      <a16:creationId xmlns:a16="http://schemas.microsoft.com/office/drawing/2014/main" id="{C1289442-E73D-1248-853D-7D24CA6EC9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42" name="Graphic 304">
                  <a:extLst>
                    <a:ext uri="{FF2B5EF4-FFF2-40B4-BE49-F238E27FC236}">
                      <a16:creationId xmlns:a16="http://schemas.microsoft.com/office/drawing/2014/main" id="{058D75DD-0842-FEBA-1ABE-30BE75D54A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43" name="Graphic 305">
                  <a:extLst>
                    <a:ext uri="{FF2B5EF4-FFF2-40B4-BE49-F238E27FC236}">
                      <a16:creationId xmlns:a16="http://schemas.microsoft.com/office/drawing/2014/main" id="{278C8B16-8A9E-B543-0CB7-6726ABB009A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44" name="Graphic 306">
                  <a:extLst>
                    <a:ext uri="{FF2B5EF4-FFF2-40B4-BE49-F238E27FC236}">
                      <a16:creationId xmlns:a16="http://schemas.microsoft.com/office/drawing/2014/main" id="{6266DC9F-8338-C0A4-1600-8E3CE0970A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45" name="Graphic 307">
                  <a:extLst>
                    <a:ext uri="{FF2B5EF4-FFF2-40B4-BE49-F238E27FC236}">
                      <a16:creationId xmlns:a16="http://schemas.microsoft.com/office/drawing/2014/main" id="{4910493F-56FF-3C6B-0A40-746D27FD57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228" name="Graphic 290">
                <a:extLst>
                  <a:ext uri="{FF2B5EF4-FFF2-40B4-BE49-F238E27FC236}">
                    <a16:creationId xmlns:a16="http://schemas.microsoft.com/office/drawing/2014/main" id="{FF135019-1840-7D56-2AD1-C2D4ADC24B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229" name="Graphic 291">
                <a:extLst>
                  <a:ext uri="{FF2B5EF4-FFF2-40B4-BE49-F238E27FC236}">
                    <a16:creationId xmlns:a16="http://schemas.microsoft.com/office/drawing/2014/main" id="{87C95524-AD40-506F-C5C3-3E5FAAA942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230" name="Graphic 292">
                <a:extLst>
                  <a:ext uri="{FF2B5EF4-FFF2-40B4-BE49-F238E27FC236}">
                    <a16:creationId xmlns:a16="http://schemas.microsoft.com/office/drawing/2014/main" id="{49A2CA6A-929A-8D1D-1D1C-E76A69DE83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231" name="Graphic 293">
                <a:extLst>
                  <a:ext uri="{FF2B5EF4-FFF2-40B4-BE49-F238E27FC236}">
                    <a16:creationId xmlns:a16="http://schemas.microsoft.com/office/drawing/2014/main" id="{C324C3B5-29FB-F16C-4281-1F70A3B97B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69" name="Group 31">
              <a:extLst>
                <a:ext uri="{FF2B5EF4-FFF2-40B4-BE49-F238E27FC236}">
                  <a16:creationId xmlns:a16="http://schemas.microsoft.com/office/drawing/2014/main" id="{627D362F-C496-CB12-5196-D1E5F28792F0}"/>
                </a:ext>
              </a:extLst>
            </p:cNvPr>
            <p:cNvGrpSpPr/>
            <p:nvPr/>
          </p:nvGrpSpPr>
          <p:grpSpPr>
            <a:xfrm>
              <a:off x="550882" y="4063083"/>
              <a:ext cx="137353" cy="135679"/>
              <a:chOff x="5071590" y="2724817"/>
              <a:chExt cx="1901239" cy="1655213"/>
            </a:xfrm>
          </p:grpSpPr>
          <p:grpSp>
            <p:nvGrpSpPr>
              <p:cNvPr id="4185" name="Group 247">
                <a:extLst>
                  <a:ext uri="{FF2B5EF4-FFF2-40B4-BE49-F238E27FC236}">
                    <a16:creationId xmlns:a16="http://schemas.microsoft.com/office/drawing/2014/main" id="{D08F721C-CDF3-6E94-38AF-0D2D0F0064C5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190" name="Group 252">
                  <a:extLst>
                    <a:ext uri="{FF2B5EF4-FFF2-40B4-BE49-F238E27FC236}">
                      <a16:creationId xmlns:a16="http://schemas.microsoft.com/office/drawing/2014/main" id="{6446748C-78F3-9849-ABD4-0593171E2100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204" name="Oval 266">
                    <a:extLst>
                      <a:ext uri="{FF2B5EF4-FFF2-40B4-BE49-F238E27FC236}">
                        <a16:creationId xmlns:a16="http://schemas.microsoft.com/office/drawing/2014/main" id="{55BD03B8-4C52-9C52-7E9C-37E7E3971D73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205" name="Group 267">
                    <a:extLst>
                      <a:ext uri="{FF2B5EF4-FFF2-40B4-BE49-F238E27FC236}">
                        <a16:creationId xmlns:a16="http://schemas.microsoft.com/office/drawing/2014/main" id="{7297E5F9-3D68-12A1-97E0-871DFA70397A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206" name="Graphic 268">
                      <a:extLst>
                        <a:ext uri="{FF2B5EF4-FFF2-40B4-BE49-F238E27FC236}">
                          <a16:creationId xmlns:a16="http://schemas.microsoft.com/office/drawing/2014/main" id="{02E9EFA3-F648-BB35-B5D0-B112D570DF3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07" name="Graphic 269">
                      <a:extLst>
                        <a:ext uri="{FF2B5EF4-FFF2-40B4-BE49-F238E27FC236}">
                          <a16:creationId xmlns:a16="http://schemas.microsoft.com/office/drawing/2014/main" id="{35DF5144-C4FD-AE43-70DA-CCD5520A9B4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08" name="Graphic 270">
                      <a:extLst>
                        <a:ext uri="{FF2B5EF4-FFF2-40B4-BE49-F238E27FC236}">
                          <a16:creationId xmlns:a16="http://schemas.microsoft.com/office/drawing/2014/main" id="{04ADE769-6709-41A7-8195-635321DF069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09" name="Graphic 271">
                      <a:extLst>
                        <a:ext uri="{FF2B5EF4-FFF2-40B4-BE49-F238E27FC236}">
                          <a16:creationId xmlns:a16="http://schemas.microsoft.com/office/drawing/2014/main" id="{B596F398-86F2-BAA0-7AD6-CEC6DF9C6DD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10" name="Graphic 272">
                      <a:extLst>
                        <a:ext uri="{FF2B5EF4-FFF2-40B4-BE49-F238E27FC236}">
                          <a16:creationId xmlns:a16="http://schemas.microsoft.com/office/drawing/2014/main" id="{DC4722C9-DAD0-FAFA-57EB-2873864312C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11" name="Graphic 273">
                      <a:extLst>
                        <a:ext uri="{FF2B5EF4-FFF2-40B4-BE49-F238E27FC236}">
                          <a16:creationId xmlns:a16="http://schemas.microsoft.com/office/drawing/2014/main" id="{8997493D-F8A1-1AC3-ECF9-317FAC69BF2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12" name="Graphic 274">
                      <a:extLst>
                        <a:ext uri="{FF2B5EF4-FFF2-40B4-BE49-F238E27FC236}">
                          <a16:creationId xmlns:a16="http://schemas.microsoft.com/office/drawing/2014/main" id="{F60DE7E6-30B8-5997-4CCC-6E1EB2AB685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13" name="Graphic 275">
                      <a:extLst>
                        <a:ext uri="{FF2B5EF4-FFF2-40B4-BE49-F238E27FC236}">
                          <a16:creationId xmlns:a16="http://schemas.microsoft.com/office/drawing/2014/main" id="{12C2794C-9A95-1BC0-A893-3AE90F8085C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14" name="Graphic 276">
                      <a:extLst>
                        <a:ext uri="{FF2B5EF4-FFF2-40B4-BE49-F238E27FC236}">
                          <a16:creationId xmlns:a16="http://schemas.microsoft.com/office/drawing/2014/main" id="{B19AF218-C760-B361-2E65-4397A8E1F6B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15" name="Graphic 277">
                      <a:extLst>
                        <a:ext uri="{FF2B5EF4-FFF2-40B4-BE49-F238E27FC236}">
                          <a16:creationId xmlns:a16="http://schemas.microsoft.com/office/drawing/2014/main" id="{8DFEE8DA-39CD-DCA0-C87F-F3FF048DEE6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16" name="Graphic 278">
                      <a:extLst>
                        <a:ext uri="{FF2B5EF4-FFF2-40B4-BE49-F238E27FC236}">
                          <a16:creationId xmlns:a16="http://schemas.microsoft.com/office/drawing/2014/main" id="{0DD51458-F663-7592-14E4-424EA3FBB2A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17" name="Graphic 279">
                      <a:extLst>
                        <a:ext uri="{FF2B5EF4-FFF2-40B4-BE49-F238E27FC236}">
                          <a16:creationId xmlns:a16="http://schemas.microsoft.com/office/drawing/2014/main" id="{E6607506-6256-5DE2-E6C5-35E1646BAC5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18" name="Graphic 280">
                      <a:extLst>
                        <a:ext uri="{FF2B5EF4-FFF2-40B4-BE49-F238E27FC236}">
                          <a16:creationId xmlns:a16="http://schemas.microsoft.com/office/drawing/2014/main" id="{5F80D8BC-7E35-A3A9-65B6-20AC024E608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19" name="Graphic 281">
                      <a:extLst>
                        <a:ext uri="{FF2B5EF4-FFF2-40B4-BE49-F238E27FC236}">
                          <a16:creationId xmlns:a16="http://schemas.microsoft.com/office/drawing/2014/main" id="{E8DF1121-6D8B-C76A-F1C8-5C6649DF4C8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20" name="Graphic 282">
                      <a:extLst>
                        <a:ext uri="{FF2B5EF4-FFF2-40B4-BE49-F238E27FC236}">
                          <a16:creationId xmlns:a16="http://schemas.microsoft.com/office/drawing/2014/main" id="{348E3452-E02C-2BA8-FDB4-F0B0D1B8FCA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21" name="Graphic 283">
                      <a:extLst>
                        <a:ext uri="{FF2B5EF4-FFF2-40B4-BE49-F238E27FC236}">
                          <a16:creationId xmlns:a16="http://schemas.microsoft.com/office/drawing/2014/main" id="{CA86985E-BBC1-DFE0-556D-F291BE31753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22" name="Graphic 284">
                      <a:extLst>
                        <a:ext uri="{FF2B5EF4-FFF2-40B4-BE49-F238E27FC236}">
                          <a16:creationId xmlns:a16="http://schemas.microsoft.com/office/drawing/2014/main" id="{E08518C4-4E22-FE65-7AC7-2757C245365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23" name="Graphic 285">
                      <a:extLst>
                        <a:ext uri="{FF2B5EF4-FFF2-40B4-BE49-F238E27FC236}">
                          <a16:creationId xmlns:a16="http://schemas.microsoft.com/office/drawing/2014/main" id="{953A256C-DD49-4003-B7FF-3E9B95FD91E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24" name="Graphic 286">
                      <a:extLst>
                        <a:ext uri="{FF2B5EF4-FFF2-40B4-BE49-F238E27FC236}">
                          <a16:creationId xmlns:a16="http://schemas.microsoft.com/office/drawing/2014/main" id="{2C720B57-22EC-A14F-F0AD-FD15357A580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25" name="Graphic 287">
                      <a:extLst>
                        <a:ext uri="{FF2B5EF4-FFF2-40B4-BE49-F238E27FC236}">
                          <a16:creationId xmlns:a16="http://schemas.microsoft.com/office/drawing/2014/main" id="{3C599F8D-D272-0E67-3306-23AAECBFA15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226" name="Graphic 288">
                      <a:extLst>
                        <a:ext uri="{FF2B5EF4-FFF2-40B4-BE49-F238E27FC236}">
                          <a16:creationId xmlns:a16="http://schemas.microsoft.com/office/drawing/2014/main" id="{689D5935-E1B2-87B6-15AD-D87DEF38414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191" name="Graphic 253">
                  <a:extLst>
                    <a:ext uri="{FF2B5EF4-FFF2-40B4-BE49-F238E27FC236}">
                      <a16:creationId xmlns:a16="http://schemas.microsoft.com/office/drawing/2014/main" id="{54E7ADFB-C183-ED78-4CDB-2E1159EBDC8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92" name="Graphic 254">
                  <a:extLst>
                    <a:ext uri="{FF2B5EF4-FFF2-40B4-BE49-F238E27FC236}">
                      <a16:creationId xmlns:a16="http://schemas.microsoft.com/office/drawing/2014/main" id="{7CC7D0DA-B9F9-C491-9D31-3AACCF6A8B2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93" name="Graphic 255">
                  <a:extLst>
                    <a:ext uri="{FF2B5EF4-FFF2-40B4-BE49-F238E27FC236}">
                      <a16:creationId xmlns:a16="http://schemas.microsoft.com/office/drawing/2014/main" id="{FCDF663E-0532-83FF-044B-77CD78C235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94" name="Graphic 256">
                  <a:extLst>
                    <a:ext uri="{FF2B5EF4-FFF2-40B4-BE49-F238E27FC236}">
                      <a16:creationId xmlns:a16="http://schemas.microsoft.com/office/drawing/2014/main" id="{B79A4455-3831-EF02-4731-59597B576E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195" name="Graphic 257">
                  <a:extLst>
                    <a:ext uri="{FF2B5EF4-FFF2-40B4-BE49-F238E27FC236}">
                      <a16:creationId xmlns:a16="http://schemas.microsoft.com/office/drawing/2014/main" id="{33BA7171-2249-9F65-F4B8-06FB1EF5CF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96" name="Graphic 258">
                  <a:extLst>
                    <a:ext uri="{FF2B5EF4-FFF2-40B4-BE49-F238E27FC236}">
                      <a16:creationId xmlns:a16="http://schemas.microsoft.com/office/drawing/2014/main" id="{56BAF968-B914-7872-08E9-6D801F8DE7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197" name="Graphic 259">
                  <a:extLst>
                    <a:ext uri="{FF2B5EF4-FFF2-40B4-BE49-F238E27FC236}">
                      <a16:creationId xmlns:a16="http://schemas.microsoft.com/office/drawing/2014/main" id="{02F817FC-9E5B-193E-DF20-55319C9F7F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98" name="Graphic 260">
                  <a:extLst>
                    <a:ext uri="{FF2B5EF4-FFF2-40B4-BE49-F238E27FC236}">
                      <a16:creationId xmlns:a16="http://schemas.microsoft.com/office/drawing/2014/main" id="{8AC031C1-90E2-4544-1A3E-0291742704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99" name="Graphic 261">
                  <a:extLst>
                    <a:ext uri="{FF2B5EF4-FFF2-40B4-BE49-F238E27FC236}">
                      <a16:creationId xmlns:a16="http://schemas.microsoft.com/office/drawing/2014/main" id="{DB851D7C-4F54-806E-629F-FF37808923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00" name="Graphic 262">
                  <a:extLst>
                    <a:ext uri="{FF2B5EF4-FFF2-40B4-BE49-F238E27FC236}">
                      <a16:creationId xmlns:a16="http://schemas.microsoft.com/office/drawing/2014/main" id="{3A1F667A-6FFE-DB66-6DFA-647C58476D7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01" name="Graphic 263">
                  <a:extLst>
                    <a:ext uri="{FF2B5EF4-FFF2-40B4-BE49-F238E27FC236}">
                      <a16:creationId xmlns:a16="http://schemas.microsoft.com/office/drawing/2014/main" id="{5D19F408-3190-3906-04F2-4CB5A14D64F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02" name="Graphic 264">
                  <a:extLst>
                    <a:ext uri="{FF2B5EF4-FFF2-40B4-BE49-F238E27FC236}">
                      <a16:creationId xmlns:a16="http://schemas.microsoft.com/office/drawing/2014/main" id="{14142FF4-B1BA-BD62-F59B-6D6A61EC6DB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203" name="Graphic 265">
                  <a:extLst>
                    <a:ext uri="{FF2B5EF4-FFF2-40B4-BE49-F238E27FC236}">
                      <a16:creationId xmlns:a16="http://schemas.microsoft.com/office/drawing/2014/main" id="{29BB0751-3226-95E1-9D3A-589539640D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186" name="Graphic 248">
                <a:extLst>
                  <a:ext uri="{FF2B5EF4-FFF2-40B4-BE49-F238E27FC236}">
                    <a16:creationId xmlns:a16="http://schemas.microsoft.com/office/drawing/2014/main" id="{198CBEC5-EA8B-A20B-B7D0-E8913A124B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187" name="Graphic 249">
                <a:extLst>
                  <a:ext uri="{FF2B5EF4-FFF2-40B4-BE49-F238E27FC236}">
                    <a16:creationId xmlns:a16="http://schemas.microsoft.com/office/drawing/2014/main" id="{8C94F688-23B4-3AD3-B2FE-396F06F375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188" name="Graphic 250">
                <a:extLst>
                  <a:ext uri="{FF2B5EF4-FFF2-40B4-BE49-F238E27FC236}">
                    <a16:creationId xmlns:a16="http://schemas.microsoft.com/office/drawing/2014/main" id="{D67C4CBB-4C14-BFC6-89DE-6DDDFB052A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189" name="Graphic 251">
                <a:extLst>
                  <a:ext uri="{FF2B5EF4-FFF2-40B4-BE49-F238E27FC236}">
                    <a16:creationId xmlns:a16="http://schemas.microsoft.com/office/drawing/2014/main" id="{CCF9B90C-AD4C-CB9D-8AD0-7505E6A39B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70" name="Group 32">
              <a:extLst>
                <a:ext uri="{FF2B5EF4-FFF2-40B4-BE49-F238E27FC236}">
                  <a16:creationId xmlns:a16="http://schemas.microsoft.com/office/drawing/2014/main" id="{6F01EF8E-03B6-8D55-E733-0DA3A0610E97}"/>
                </a:ext>
              </a:extLst>
            </p:cNvPr>
            <p:cNvGrpSpPr/>
            <p:nvPr/>
          </p:nvGrpSpPr>
          <p:grpSpPr>
            <a:xfrm>
              <a:off x="358695" y="3909640"/>
              <a:ext cx="137353" cy="135679"/>
              <a:chOff x="5071590" y="2724817"/>
              <a:chExt cx="1901239" cy="1655213"/>
            </a:xfrm>
          </p:grpSpPr>
          <p:grpSp>
            <p:nvGrpSpPr>
              <p:cNvPr id="4143" name="Group 205">
                <a:extLst>
                  <a:ext uri="{FF2B5EF4-FFF2-40B4-BE49-F238E27FC236}">
                    <a16:creationId xmlns:a16="http://schemas.microsoft.com/office/drawing/2014/main" id="{892D9DF1-AF75-7E4E-EF7B-A5E060A01616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148" name="Group 210">
                  <a:extLst>
                    <a:ext uri="{FF2B5EF4-FFF2-40B4-BE49-F238E27FC236}">
                      <a16:creationId xmlns:a16="http://schemas.microsoft.com/office/drawing/2014/main" id="{70E26363-BBA9-1AB2-1772-B6CE2518967F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162" name="Oval 224">
                    <a:extLst>
                      <a:ext uri="{FF2B5EF4-FFF2-40B4-BE49-F238E27FC236}">
                        <a16:creationId xmlns:a16="http://schemas.microsoft.com/office/drawing/2014/main" id="{5515C70D-9314-383F-FBE7-E007686D6AC6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163" name="Group 225">
                    <a:extLst>
                      <a:ext uri="{FF2B5EF4-FFF2-40B4-BE49-F238E27FC236}">
                        <a16:creationId xmlns:a16="http://schemas.microsoft.com/office/drawing/2014/main" id="{8B887332-9B57-5719-5F4D-D603A92B32A8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164" name="Graphic 226">
                      <a:extLst>
                        <a:ext uri="{FF2B5EF4-FFF2-40B4-BE49-F238E27FC236}">
                          <a16:creationId xmlns:a16="http://schemas.microsoft.com/office/drawing/2014/main" id="{F0B5DE89-26A7-B9FD-992F-CA0233CE221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65" name="Graphic 227">
                      <a:extLst>
                        <a:ext uri="{FF2B5EF4-FFF2-40B4-BE49-F238E27FC236}">
                          <a16:creationId xmlns:a16="http://schemas.microsoft.com/office/drawing/2014/main" id="{84D883B2-EDE9-523E-91CD-ADB92F168CE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66" name="Graphic 228">
                      <a:extLst>
                        <a:ext uri="{FF2B5EF4-FFF2-40B4-BE49-F238E27FC236}">
                          <a16:creationId xmlns:a16="http://schemas.microsoft.com/office/drawing/2014/main" id="{048B2407-A4AF-AAC1-44EE-04083FBFF2D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67" name="Graphic 229">
                      <a:extLst>
                        <a:ext uri="{FF2B5EF4-FFF2-40B4-BE49-F238E27FC236}">
                          <a16:creationId xmlns:a16="http://schemas.microsoft.com/office/drawing/2014/main" id="{AE52C276-D38D-321E-F163-61F6C5E5D03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68" name="Graphic 230">
                      <a:extLst>
                        <a:ext uri="{FF2B5EF4-FFF2-40B4-BE49-F238E27FC236}">
                          <a16:creationId xmlns:a16="http://schemas.microsoft.com/office/drawing/2014/main" id="{0640C982-0DCA-6DEF-BDDC-AF4333058D5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69" name="Graphic 231">
                      <a:extLst>
                        <a:ext uri="{FF2B5EF4-FFF2-40B4-BE49-F238E27FC236}">
                          <a16:creationId xmlns:a16="http://schemas.microsoft.com/office/drawing/2014/main" id="{A5198A94-1AFC-1A3F-ECE8-EC933EDCF20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70" name="Graphic 232">
                      <a:extLst>
                        <a:ext uri="{FF2B5EF4-FFF2-40B4-BE49-F238E27FC236}">
                          <a16:creationId xmlns:a16="http://schemas.microsoft.com/office/drawing/2014/main" id="{FF3E01C4-9C32-4C97-7130-8169B701C8A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71" name="Graphic 233">
                      <a:extLst>
                        <a:ext uri="{FF2B5EF4-FFF2-40B4-BE49-F238E27FC236}">
                          <a16:creationId xmlns:a16="http://schemas.microsoft.com/office/drawing/2014/main" id="{D4F6B408-4ACC-59DB-7681-896F3CE4AEB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72" name="Graphic 234">
                      <a:extLst>
                        <a:ext uri="{FF2B5EF4-FFF2-40B4-BE49-F238E27FC236}">
                          <a16:creationId xmlns:a16="http://schemas.microsoft.com/office/drawing/2014/main" id="{FD9C74C1-DE94-1A2C-DBD2-2B20BB9FCDB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73" name="Graphic 235">
                      <a:extLst>
                        <a:ext uri="{FF2B5EF4-FFF2-40B4-BE49-F238E27FC236}">
                          <a16:creationId xmlns:a16="http://schemas.microsoft.com/office/drawing/2014/main" id="{23D6B4E6-BE14-C13D-E4D0-3929345F882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74" name="Graphic 236">
                      <a:extLst>
                        <a:ext uri="{FF2B5EF4-FFF2-40B4-BE49-F238E27FC236}">
                          <a16:creationId xmlns:a16="http://schemas.microsoft.com/office/drawing/2014/main" id="{1363F7E1-1246-87B4-3250-5A810D7A239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75" name="Graphic 237">
                      <a:extLst>
                        <a:ext uri="{FF2B5EF4-FFF2-40B4-BE49-F238E27FC236}">
                          <a16:creationId xmlns:a16="http://schemas.microsoft.com/office/drawing/2014/main" id="{9BFAF101-F63A-12D3-3FD2-4EA77AB7EF9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76" name="Graphic 238">
                      <a:extLst>
                        <a:ext uri="{FF2B5EF4-FFF2-40B4-BE49-F238E27FC236}">
                          <a16:creationId xmlns:a16="http://schemas.microsoft.com/office/drawing/2014/main" id="{4FFC912D-2C88-5E27-21BC-20C236DA489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77" name="Graphic 239">
                      <a:extLst>
                        <a:ext uri="{FF2B5EF4-FFF2-40B4-BE49-F238E27FC236}">
                          <a16:creationId xmlns:a16="http://schemas.microsoft.com/office/drawing/2014/main" id="{7B42DBF4-CEAB-755D-FAF0-0B61AD11372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78" name="Graphic 240">
                      <a:extLst>
                        <a:ext uri="{FF2B5EF4-FFF2-40B4-BE49-F238E27FC236}">
                          <a16:creationId xmlns:a16="http://schemas.microsoft.com/office/drawing/2014/main" id="{8E620963-6FB6-C927-064D-9356C60D433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79" name="Graphic 241">
                      <a:extLst>
                        <a:ext uri="{FF2B5EF4-FFF2-40B4-BE49-F238E27FC236}">
                          <a16:creationId xmlns:a16="http://schemas.microsoft.com/office/drawing/2014/main" id="{14538059-9545-B19B-63C3-79A653D6039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80" name="Graphic 242">
                      <a:extLst>
                        <a:ext uri="{FF2B5EF4-FFF2-40B4-BE49-F238E27FC236}">
                          <a16:creationId xmlns:a16="http://schemas.microsoft.com/office/drawing/2014/main" id="{D8DCE19F-C632-1BC1-5E56-AA45DC336CD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81" name="Graphic 243">
                      <a:extLst>
                        <a:ext uri="{FF2B5EF4-FFF2-40B4-BE49-F238E27FC236}">
                          <a16:creationId xmlns:a16="http://schemas.microsoft.com/office/drawing/2014/main" id="{2F6944DE-AFC2-6BB2-A7EB-C5E579FFB03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82" name="Graphic 244">
                      <a:extLst>
                        <a:ext uri="{FF2B5EF4-FFF2-40B4-BE49-F238E27FC236}">
                          <a16:creationId xmlns:a16="http://schemas.microsoft.com/office/drawing/2014/main" id="{571B25D5-6AEB-6E1A-6776-CFDAF525DF9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83" name="Graphic 245">
                      <a:extLst>
                        <a:ext uri="{FF2B5EF4-FFF2-40B4-BE49-F238E27FC236}">
                          <a16:creationId xmlns:a16="http://schemas.microsoft.com/office/drawing/2014/main" id="{A9F110BC-55D4-250F-3623-C8FE897092E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84" name="Graphic 246">
                      <a:extLst>
                        <a:ext uri="{FF2B5EF4-FFF2-40B4-BE49-F238E27FC236}">
                          <a16:creationId xmlns:a16="http://schemas.microsoft.com/office/drawing/2014/main" id="{DB26D629-D836-5423-60A3-CAEB0346559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149" name="Graphic 211">
                  <a:extLst>
                    <a:ext uri="{FF2B5EF4-FFF2-40B4-BE49-F238E27FC236}">
                      <a16:creationId xmlns:a16="http://schemas.microsoft.com/office/drawing/2014/main" id="{F4A819F7-FDF4-0D78-114E-62BF7D58A30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50" name="Graphic 212">
                  <a:extLst>
                    <a:ext uri="{FF2B5EF4-FFF2-40B4-BE49-F238E27FC236}">
                      <a16:creationId xmlns:a16="http://schemas.microsoft.com/office/drawing/2014/main" id="{5FC5DC36-83F4-9668-312A-B9406DFA6F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51" name="Graphic 213">
                  <a:extLst>
                    <a:ext uri="{FF2B5EF4-FFF2-40B4-BE49-F238E27FC236}">
                      <a16:creationId xmlns:a16="http://schemas.microsoft.com/office/drawing/2014/main" id="{DC64527F-5CD5-58A7-CF6D-5B7A6225B37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52" name="Graphic 214">
                  <a:extLst>
                    <a:ext uri="{FF2B5EF4-FFF2-40B4-BE49-F238E27FC236}">
                      <a16:creationId xmlns:a16="http://schemas.microsoft.com/office/drawing/2014/main" id="{3859F655-94B3-5A1A-95E3-711E0B9BBB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153" name="Graphic 215">
                  <a:extLst>
                    <a:ext uri="{FF2B5EF4-FFF2-40B4-BE49-F238E27FC236}">
                      <a16:creationId xmlns:a16="http://schemas.microsoft.com/office/drawing/2014/main" id="{42B6ABFF-0824-1513-D693-AFFCCF91EA0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54" name="Graphic 216">
                  <a:extLst>
                    <a:ext uri="{FF2B5EF4-FFF2-40B4-BE49-F238E27FC236}">
                      <a16:creationId xmlns:a16="http://schemas.microsoft.com/office/drawing/2014/main" id="{22FF0CE1-9CCE-A132-4E90-DD01E8E5DE9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155" name="Graphic 217">
                  <a:extLst>
                    <a:ext uri="{FF2B5EF4-FFF2-40B4-BE49-F238E27FC236}">
                      <a16:creationId xmlns:a16="http://schemas.microsoft.com/office/drawing/2014/main" id="{798D3D81-8EB0-C579-558C-0EF80F95807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56" name="Graphic 218">
                  <a:extLst>
                    <a:ext uri="{FF2B5EF4-FFF2-40B4-BE49-F238E27FC236}">
                      <a16:creationId xmlns:a16="http://schemas.microsoft.com/office/drawing/2014/main" id="{36560EA5-DA80-E7E5-AE93-85339AEF1B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57" name="Graphic 219">
                  <a:extLst>
                    <a:ext uri="{FF2B5EF4-FFF2-40B4-BE49-F238E27FC236}">
                      <a16:creationId xmlns:a16="http://schemas.microsoft.com/office/drawing/2014/main" id="{FB444489-FB03-1797-9786-53C977FD08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58" name="Graphic 220">
                  <a:extLst>
                    <a:ext uri="{FF2B5EF4-FFF2-40B4-BE49-F238E27FC236}">
                      <a16:creationId xmlns:a16="http://schemas.microsoft.com/office/drawing/2014/main" id="{D5AF5F3E-A936-56E7-1D56-08502AF6BB8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59" name="Graphic 221">
                  <a:extLst>
                    <a:ext uri="{FF2B5EF4-FFF2-40B4-BE49-F238E27FC236}">
                      <a16:creationId xmlns:a16="http://schemas.microsoft.com/office/drawing/2014/main" id="{7C42AD0A-EA7E-0DC6-F6D3-B762428754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60" name="Graphic 222">
                  <a:extLst>
                    <a:ext uri="{FF2B5EF4-FFF2-40B4-BE49-F238E27FC236}">
                      <a16:creationId xmlns:a16="http://schemas.microsoft.com/office/drawing/2014/main" id="{6620FD23-5E30-38A8-1487-9443CCC0D1A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61" name="Graphic 223">
                  <a:extLst>
                    <a:ext uri="{FF2B5EF4-FFF2-40B4-BE49-F238E27FC236}">
                      <a16:creationId xmlns:a16="http://schemas.microsoft.com/office/drawing/2014/main" id="{F73DDBC1-1A20-D760-CDDB-ACCDE072513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144" name="Graphic 206">
                <a:extLst>
                  <a:ext uri="{FF2B5EF4-FFF2-40B4-BE49-F238E27FC236}">
                    <a16:creationId xmlns:a16="http://schemas.microsoft.com/office/drawing/2014/main" id="{133E3061-6C7B-55DD-D0B1-B4ED034BDA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145" name="Graphic 207">
                <a:extLst>
                  <a:ext uri="{FF2B5EF4-FFF2-40B4-BE49-F238E27FC236}">
                    <a16:creationId xmlns:a16="http://schemas.microsoft.com/office/drawing/2014/main" id="{875495EA-DA94-B064-70C6-0154634665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146" name="Graphic 208">
                <a:extLst>
                  <a:ext uri="{FF2B5EF4-FFF2-40B4-BE49-F238E27FC236}">
                    <a16:creationId xmlns:a16="http://schemas.microsoft.com/office/drawing/2014/main" id="{ED616578-ADCA-3E96-390B-11FDAF3D84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147" name="Graphic 209">
                <a:extLst>
                  <a:ext uri="{FF2B5EF4-FFF2-40B4-BE49-F238E27FC236}">
                    <a16:creationId xmlns:a16="http://schemas.microsoft.com/office/drawing/2014/main" id="{5986492C-C424-0B16-8C0F-53E4C8CF12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71" name="Group 33">
              <a:extLst>
                <a:ext uri="{FF2B5EF4-FFF2-40B4-BE49-F238E27FC236}">
                  <a16:creationId xmlns:a16="http://schemas.microsoft.com/office/drawing/2014/main" id="{EDE1BDB7-A7D7-023C-9DD8-3296882FC995}"/>
                </a:ext>
              </a:extLst>
            </p:cNvPr>
            <p:cNvGrpSpPr/>
            <p:nvPr/>
          </p:nvGrpSpPr>
          <p:grpSpPr>
            <a:xfrm>
              <a:off x="477891" y="3712017"/>
              <a:ext cx="137353" cy="135679"/>
              <a:chOff x="5071590" y="2724817"/>
              <a:chExt cx="1901239" cy="1655213"/>
            </a:xfrm>
          </p:grpSpPr>
          <p:grpSp>
            <p:nvGrpSpPr>
              <p:cNvPr id="4101" name="Group 163">
                <a:extLst>
                  <a:ext uri="{FF2B5EF4-FFF2-40B4-BE49-F238E27FC236}">
                    <a16:creationId xmlns:a16="http://schemas.microsoft.com/office/drawing/2014/main" id="{FB4E6652-85B3-1CB7-D5AD-FF26AE5023AC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106" name="Group 168">
                  <a:extLst>
                    <a:ext uri="{FF2B5EF4-FFF2-40B4-BE49-F238E27FC236}">
                      <a16:creationId xmlns:a16="http://schemas.microsoft.com/office/drawing/2014/main" id="{026143F4-91E4-A528-E860-7F58E90D91C7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120" name="Oval 182">
                    <a:extLst>
                      <a:ext uri="{FF2B5EF4-FFF2-40B4-BE49-F238E27FC236}">
                        <a16:creationId xmlns:a16="http://schemas.microsoft.com/office/drawing/2014/main" id="{955CB0FA-41FC-9090-AE7F-CE30D20223B6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121" name="Group 183">
                    <a:extLst>
                      <a:ext uri="{FF2B5EF4-FFF2-40B4-BE49-F238E27FC236}">
                        <a16:creationId xmlns:a16="http://schemas.microsoft.com/office/drawing/2014/main" id="{19CA2148-EEC9-618E-92E4-A28C5B1A242D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122" name="Graphic 184">
                      <a:extLst>
                        <a:ext uri="{FF2B5EF4-FFF2-40B4-BE49-F238E27FC236}">
                          <a16:creationId xmlns:a16="http://schemas.microsoft.com/office/drawing/2014/main" id="{CEE79109-5522-CAE7-CEE3-B1A606B206F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23" name="Graphic 185">
                      <a:extLst>
                        <a:ext uri="{FF2B5EF4-FFF2-40B4-BE49-F238E27FC236}">
                          <a16:creationId xmlns:a16="http://schemas.microsoft.com/office/drawing/2014/main" id="{4EB899CC-C2A5-FAA2-BB77-059031A1650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24" name="Graphic 186">
                      <a:extLst>
                        <a:ext uri="{FF2B5EF4-FFF2-40B4-BE49-F238E27FC236}">
                          <a16:creationId xmlns:a16="http://schemas.microsoft.com/office/drawing/2014/main" id="{06825A00-4ACF-5C80-B022-B093D356A48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25" name="Graphic 187">
                      <a:extLst>
                        <a:ext uri="{FF2B5EF4-FFF2-40B4-BE49-F238E27FC236}">
                          <a16:creationId xmlns:a16="http://schemas.microsoft.com/office/drawing/2014/main" id="{8783B38E-5150-8981-FB5F-0D0B50245E1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26" name="Graphic 188">
                      <a:extLst>
                        <a:ext uri="{FF2B5EF4-FFF2-40B4-BE49-F238E27FC236}">
                          <a16:creationId xmlns:a16="http://schemas.microsoft.com/office/drawing/2014/main" id="{B44D03BF-42B7-2228-7355-1A52EB28549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27" name="Graphic 189">
                      <a:extLst>
                        <a:ext uri="{FF2B5EF4-FFF2-40B4-BE49-F238E27FC236}">
                          <a16:creationId xmlns:a16="http://schemas.microsoft.com/office/drawing/2014/main" id="{872ADC91-5D03-1ACA-3589-28F43C03F54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28" name="Graphic 190">
                      <a:extLst>
                        <a:ext uri="{FF2B5EF4-FFF2-40B4-BE49-F238E27FC236}">
                          <a16:creationId xmlns:a16="http://schemas.microsoft.com/office/drawing/2014/main" id="{584BB319-0676-B0D2-B495-6E3A055C78C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29" name="Graphic 191">
                      <a:extLst>
                        <a:ext uri="{FF2B5EF4-FFF2-40B4-BE49-F238E27FC236}">
                          <a16:creationId xmlns:a16="http://schemas.microsoft.com/office/drawing/2014/main" id="{3AF14492-CD8F-2317-F3CF-CCDB15F90EA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30" name="Graphic 192">
                      <a:extLst>
                        <a:ext uri="{FF2B5EF4-FFF2-40B4-BE49-F238E27FC236}">
                          <a16:creationId xmlns:a16="http://schemas.microsoft.com/office/drawing/2014/main" id="{8FB6CEDD-AF1D-8F87-9AE4-D8479810B0F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31" name="Graphic 193">
                      <a:extLst>
                        <a:ext uri="{FF2B5EF4-FFF2-40B4-BE49-F238E27FC236}">
                          <a16:creationId xmlns:a16="http://schemas.microsoft.com/office/drawing/2014/main" id="{500BBC96-6353-4AAB-7B79-344D7EDF72B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32" name="Graphic 194">
                      <a:extLst>
                        <a:ext uri="{FF2B5EF4-FFF2-40B4-BE49-F238E27FC236}">
                          <a16:creationId xmlns:a16="http://schemas.microsoft.com/office/drawing/2014/main" id="{6985FFD7-1B09-179A-43D4-917A1852B95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33" name="Graphic 195">
                      <a:extLst>
                        <a:ext uri="{FF2B5EF4-FFF2-40B4-BE49-F238E27FC236}">
                          <a16:creationId xmlns:a16="http://schemas.microsoft.com/office/drawing/2014/main" id="{B18F7BD8-618D-72EB-68D4-CEB55029C40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34" name="Graphic 196">
                      <a:extLst>
                        <a:ext uri="{FF2B5EF4-FFF2-40B4-BE49-F238E27FC236}">
                          <a16:creationId xmlns:a16="http://schemas.microsoft.com/office/drawing/2014/main" id="{E5BA3471-BD10-5FBA-99B6-2E37FFE4416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35" name="Graphic 197">
                      <a:extLst>
                        <a:ext uri="{FF2B5EF4-FFF2-40B4-BE49-F238E27FC236}">
                          <a16:creationId xmlns:a16="http://schemas.microsoft.com/office/drawing/2014/main" id="{C5D252C6-DD26-A847-D209-DC6543381CE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36" name="Graphic 198">
                      <a:extLst>
                        <a:ext uri="{FF2B5EF4-FFF2-40B4-BE49-F238E27FC236}">
                          <a16:creationId xmlns:a16="http://schemas.microsoft.com/office/drawing/2014/main" id="{F9FC9C38-1437-C0A9-51A8-051876C882B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37" name="Graphic 199">
                      <a:extLst>
                        <a:ext uri="{FF2B5EF4-FFF2-40B4-BE49-F238E27FC236}">
                          <a16:creationId xmlns:a16="http://schemas.microsoft.com/office/drawing/2014/main" id="{C1D5F532-D527-DDDA-62FD-A96905AEA45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38" name="Graphic 200">
                      <a:extLst>
                        <a:ext uri="{FF2B5EF4-FFF2-40B4-BE49-F238E27FC236}">
                          <a16:creationId xmlns:a16="http://schemas.microsoft.com/office/drawing/2014/main" id="{C1F92D3B-E8B9-E50D-2161-E131FE0B6CB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39" name="Graphic 201">
                      <a:extLst>
                        <a:ext uri="{FF2B5EF4-FFF2-40B4-BE49-F238E27FC236}">
                          <a16:creationId xmlns:a16="http://schemas.microsoft.com/office/drawing/2014/main" id="{9500EBA7-BD2A-04BE-9922-32A0D036EEE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40" name="Graphic 202">
                      <a:extLst>
                        <a:ext uri="{FF2B5EF4-FFF2-40B4-BE49-F238E27FC236}">
                          <a16:creationId xmlns:a16="http://schemas.microsoft.com/office/drawing/2014/main" id="{B909F483-5487-9CDC-70D9-14F7493DDCD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41" name="Graphic 203">
                      <a:extLst>
                        <a:ext uri="{FF2B5EF4-FFF2-40B4-BE49-F238E27FC236}">
                          <a16:creationId xmlns:a16="http://schemas.microsoft.com/office/drawing/2014/main" id="{29FB686F-0849-D223-461D-D0CFB2E3A3C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42" name="Graphic 204">
                      <a:extLst>
                        <a:ext uri="{FF2B5EF4-FFF2-40B4-BE49-F238E27FC236}">
                          <a16:creationId xmlns:a16="http://schemas.microsoft.com/office/drawing/2014/main" id="{6B1F6FA6-FBC4-08EE-258D-21EEBAE90ED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107" name="Graphic 169">
                  <a:extLst>
                    <a:ext uri="{FF2B5EF4-FFF2-40B4-BE49-F238E27FC236}">
                      <a16:creationId xmlns:a16="http://schemas.microsoft.com/office/drawing/2014/main" id="{C9053198-8B4E-4D82-6F06-4579A862F18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08" name="Graphic 170">
                  <a:extLst>
                    <a:ext uri="{FF2B5EF4-FFF2-40B4-BE49-F238E27FC236}">
                      <a16:creationId xmlns:a16="http://schemas.microsoft.com/office/drawing/2014/main" id="{83F45063-937D-4567-A56E-F33E0600C3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09" name="Graphic 171">
                  <a:extLst>
                    <a:ext uri="{FF2B5EF4-FFF2-40B4-BE49-F238E27FC236}">
                      <a16:creationId xmlns:a16="http://schemas.microsoft.com/office/drawing/2014/main" id="{C644CFB8-BF0B-B822-BA67-91046F9BE92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10" name="Graphic 172">
                  <a:extLst>
                    <a:ext uri="{FF2B5EF4-FFF2-40B4-BE49-F238E27FC236}">
                      <a16:creationId xmlns:a16="http://schemas.microsoft.com/office/drawing/2014/main" id="{CEDB3BF3-3694-3800-1CC0-5B37F14C07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111" name="Graphic 173">
                  <a:extLst>
                    <a:ext uri="{FF2B5EF4-FFF2-40B4-BE49-F238E27FC236}">
                      <a16:creationId xmlns:a16="http://schemas.microsoft.com/office/drawing/2014/main" id="{B3DBF7AD-A8F1-D19B-3D41-BDBCE264557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12" name="Graphic 174">
                  <a:extLst>
                    <a:ext uri="{FF2B5EF4-FFF2-40B4-BE49-F238E27FC236}">
                      <a16:creationId xmlns:a16="http://schemas.microsoft.com/office/drawing/2014/main" id="{D5273496-132A-1F80-669C-5EFCC28AD22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113" name="Graphic 175">
                  <a:extLst>
                    <a:ext uri="{FF2B5EF4-FFF2-40B4-BE49-F238E27FC236}">
                      <a16:creationId xmlns:a16="http://schemas.microsoft.com/office/drawing/2014/main" id="{E42A873B-0B9F-2FFF-278A-53946212BC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14" name="Graphic 176">
                  <a:extLst>
                    <a:ext uri="{FF2B5EF4-FFF2-40B4-BE49-F238E27FC236}">
                      <a16:creationId xmlns:a16="http://schemas.microsoft.com/office/drawing/2014/main" id="{B3F67BF8-D05B-9B35-4A77-AF4A93CB413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15" name="Graphic 177">
                  <a:extLst>
                    <a:ext uri="{FF2B5EF4-FFF2-40B4-BE49-F238E27FC236}">
                      <a16:creationId xmlns:a16="http://schemas.microsoft.com/office/drawing/2014/main" id="{865D047C-141B-146D-B164-7643845865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16" name="Graphic 178">
                  <a:extLst>
                    <a:ext uri="{FF2B5EF4-FFF2-40B4-BE49-F238E27FC236}">
                      <a16:creationId xmlns:a16="http://schemas.microsoft.com/office/drawing/2014/main" id="{7DB0A4E8-9964-1DEC-6701-4CC3CBE664F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17" name="Graphic 179">
                  <a:extLst>
                    <a:ext uri="{FF2B5EF4-FFF2-40B4-BE49-F238E27FC236}">
                      <a16:creationId xmlns:a16="http://schemas.microsoft.com/office/drawing/2014/main" id="{5AA4075D-CEBB-8364-4E7C-AC36FC8398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18" name="Graphic 180">
                  <a:extLst>
                    <a:ext uri="{FF2B5EF4-FFF2-40B4-BE49-F238E27FC236}">
                      <a16:creationId xmlns:a16="http://schemas.microsoft.com/office/drawing/2014/main" id="{5CB22EF1-4573-38FA-1E0A-4A8B2DC8560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119" name="Graphic 181">
                  <a:extLst>
                    <a:ext uri="{FF2B5EF4-FFF2-40B4-BE49-F238E27FC236}">
                      <a16:creationId xmlns:a16="http://schemas.microsoft.com/office/drawing/2014/main" id="{1E0A6F00-D4DF-764B-B913-E88B419865A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102" name="Graphic 164">
                <a:extLst>
                  <a:ext uri="{FF2B5EF4-FFF2-40B4-BE49-F238E27FC236}">
                    <a16:creationId xmlns:a16="http://schemas.microsoft.com/office/drawing/2014/main" id="{2E2C3B6E-51CD-8244-3D55-B8FBA1FF40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103" name="Graphic 165">
                <a:extLst>
                  <a:ext uri="{FF2B5EF4-FFF2-40B4-BE49-F238E27FC236}">
                    <a16:creationId xmlns:a16="http://schemas.microsoft.com/office/drawing/2014/main" id="{E8E50E99-E793-9010-E3E0-E0652EA752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104" name="Graphic 166">
                <a:extLst>
                  <a:ext uri="{FF2B5EF4-FFF2-40B4-BE49-F238E27FC236}">
                    <a16:creationId xmlns:a16="http://schemas.microsoft.com/office/drawing/2014/main" id="{225F5369-BBC5-6375-BFD3-9E176C8D52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105" name="Graphic 167">
                <a:extLst>
                  <a:ext uri="{FF2B5EF4-FFF2-40B4-BE49-F238E27FC236}">
                    <a16:creationId xmlns:a16="http://schemas.microsoft.com/office/drawing/2014/main" id="{C8C14156-3C7D-2259-3A96-8A324703D4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72" name="Group 34">
              <a:extLst>
                <a:ext uri="{FF2B5EF4-FFF2-40B4-BE49-F238E27FC236}">
                  <a16:creationId xmlns:a16="http://schemas.microsoft.com/office/drawing/2014/main" id="{2A65A89E-A119-060A-471D-2D29CCA1582A}"/>
                </a:ext>
              </a:extLst>
            </p:cNvPr>
            <p:cNvGrpSpPr/>
            <p:nvPr/>
          </p:nvGrpSpPr>
          <p:grpSpPr>
            <a:xfrm>
              <a:off x="666831" y="3801602"/>
              <a:ext cx="107097" cy="105792"/>
              <a:chOff x="5071590" y="2724817"/>
              <a:chExt cx="1901239" cy="1655213"/>
            </a:xfrm>
          </p:grpSpPr>
          <p:grpSp>
            <p:nvGrpSpPr>
              <p:cNvPr id="4059" name="Group 121">
                <a:extLst>
                  <a:ext uri="{FF2B5EF4-FFF2-40B4-BE49-F238E27FC236}">
                    <a16:creationId xmlns:a16="http://schemas.microsoft.com/office/drawing/2014/main" id="{074747B5-BEDC-B137-9EFB-46835BA6928C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064" name="Group 126">
                  <a:extLst>
                    <a:ext uri="{FF2B5EF4-FFF2-40B4-BE49-F238E27FC236}">
                      <a16:creationId xmlns:a16="http://schemas.microsoft.com/office/drawing/2014/main" id="{A7B244DF-C813-1723-AA5A-FA09453427E0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078" name="Oval 140">
                    <a:extLst>
                      <a:ext uri="{FF2B5EF4-FFF2-40B4-BE49-F238E27FC236}">
                        <a16:creationId xmlns:a16="http://schemas.microsoft.com/office/drawing/2014/main" id="{E2B6CD1A-6DE0-596B-0E4E-933D6538D2A5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079" name="Group 141">
                    <a:extLst>
                      <a:ext uri="{FF2B5EF4-FFF2-40B4-BE49-F238E27FC236}">
                        <a16:creationId xmlns:a16="http://schemas.microsoft.com/office/drawing/2014/main" id="{DD8B2BBD-B11F-F87C-A743-5D70CE55C0AA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080" name="Graphic 142">
                      <a:extLst>
                        <a:ext uri="{FF2B5EF4-FFF2-40B4-BE49-F238E27FC236}">
                          <a16:creationId xmlns:a16="http://schemas.microsoft.com/office/drawing/2014/main" id="{08064362-81C7-B4D1-627A-9177A5F5A8B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81" name="Graphic 143">
                      <a:extLst>
                        <a:ext uri="{FF2B5EF4-FFF2-40B4-BE49-F238E27FC236}">
                          <a16:creationId xmlns:a16="http://schemas.microsoft.com/office/drawing/2014/main" id="{62527DFF-7F92-51BE-141F-89B911103EC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82" name="Graphic 144">
                      <a:extLst>
                        <a:ext uri="{FF2B5EF4-FFF2-40B4-BE49-F238E27FC236}">
                          <a16:creationId xmlns:a16="http://schemas.microsoft.com/office/drawing/2014/main" id="{85434252-AB64-0CB5-6100-DCF3AEACB56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83" name="Graphic 145">
                      <a:extLst>
                        <a:ext uri="{FF2B5EF4-FFF2-40B4-BE49-F238E27FC236}">
                          <a16:creationId xmlns:a16="http://schemas.microsoft.com/office/drawing/2014/main" id="{950D4B36-26D6-7217-B017-3ADCD1EE5AA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84" name="Graphic 146">
                      <a:extLst>
                        <a:ext uri="{FF2B5EF4-FFF2-40B4-BE49-F238E27FC236}">
                          <a16:creationId xmlns:a16="http://schemas.microsoft.com/office/drawing/2014/main" id="{81C6D354-A998-5B71-E5A6-940C4597D07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85" name="Graphic 147">
                      <a:extLst>
                        <a:ext uri="{FF2B5EF4-FFF2-40B4-BE49-F238E27FC236}">
                          <a16:creationId xmlns:a16="http://schemas.microsoft.com/office/drawing/2014/main" id="{CDB4F03D-E3EC-0870-D5D3-552F16311C7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86" name="Graphic 148">
                      <a:extLst>
                        <a:ext uri="{FF2B5EF4-FFF2-40B4-BE49-F238E27FC236}">
                          <a16:creationId xmlns:a16="http://schemas.microsoft.com/office/drawing/2014/main" id="{E9D25691-FE19-500A-D106-502446DAEC5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87" name="Graphic 149">
                      <a:extLst>
                        <a:ext uri="{FF2B5EF4-FFF2-40B4-BE49-F238E27FC236}">
                          <a16:creationId xmlns:a16="http://schemas.microsoft.com/office/drawing/2014/main" id="{81E514BF-0B9F-23A3-81BB-43377454481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88" name="Graphic 150">
                      <a:extLst>
                        <a:ext uri="{FF2B5EF4-FFF2-40B4-BE49-F238E27FC236}">
                          <a16:creationId xmlns:a16="http://schemas.microsoft.com/office/drawing/2014/main" id="{1704D1EE-654E-4A5E-B83B-881C6EA4775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89" name="Graphic 151">
                      <a:extLst>
                        <a:ext uri="{FF2B5EF4-FFF2-40B4-BE49-F238E27FC236}">
                          <a16:creationId xmlns:a16="http://schemas.microsoft.com/office/drawing/2014/main" id="{B37A6CD0-9A68-92DB-F3E0-F737D1696D2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90" name="Graphic 152">
                      <a:extLst>
                        <a:ext uri="{FF2B5EF4-FFF2-40B4-BE49-F238E27FC236}">
                          <a16:creationId xmlns:a16="http://schemas.microsoft.com/office/drawing/2014/main" id="{ABF187FA-DFDF-8BDF-9292-AE4A94B5261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91" name="Graphic 153">
                      <a:extLst>
                        <a:ext uri="{FF2B5EF4-FFF2-40B4-BE49-F238E27FC236}">
                          <a16:creationId xmlns:a16="http://schemas.microsoft.com/office/drawing/2014/main" id="{3CD5AAC2-9186-DBBD-F86E-F73AC688ADA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92" name="Graphic 154">
                      <a:extLst>
                        <a:ext uri="{FF2B5EF4-FFF2-40B4-BE49-F238E27FC236}">
                          <a16:creationId xmlns:a16="http://schemas.microsoft.com/office/drawing/2014/main" id="{A4D097A5-3CB0-DBC5-E47A-E05CAD84FCB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93" name="Graphic 155">
                      <a:extLst>
                        <a:ext uri="{FF2B5EF4-FFF2-40B4-BE49-F238E27FC236}">
                          <a16:creationId xmlns:a16="http://schemas.microsoft.com/office/drawing/2014/main" id="{F661AAC9-D092-CF79-1282-6A4C541D682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94" name="Graphic 156">
                      <a:extLst>
                        <a:ext uri="{FF2B5EF4-FFF2-40B4-BE49-F238E27FC236}">
                          <a16:creationId xmlns:a16="http://schemas.microsoft.com/office/drawing/2014/main" id="{ABF55B46-D3CA-D457-835D-057AA447D0F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95" name="Graphic 157">
                      <a:extLst>
                        <a:ext uri="{FF2B5EF4-FFF2-40B4-BE49-F238E27FC236}">
                          <a16:creationId xmlns:a16="http://schemas.microsoft.com/office/drawing/2014/main" id="{691D1EAA-81F3-FA74-2A95-801D8A263C1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96" name="Graphic 158">
                      <a:extLst>
                        <a:ext uri="{FF2B5EF4-FFF2-40B4-BE49-F238E27FC236}">
                          <a16:creationId xmlns:a16="http://schemas.microsoft.com/office/drawing/2014/main" id="{1E685717-8809-54B0-C539-DF9A2FC1804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97" name="Graphic 159">
                      <a:extLst>
                        <a:ext uri="{FF2B5EF4-FFF2-40B4-BE49-F238E27FC236}">
                          <a16:creationId xmlns:a16="http://schemas.microsoft.com/office/drawing/2014/main" id="{A2BD64DE-3A69-0BCF-F120-DCA36D81D4A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98" name="Graphic 160">
                      <a:extLst>
                        <a:ext uri="{FF2B5EF4-FFF2-40B4-BE49-F238E27FC236}">
                          <a16:creationId xmlns:a16="http://schemas.microsoft.com/office/drawing/2014/main" id="{07811DE9-BA87-931C-4E27-9DDF4057308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99" name="Graphic 161">
                      <a:extLst>
                        <a:ext uri="{FF2B5EF4-FFF2-40B4-BE49-F238E27FC236}">
                          <a16:creationId xmlns:a16="http://schemas.microsoft.com/office/drawing/2014/main" id="{7C4B18EB-2AA6-CA1B-CF80-76899C8C63F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00" name="Graphic 162">
                      <a:extLst>
                        <a:ext uri="{FF2B5EF4-FFF2-40B4-BE49-F238E27FC236}">
                          <a16:creationId xmlns:a16="http://schemas.microsoft.com/office/drawing/2014/main" id="{C3484032-34C4-3BB7-248B-F4A2634212A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065" name="Graphic 127">
                  <a:extLst>
                    <a:ext uri="{FF2B5EF4-FFF2-40B4-BE49-F238E27FC236}">
                      <a16:creationId xmlns:a16="http://schemas.microsoft.com/office/drawing/2014/main" id="{E4547A8E-534E-8487-37AF-54E70AC58BD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66" name="Graphic 128">
                  <a:extLst>
                    <a:ext uri="{FF2B5EF4-FFF2-40B4-BE49-F238E27FC236}">
                      <a16:creationId xmlns:a16="http://schemas.microsoft.com/office/drawing/2014/main" id="{EEC4EDEC-0E24-2422-D3A1-DE12D1AF04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67" name="Graphic 129">
                  <a:extLst>
                    <a:ext uri="{FF2B5EF4-FFF2-40B4-BE49-F238E27FC236}">
                      <a16:creationId xmlns:a16="http://schemas.microsoft.com/office/drawing/2014/main" id="{C21FAC6C-BE48-9275-2DED-232C8E3DB2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68" name="Graphic 130">
                  <a:extLst>
                    <a:ext uri="{FF2B5EF4-FFF2-40B4-BE49-F238E27FC236}">
                      <a16:creationId xmlns:a16="http://schemas.microsoft.com/office/drawing/2014/main" id="{584D9067-E47B-FCFD-7C31-EC8EDA2836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069" name="Graphic 131">
                  <a:extLst>
                    <a:ext uri="{FF2B5EF4-FFF2-40B4-BE49-F238E27FC236}">
                      <a16:creationId xmlns:a16="http://schemas.microsoft.com/office/drawing/2014/main" id="{2917C347-F5B7-B9E6-ED4B-5C1750D42C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70" name="Graphic 132">
                  <a:extLst>
                    <a:ext uri="{FF2B5EF4-FFF2-40B4-BE49-F238E27FC236}">
                      <a16:creationId xmlns:a16="http://schemas.microsoft.com/office/drawing/2014/main" id="{56AD3974-E115-57CF-3C00-529B372493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071" name="Graphic 133">
                  <a:extLst>
                    <a:ext uri="{FF2B5EF4-FFF2-40B4-BE49-F238E27FC236}">
                      <a16:creationId xmlns:a16="http://schemas.microsoft.com/office/drawing/2014/main" id="{838D0477-E186-64FF-0523-5E60DD4EBFB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72" name="Graphic 134">
                  <a:extLst>
                    <a:ext uri="{FF2B5EF4-FFF2-40B4-BE49-F238E27FC236}">
                      <a16:creationId xmlns:a16="http://schemas.microsoft.com/office/drawing/2014/main" id="{2E49CDF8-3462-7D82-3805-90B7234911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73" name="Graphic 135">
                  <a:extLst>
                    <a:ext uri="{FF2B5EF4-FFF2-40B4-BE49-F238E27FC236}">
                      <a16:creationId xmlns:a16="http://schemas.microsoft.com/office/drawing/2014/main" id="{9A910CC8-B107-9CF3-1370-26DF457803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74" name="Graphic 136">
                  <a:extLst>
                    <a:ext uri="{FF2B5EF4-FFF2-40B4-BE49-F238E27FC236}">
                      <a16:creationId xmlns:a16="http://schemas.microsoft.com/office/drawing/2014/main" id="{0423071E-39D4-D560-4E90-C91B1294EED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75" name="Graphic 137">
                  <a:extLst>
                    <a:ext uri="{FF2B5EF4-FFF2-40B4-BE49-F238E27FC236}">
                      <a16:creationId xmlns:a16="http://schemas.microsoft.com/office/drawing/2014/main" id="{2EC6CFFB-7384-4BAD-729F-31861CAE35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76" name="Graphic 138">
                  <a:extLst>
                    <a:ext uri="{FF2B5EF4-FFF2-40B4-BE49-F238E27FC236}">
                      <a16:creationId xmlns:a16="http://schemas.microsoft.com/office/drawing/2014/main" id="{39865B4A-0977-8F3C-3368-85D646D61EE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77" name="Graphic 139">
                  <a:extLst>
                    <a:ext uri="{FF2B5EF4-FFF2-40B4-BE49-F238E27FC236}">
                      <a16:creationId xmlns:a16="http://schemas.microsoft.com/office/drawing/2014/main" id="{46D02A3B-F4AF-A5E2-DB10-7314FD4B998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060" name="Graphic 122">
                <a:extLst>
                  <a:ext uri="{FF2B5EF4-FFF2-40B4-BE49-F238E27FC236}">
                    <a16:creationId xmlns:a16="http://schemas.microsoft.com/office/drawing/2014/main" id="{979E0A96-6BE1-69CC-128E-85F43DBB63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061" name="Graphic 123">
                <a:extLst>
                  <a:ext uri="{FF2B5EF4-FFF2-40B4-BE49-F238E27FC236}">
                    <a16:creationId xmlns:a16="http://schemas.microsoft.com/office/drawing/2014/main" id="{0C613280-94F8-8F2D-9898-59693A2746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062" name="Graphic 124">
                <a:extLst>
                  <a:ext uri="{FF2B5EF4-FFF2-40B4-BE49-F238E27FC236}">
                    <a16:creationId xmlns:a16="http://schemas.microsoft.com/office/drawing/2014/main" id="{D3C71E0D-3121-6FB4-8925-6939B01694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063" name="Graphic 125">
                <a:extLst>
                  <a:ext uri="{FF2B5EF4-FFF2-40B4-BE49-F238E27FC236}">
                    <a16:creationId xmlns:a16="http://schemas.microsoft.com/office/drawing/2014/main" id="{5A0EA43B-1563-CB81-3058-31BCDC8864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73" name="Group 35">
              <a:extLst>
                <a:ext uri="{FF2B5EF4-FFF2-40B4-BE49-F238E27FC236}">
                  <a16:creationId xmlns:a16="http://schemas.microsoft.com/office/drawing/2014/main" id="{D1B53FCE-871F-F372-2747-A2FF38B9674A}"/>
                </a:ext>
              </a:extLst>
            </p:cNvPr>
            <p:cNvGrpSpPr/>
            <p:nvPr/>
          </p:nvGrpSpPr>
          <p:grpSpPr>
            <a:xfrm>
              <a:off x="543560" y="3946386"/>
              <a:ext cx="87316" cy="86252"/>
              <a:chOff x="5071590" y="2724817"/>
              <a:chExt cx="1901239" cy="1655213"/>
            </a:xfrm>
          </p:grpSpPr>
          <p:grpSp>
            <p:nvGrpSpPr>
              <p:cNvPr id="4017" name="Group 79">
                <a:extLst>
                  <a:ext uri="{FF2B5EF4-FFF2-40B4-BE49-F238E27FC236}">
                    <a16:creationId xmlns:a16="http://schemas.microsoft.com/office/drawing/2014/main" id="{60B0E712-3DF1-A490-D600-F82BE55D2137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4022" name="Group 84">
                  <a:extLst>
                    <a:ext uri="{FF2B5EF4-FFF2-40B4-BE49-F238E27FC236}">
                      <a16:creationId xmlns:a16="http://schemas.microsoft.com/office/drawing/2014/main" id="{410237EE-9BD2-A544-392B-341D9F068D21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4036" name="Oval 98">
                    <a:extLst>
                      <a:ext uri="{FF2B5EF4-FFF2-40B4-BE49-F238E27FC236}">
                        <a16:creationId xmlns:a16="http://schemas.microsoft.com/office/drawing/2014/main" id="{F2D62793-E3A8-8AEA-F5A5-0F11AC17DB35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037" name="Group 99">
                    <a:extLst>
                      <a:ext uri="{FF2B5EF4-FFF2-40B4-BE49-F238E27FC236}">
                        <a16:creationId xmlns:a16="http://schemas.microsoft.com/office/drawing/2014/main" id="{B785A2AE-1859-A95E-75D5-70C38AE14983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4038" name="Graphic 100">
                      <a:extLst>
                        <a:ext uri="{FF2B5EF4-FFF2-40B4-BE49-F238E27FC236}">
                          <a16:creationId xmlns:a16="http://schemas.microsoft.com/office/drawing/2014/main" id="{84D1E2DC-F87E-268C-E157-2BBA7CAA6E5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39" name="Graphic 101">
                      <a:extLst>
                        <a:ext uri="{FF2B5EF4-FFF2-40B4-BE49-F238E27FC236}">
                          <a16:creationId xmlns:a16="http://schemas.microsoft.com/office/drawing/2014/main" id="{8EF52635-163F-6F05-0411-D5C4CFCDE8D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40" name="Graphic 102">
                      <a:extLst>
                        <a:ext uri="{FF2B5EF4-FFF2-40B4-BE49-F238E27FC236}">
                          <a16:creationId xmlns:a16="http://schemas.microsoft.com/office/drawing/2014/main" id="{6A82C71A-0B45-BE7B-3B60-36A3A51A78D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41" name="Graphic 103">
                      <a:extLst>
                        <a:ext uri="{FF2B5EF4-FFF2-40B4-BE49-F238E27FC236}">
                          <a16:creationId xmlns:a16="http://schemas.microsoft.com/office/drawing/2014/main" id="{A2301855-EE39-F324-E0AF-1F50468F567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42" name="Graphic 104">
                      <a:extLst>
                        <a:ext uri="{FF2B5EF4-FFF2-40B4-BE49-F238E27FC236}">
                          <a16:creationId xmlns:a16="http://schemas.microsoft.com/office/drawing/2014/main" id="{7ED19938-EF79-D51B-25F7-26695BE61B9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43" name="Graphic 105">
                      <a:extLst>
                        <a:ext uri="{FF2B5EF4-FFF2-40B4-BE49-F238E27FC236}">
                          <a16:creationId xmlns:a16="http://schemas.microsoft.com/office/drawing/2014/main" id="{B7D790CA-6B66-7C3D-4727-20B1B1F4BC9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44" name="Graphic 106">
                      <a:extLst>
                        <a:ext uri="{FF2B5EF4-FFF2-40B4-BE49-F238E27FC236}">
                          <a16:creationId xmlns:a16="http://schemas.microsoft.com/office/drawing/2014/main" id="{DFD4EE02-EAD2-0B6A-3448-5FEF74E7243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45" name="Graphic 107">
                      <a:extLst>
                        <a:ext uri="{FF2B5EF4-FFF2-40B4-BE49-F238E27FC236}">
                          <a16:creationId xmlns:a16="http://schemas.microsoft.com/office/drawing/2014/main" id="{C65070A5-F6CF-C2BB-C7D2-CF4D4D58743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46" name="Graphic 108">
                      <a:extLst>
                        <a:ext uri="{FF2B5EF4-FFF2-40B4-BE49-F238E27FC236}">
                          <a16:creationId xmlns:a16="http://schemas.microsoft.com/office/drawing/2014/main" id="{98080093-D74F-F9E3-63A1-79B212105E3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47" name="Graphic 109">
                      <a:extLst>
                        <a:ext uri="{FF2B5EF4-FFF2-40B4-BE49-F238E27FC236}">
                          <a16:creationId xmlns:a16="http://schemas.microsoft.com/office/drawing/2014/main" id="{38AF6747-84EF-22E6-4DB2-C7A96718DF1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48" name="Graphic 110">
                      <a:extLst>
                        <a:ext uri="{FF2B5EF4-FFF2-40B4-BE49-F238E27FC236}">
                          <a16:creationId xmlns:a16="http://schemas.microsoft.com/office/drawing/2014/main" id="{85C3698E-706C-BFE4-E307-FF07030A93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49" name="Graphic 111">
                      <a:extLst>
                        <a:ext uri="{FF2B5EF4-FFF2-40B4-BE49-F238E27FC236}">
                          <a16:creationId xmlns:a16="http://schemas.microsoft.com/office/drawing/2014/main" id="{05797015-B366-A77C-84EB-8734106F744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50" name="Graphic 112">
                      <a:extLst>
                        <a:ext uri="{FF2B5EF4-FFF2-40B4-BE49-F238E27FC236}">
                          <a16:creationId xmlns:a16="http://schemas.microsoft.com/office/drawing/2014/main" id="{B6012FF9-7106-2B26-385E-CFFDB734AB8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51" name="Graphic 113">
                      <a:extLst>
                        <a:ext uri="{FF2B5EF4-FFF2-40B4-BE49-F238E27FC236}">
                          <a16:creationId xmlns:a16="http://schemas.microsoft.com/office/drawing/2014/main" id="{BB1139FD-604A-36EC-4590-7D3D6ABECF8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52" name="Graphic 114">
                      <a:extLst>
                        <a:ext uri="{FF2B5EF4-FFF2-40B4-BE49-F238E27FC236}">
                          <a16:creationId xmlns:a16="http://schemas.microsoft.com/office/drawing/2014/main" id="{9203AD2C-2210-AD6F-F842-1A7D294F473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53" name="Graphic 115">
                      <a:extLst>
                        <a:ext uri="{FF2B5EF4-FFF2-40B4-BE49-F238E27FC236}">
                          <a16:creationId xmlns:a16="http://schemas.microsoft.com/office/drawing/2014/main" id="{37766B8A-A9C3-25F9-9A9B-30CEF5EB973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54" name="Graphic 116">
                      <a:extLst>
                        <a:ext uri="{FF2B5EF4-FFF2-40B4-BE49-F238E27FC236}">
                          <a16:creationId xmlns:a16="http://schemas.microsoft.com/office/drawing/2014/main" id="{217827BD-588E-6D73-ACB7-01CD1636EFF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55" name="Graphic 117">
                      <a:extLst>
                        <a:ext uri="{FF2B5EF4-FFF2-40B4-BE49-F238E27FC236}">
                          <a16:creationId xmlns:a16="http://schemas.microsoft.com/office/drawing/2014/main" id="{C57D97C9-AE50-CEAB-B6F6-380C017EDC6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56" name="Graphic 118">
                      <a:extLst>
                        <a:ext uri="{FF2B5EF4-FFF2-40B4-BE49-F238E27FC236}">
                          <a16:creationId xmlns:a16="http://schemas.microsoft.com/office/drawing/2014/main" id="{B68AB906-2A52-1906-7722-617DA7CDD2D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57" name="Graphic 119">
                      <a:extLst>
                        <a:ext uri="{FF2B5EF4-FFF2-40B4-BE49-F238E27FC236}">
                          <a16:creationId xmlns:a16="http://schemas.microsoft.com/office/drawing/2014/main" id="{6FA2157C-45C5-62F6-8B62-4E1C582916A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58" name="Graphic 120">
                      <a:extLst>
                        <a:ext uri="{FF2B5EF4-FFF2-40B4-BE49-F238E27FC236}">
                          <a16:creationId xmlns:a16="http://schemas.microsoft.com/office/drawing/2014/main" id="{0BF41A44-A922-4815-1C5E-F70A023DBF8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023" name="Graphic 85">
                  <a:extLst>
                    <a:ext uri="{FF2B5EF4-FFF2-40B4-BE49-F238E27FC236}">
                      <a16:creationId xmlns:a16="http://schemas.microsoft.com/office/drawing/2014/main" id="{5C5CDF12-FFCE-7C60-8F2F-1D39D3493C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24" name="Graphic 86">
                  <a:extLst>
                    <a:ext uri="{FF2B5EF4-FFF2-40B4-BE49-F238E27FC236}">
                      <a16:creationId xmlns:a16="http://schemas.microsoft.com/office/drawing/2014/main" id="{49C94A3B-E343-BDE8-A277-7AB9707D617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25" name="Graphic 87">
                  <a:extLst>
                    <a:ext uri="{FF2B5EF4-FFF2-40B4-BE49-F238E27FC236}">
                      <a16:creationId xmlns:a16="http://schemas.microsoft.com/office/drawing/2014/main" id="{F4AFD10D-0F54-CA32-4F6F-CD13B748EB0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26" name="Graphic 88">
                  <a:extLst>
                    <a:ext uri="{FF2B5EF4-FFF2-40B4-BE49-F238E27FC236}">
                      <a16:creationId xmlns:a16="http://schemas.microsoft.com/office/drawing/2014/main" id="{5441D0C9-B3B4-7C1D-2D73-F7B1D389A3B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4027" name="Graphic 89">
                  <a:extLst>
                    <a:ext uri="{FF2B5EF4-FFF2-40B4-BE49-F238E27FC236}">
                      <a16:creationId xmlns:a16="http://schemas.microsoft.com/office/drawing/2014/main" id="{DC23843B-7A1A-D47D-F55A-445A9D1F2D4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28" name="Graphic 90">
                  <a:extLst>
                    <a:ext uri="{FF2B5EF4-FFF2-40B4-BE49-F238E27FC236}">
                      <a16:creationId xmlns:a16="http://schemas.microsoft.com/office/drawing/2014/main" id="{F1D44313-DC17-7C92-2AFD-B000E98F1C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4029" name="Graphic 91">
                  <a:extLst>
                    <a:ext uri="{FF2B5EF4-FFF2-40B4-BE49-F238E27FC236}">
                      <a16:creationId xmlns:a16="http://schemas.microsoft.com/office/drawing/2014/main" id="{FF6EA6F3-55B9-36BC-A022-5A9EA0B836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30" name="Graphic 92">
                  <a:extLst>
                    <a:ext uri="{FF2B5EF4-FFF2-40B4-BE49-F238E27FC236}">
                      <a16:creationId xmlns:a16="http://schemas.microsoft.com/office/drawing/2014/main" id="{0750978D-911E-E41B-B6C7-D05571B365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31" name="Graphic 93">
                  <a:extLst>
                    <a:ext uri="{FF2B5EF4-FFF2-40B4-BE49-F238E27FC236}">
                      <a16:creationId xmlns:a16="http://schemas.microsoft.com/office/drawing/2014/main" id="{1FD2787D-2C1A-5AA6-740E-A30D6F415F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32" name="Graphic 94">
                  <a:extLst>
                    <a:ext uri="{FF2B5EF4-FFF2-40B4-BE49-F238E27FC236}">
                      <a16:creationId xmlns:a16="http://schemas.microsoft.com/office/drawing/2014/main" id="{9B3EF3EC-A84A-B485-647C-C85BA4EA29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33" name="Graphic 95">
                  <a:extLst>
                    <a:ext uri="{FF2B5EF4-FFF2-40B4-BE49-F238E27FC236}">
                      <a16:creationId xmlns:a16="http://schemas.microsoft.com/office/drawing/2014/main" id="{A62D74CD-C401-45C5-1169-1DD013478B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34" name="Graphic 96">
                  <a:extLst>
                    <a:ext uri="{FF2B5EF4-FFF2-40B4-BE49-F238E27FC236}">
                      <a16:creationId xmlns:a16="http://schemas.microsoft.com/office/drawing/2014/main" id="{452101BB-1FD4-B312-D6B0-5F96436B92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35" name="Graphic 97">
                  <a:extLst>
                    <a:ext uri="{FF2B5EF4-FFF2-40B4-BE49-F238E27FC236}">
                      <a16:creationId xmlns:a16="http://schemas.microsoft.com/office/drawing/2014/main" id="{5CA9A847-B1DF-C238-BA4D-A17BF387F0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4018" name="Graphic 80">
                <a:extLst>
                  <a:ext uri="{FF2B5EF4-FFF2-40B4-BE49-F238E27FC236}">
                    <a16:creationId xmlns:a16="http://schemas.microsoft.com/office/drawing/2014/main" id="{26A4F5FB-922F-7117-3232-D5F044822C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019" name="Graphic 81">
                <a:extLst>
                  <a:ext uri="{FF2B5EF4-FFF2-40B4-BE49-F238E27FC236}">
                    <a16:creationId xmlns:a16="http://schemas.microsoft.com/office/drawing/2014/main" id="{59B7F10D-F485-05F2-F1F5-CADB668874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020" name="Graphic 82">
                <a:extLst>
                  <a:ext uri="{FF2B5EF4-FFF2-40B4-BE49-F238E27FC236}">
                    <a16:creationId xmlns:a16="http://schemas.microsoft.com/office/drawing/2014/main" id="{59D777CE-6FB4-1F4D-59FF-1FEB049877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4021" name="Graphic 83">
                <a:extLst>
                  <a:ext uri="{FF2B5EF4-FFF2-40B4-BE49-F238E27FC236}">
                    <a16:creationId xmlns:a16="http://schemas.microsoft.com/office/drawing/2014/main" id="{4D9B7ED7-C02E-0EA1-FC41-1CCDED4D01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3974" name="Group 36">
              <a:extLst>
                <a:ext uri="{FF2B5EF4-FFF2-40B4-BE49-F238E27FC236}">
                  <a16:creationId xmlns:a16="http://schemas.microsoft.com/office/drawing/2014/main" id="{490117E5-435F-66E1-0524-4B8F789ED4AB}"/>
                </a:ext>
              </a:extLst>
            </p:cNvPr>
            <p:cNvGrpSpPr/>
            <p:nvPr/>
          </p:nvGrpSpPr>
          <p:grpSpPr>
            <a:xfrm>
              <a:off x="431999" y="4061989"/>
              <a:ext cx="87316" cy="86252"/>
              <a:chOff x="5071590" y="2724817"/>
              <a:chExt cx="1901239" cy="1655213"/>
            </a:xfrm>
          </p:grpSpPr>
          <p:grpSp>
            <p:nvGrpSpPr>
              <p:cNvPr id="3975" name="Group 37">
                <a:extLst>
                  <a:ext uri="{FF2B5EF4-FFF2-40B4-BE49-F238E27FC236}">
                    <a16:creationId xmlns:a16="http://schemas.microsoft.com/office/drawing/2014/main" id="{472ECB9C-13AA-7EF9-D1B3-2EAF9AA218E2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980" name="Group 42">
                  <a:extLst>
                    <a:ext uri="{FF2B5EF4-FFF2-40B4-BE49-F238E27FC236}">
                      <a16:creationId xmlns:a16="http://schemas.microsoft.com/office/drawing/2014/main" id="{27107EC4-01F3-BFEB-B7DE-568F396D5764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994" name="Oval 56">
                    <a:extLst>
                      <a:ext uri="{FF2B5EF4-FFF2-40B4-BE49-F238E27FC236}">
                        <a16:creationId xmlns:a16="http://schemas.microsoft.com/office/drawing/2014/main" id="{446AEA2D-8297-18A1-64C6-96EB4447218E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cap="flat" cmpd="sng" algn="ctr">
                    <a:solidFill>
                      <a:srgbClr val="7967BE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355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Calibri" panose="020F0502020204030204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995" name="Group 57">
                    <a:extLst>
                      <a:ext uri="{FF2B5EF4-FFF2-40B4-BE49-F238E27FC236}">
                        <a16:creationId xmlns:a16="http://schemas.microsoft.com/office/drawing/2014/main" id="{CB0D233B-407A-FBD5-CF63-A8B94E962B9A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4" y="3499461"/>
                    <a:ext cx="776734" cy="632248"/>
                    <a:chOff x="6556107" y="1328513"/>
                    <a:chExt cx="4136389" cy="3366966"/>
                  </a:xfrm>
                </p:grpSpPr>
                <p:pic>
                  <p:nvPicPr>
                    <p:cNvPr id="3996" name="Graphic 58">
                      <a:extLst>
                        <a:ext uri="{FF2B5EF4-FFF2-40B4-BE49-F238E27FC236}">
                          <a16:creationId xmlns:a16="http://schemas.microsoft.com/office/drawing/2014/main" id="{8ED3F8E7-4712-542C-E78F-24B47E65469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997" name="Graphic 59">
                      <a:extLst>
                        <a:ext uri="{FF2B5EF4-FFF2-40B4-BE49-F238E27FC236}">
                          <a16:creationId xmlns:a16="http://schemas.microsoft.com/office/drawing/2014/main" id="{139C7F48-9698-5CBF-7AC9-53BBCF3188A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998" name="Graphic 60">
                      <a:extLst>
                        <a:ext uri="{FF2B5EF4-FFF2-40B4-BE49-F238E27FC236}">
                          <a16:creationId xmlns:a16="http://schemas.microsoft.com/office/drawing/2014/main" id="{B769754C-E5F1-2226-905F-707F5F9B5A3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999" name="Graphic 61">
                      <a:extLst>
                        <a:ext uri="{FF2B5EF4-FFF2-40B4-BE49-F238E27FC236}">
                          <a16:creationId xmlns:a16="http://schemas.microsoft.com/office/drawing/2014/main" id="{07C7F99D-DCFB-30F9-E97E-37ACFE3F374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00" name="Graphic 62">
                      <a:extLst>
                        <a:ext uri="{FF2B5EF4-FFF2-40B4-BE49-F238E27FC236}">
                          <a16:creationId xmlns:a16="http://schemas.microsoft.com/office/drawing/2014/main" id="{5164E551-192A-12B2-F285-2816BCE7C4A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01" name="Graphic 63">
                      <a:extLst>
                        <a:ext uri="{FF2B5EF4-FFF2-40B4-BE49-F238E27FC236}">
                          <a16:creationId xmlns:a16="http://schemas.microsoft.com/office/drawing/2014/main" id="{484DD756-3982-E096-8433-7AD0707E8D4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02" name="Graphic 64">
                      <a:extLst>
                        <a:ext uri="{FF2B5EF4-FFF2-40B4-BE49-F238E27FC236}">
                          <a16:creationId xmlns:a16="http://schemas.microsoft.com/office/drawing/2014/main" id="{03515B0C-3CB9-78EE-19F4-7A0D1FB7FD4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03" name="Graphic 65">
                      <a:extLst>
                        <a:ext uri="{FF2B5EF4-FFF2-40B4-BE49-F238E27FC236}">
                          <a16:creationId xmlns:a16="http://schemas.microsoft.com/office/drawing/2014/main" id="{A32FEB7A-0A71-B426-D894-0C42A4462FA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04" name="Graphic 66">
                      <a:extLst>
                        <a:ext uri="{FF2B5EF4-FFF2-40B4-BE49-F238E27FC236}">
                          <a16:creationId xmlns:a16="http://schemas.microsoft.com/office/drawing/2014/main" id="{61943D08-ECB8-651E-9BCF-F88511D73AE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05" name="Graphic 67">
                      <a:extLst>
                        <a:ext uri="{FF2B5EF4-FFF2-40B4-BE49-F238E27FC236}">
                          <a16:creationId xmlns:a16="http://schemas.microsoft.com/office/drawing/2014/main" id="{22A42B6C-5151-E465-B724-6BC016837ED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06" name="Graphic 68">
                      <a:extLst>
                        <a:ext uri="{FF2B5EF4-FFF2-40B4-BE49-F238E27FC236}">
                          <a16:creationId xmlns:a16="http://schemas.microsoft.com/office/drawing/2014/main" id="{29053639-C5AC-7A2D-9AFF-8DE6DF18552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07" name="Graphic 69">
                      <a:extLst>
                        <a:ext uri="{FF2B5EF4-FFF2-40B4-BE49-F238E27FC236}">
                          <a16:creationId xmlns:a16="http://schemas.microsoft.com/office/drawing/2014/main" id="{BB795C03-20B7-DB80-FEE8-9E83A7B93F5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08" name="Graphic 70">
                      <a:extLst>
                        <a:ext uri="{FF2B5EF4-FFF2-40B4-BE49-F238E27FC236}">
                          <a16:creationId xmlns:a16="http://schemas.microsoft.com/office/drawing/2014/main" id="{6106B1A0-2697-5EB5-4F5F-45F24446479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09" name="Graphic 71">
                      <a:extLst>
                        <a:ext uri="{FF2B5EF4-FFF2-40B4-BE49-F238E27FC236}">
                          <a16:creationId xmlns:a16="http://schemas.microsoft.com/office/drawing/2014/main" id="{BB4CEBD7-706A-F792-29BA-1ECC11B8937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10" name="Graphic 72">
                      <a:extLst>
                        <a:ext uri="{FF2B5EF4-FFF2-40B4-BE49-F238E27FC236}">
                          <a16:creationId xmlns:a16="http://schemas.microsoft.com/office/drawing/2014/main" id="{2C0F2E04-252C-23A6-E420-A04E6FA07C3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11" name="Graphic 73">
                      <a:extLst>
                        <a:ext uri="{FF2B5EF4-FFF2-40B4-BE49-F238E27FC236}">
                          <a16:creationId xmlns:a16="http://schemas.microsoft.com/office/drawing/2014/main" id="{20A289CF-DD65-C249-3088-F1E78B8ABF6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12" name="Graphic 74">
                      <a:extLst>
                        <a:ext uri="{FF2B5EF4-FFF2-40B4-BE49-F238E27FC236}">
                          <a16:creationId xmlns:a16="http://schemas.microsoft.com/office/drawing/2014/main" id="{3EDDE8A5-05F4-27A1-767C-1BD24217FD9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13" name="Graphic 75">
                      <a:extLst>
                        <a:ext uri="{FF2B5EF4-FFF2-40B4-BE49-F238E27FC236}">
                          <a16:creationId xmlns:a16="http://schemas.microsoft.com/office/drawing/2014/main" id="{EB90627C-2FFA-B873-E889-730963FE067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14" name="Graphic 76">
                      <a:extLst>
                        <a:ext uri="{FF2B5EF4-FFF2-40B4-BE49-F238E27FC236}">
                          <a16:creationId xmlns:a16="http://schemas.microsoft.com/office/drawing/2014/main" id="{FCDAC73C-B79C-F776-917A-DC10B771631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15" name="Graphic 77">
                      <a:extLst>
                        <a:ext uri="{FF2B5EF4-FFF2-40B4-BE49-F238E27FC236}">
                          <a16:creationId xmlns:a16="http://schemas.microsoft.com/office/drawing/2014/main" id="{C53854DF-BD7F-DB35-A907-9DFA6EDA959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16" name="Graphic 78">
                      <a:extLst>
                        <a:ext uri="{FF2B5EF4-FFF2-40B4-BE49-F238E27FC236}">
                          <a16:creationId xmlns:a16="http://schemas.microsoft.com/office/drawing/2014/main" id="{8D0A3ECA-2C9F-278E-EEFD-16D20BFCE42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981" name="Graphic 43">
                  <a:extLst>
                    <a:ext uri="{FF2B5EF4-FFF2-40B4-BE49-F238E27FC236}">
                      <a16:creationId xmlns:a16="http://schemas.microsoft.com/office/drawing/2014/main" id="{13936273-21C1-2C80-3E1E-165F2D048FB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82" name="Graphic 44">
                  <a:extLst>
                    <a:ext uri="{FF2B5EF4-FFF2-40B4-BE49-F238E27FC236}">
                      <a16:creationId xmlns:a16="http://schemas.microsoft.com/office/drawing/2014/main" id="{22F4F380-BA09-AF83-11C6-5772927E9BE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83" name="Graphic 45">
                  <a:extLst>
                    <a:ext uri="{FF2B5EF4-FFF2-40B4-BE49-F238E27FC236}">
                      <a16:creationId xmlns:a16="http://schemas.microsoft.com/office/drawing/2014/main" id="{F3850B74-D32B-082F-4AC2-3D9CADEAAE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84" name="Graphic 46">
                  <a:extLst>
                    <a:ext uri="{FF2B5EF4-FFF2-40B4-BE49-F238E27FC236}">
                      <a16:creationId xmlns:a16="http://schemas.microsoft.com/office/drawing/2014/main" id="{1EAE1106-13EE-D753-CABC-D0D05022C5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985" name="Graphic 47">
                  <a:extLst>
                    <a:ext uri="{FF2B5EF4-FFF2-40B4-BE49-F238E27FC236}">
                      <a16:creationId xmlns:a16="http://schemas.microsoft.com/office/drawing/2014/main" id="{FA79FC22-A092-C5C1-BC15-23C1610792B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86" name="Graphic 48">
                  <a:extLst>
                    <a:ext uri="{FF2B5EF4-FFF2-40B4-BE49-F238E27FC236}">
                      <a16:creationId xmlns:a16="http://schemas.microsoft.com/office/drawing/2014/main" id="{89229813-254A-7B01-CD4E-34D2EF9ABC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987" name="Graphic 49">
                  <a:extLst>
                    <a:ext uri="{FF2B5EF4-FFF2-40B4-BE49-F238E27FC236}">
                      <a16:creationId xmlns:a16="http://schemas.microsoft.com/office/drawing/2014/main" id="{2D6027F4-3BA4-A6F3-077D-FAE3340268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88" name="Graphic 50">
                  <a:extLst>
                    <a:ext uri="{FF2B5EF4-FFF2-40B4-BE49-F238E27FC236}">
                      <a16:creationId xmlns:a16="http://schemas.microsoft.com/office/drawing/2014/main" id="{1D40CA02-B56C-4E63-E42C-E5DF0A5A6E8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89" name="Graphic 51">
                  <a:extLst>
                    <a:ext uri="{FF2B5EF4-FFF2-40B4-BE49-F238E27FC236}">
                      <a16:creationId xmlns:a16="http://schemas.microsoft.com/office/drawing/2014/main" id="{90754B88-148D-809B-A487-5D3AA12D02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90" name="Graphic 52">
                  <a:extLst>
                    <a:ext uri="{FF2B5EF4-FFF2-40B4-BE49-F238E27FC236}">
                      <a16:creationId xmlns:a16="http://schemas.microsoft.com/office/drawing/2014/main" id="{C9E0251D-06EA-22A8-E5D7-31D6584C76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91" name="Graphic 53">
                  <a:extLst>
                    <a:ext uri="{FF2B5EF4-FFF2-40B4-BE49-F238E27FC236}">
                      <a16:creationId xmlns:a16="http://schemas.microsoft.com/office/drawing/2014/main" id="{74D13A99-42E1-DBD5-C476-AEE86E226B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92" name="Graphic 54">
                  <a:extLst>
                    <a:ext uri="{FF2B5EF4-FFF2-40B4-BE49-F238E27FC236}">
                      <a16:creationId xmlns:a16="http://schemas.microsoft.com/office/drawing/2014/main" id="{A55D8BCD-46D4-0654-8AD1-48B418524A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93" name="Graphic 55">
                  <a:extLst>
                    <a:ext uri="{FF2B5EF4-FFF2-40B4-BE49-F238E27FC236}">
                      <a16:creationId xmlns:a16="http://schemas.microsoft.com/office/drawing/2014/main" id="{DDE6DAD0-9581-F28E-1063-490D46F915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976" name="Graphic 38">
                <a:extLst>
                  <a:ext uri="{FF2B5EF4-FFF2-40B4-BE49-F238E27FC236}">
                    <a16:creationId xmlns:a16="http://schemas.microsoft.com/office/drawing/2014/main" id="{2A9A943F-9DCA-1846-DAD8-D1B5DC645F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977" name="Graphic 39">
                <a:extLst>
                  <a:ext uri="{FF2B5EF4-FFF2-40B4-BE49-F238E27FC236}">
                    <a16:creationId xmlns:a16="http://schemas.microsoft.com/office/drawing/2014/main" id="{EDC75334-E752-9606-5E6B-E67D16DAA4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978" name="Graphic 40">
                <a:extLst>
                  <a:ext uri="{FF2B5EF4-FFF2-40B4-BE49-F238E27FC236}">
                    <a16:creationId xmlns:a16="http://schemas.microsoft.com/office/drawing/2014/main" id="{B2E633A3-AEDD-19B0-1DDF-C58D33B768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979" name="Graphic 41">
                <a:extLst>
                  <a:ext uri="{FF2B5EF4-FFF2-40B4-BE49-F238E27FC236}">
                    <a16:creationId xmlns:a16="http://schemas.microsoft.com/office/drawing/2014/main" id="{036B90A2-CAFF-9371-AAFD-1268CD0F3C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</p:grpSp>
      <p:sp>
        <p:nvSpPr>
          <p:cNvPr id="5151" name="Freeform 19">
            <a:extLst>
              <a:ext uri="{FF2B5EF4-FFF2-40B4-BE49-F238E27FC236}">
                <a16:creationId xmlns:a16="http://schemas.microsoft.com/office/drawing/2014/main" id="{87644BDD-D219-BDDC-0423-456EC5C8E66A}"/>
              </a:ext>
            </a:extLst>
          </p:cNvPr>
          <p:cNvSpPr/>
          <p:nvPr/>
        </p:nvSpPr>
        <p:spPr>
          <a:xfrm>
            <a:off x="1575470" y="1487563"/>
            <a:ext cx="2206584" cy="1404458"/>
          </a:xfrm>
          <a:custGeom>
            <a:avLst/>
            <a:gdLst>
              <a:gd name="connsiteX0" fmla="*/ 0 w 2336800"/>
              <a:gd name="connsiteY0" fmla="*/ 474133 h 1210733"/>
              <a:gd name="connsiteX1" fmla="*/ 2336800 w 2336800"/>
              <a:gd name="connsiteY1" fmla="*/ 0 h 1210733"/>
              <a:gd name="connsiteX2" fmla="*/ 2336800 w 2336800"/>
              <a:gd name="connsiteY2" fmla="*/ 1210733 h 1210733"/>
              <a:gd name="connsiteX3" fmla="*/ 0 w 2336800"/>
              <a:gd name="connsiteY3" fmla="*/ 474133 h 1210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36800" h="1210733">
                <a:moveTo>
                  <a:pt x="0" y="474133"/>
                </a:moveTo>
                <a:lnTo>
                  <a:pt x="2336800" y="0"/>
                </a:lnTo>
                <a:lnTo>
                  <a:pt x="2336800" y="1210733"/>
                </a:lnTo>
                <a:lnTo>
                  <a:pt x="0" y="474133"/>
                </a:lnTo>
                <a:close/>
              </a:path>
            </a:pathLst>
          </a:custGeom>
          <a:gradFill>
            <a:gsLst>
              <a:gs pos="0">
                <a:srgbClr val="F7F0E5">
                  <a:alpha val="68000"/>
                </a:srgbClr>
              </a:gs>
              <a:gs pos="100000">
                <a:srgbClr val="CC9C50">
                  <a:alpha val="62000"/>
                </a:srgbClr>
              </a:gs>
            </a:gsLst>
            <a:lin ang="0" scaled="1"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55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Calibri" panose="020F0502020204030204"/>
              <a:cs typeface="Arial"/>
            </a:endParaRPr>
          </a:p>
        </p:txBody>
      </p:sp>
      <p:grpSp>
        <p:nvGrpSpPr>
          <p:cNvPr id="5152" name="Group 1299">
            <a:extLst>
              <a:ext uri="{FF2B5EF4-FFF2-40B4-BE49-F238E27FC236}">
                <a16:creationId xmlns:a16="http://schemas.microsoft.com/office/drawing/2014/main" id="{248C0CA7-D002-1476-9DF6-DCBFA4780FBF}"/>
              </a:ext>
            </a:extLst>
          </p:cNvPr>
          <p:cNvGrpSpPr/>
          <p:nvPr/>
        </p:nvGrpSpPr>
        <p:grpSpPr>
          <a:xfrm>
            <a:off x="3309631" y="1524427"/>
            <a:ext cx="1430967" cy="1372145"/>
            <a:chOff x="2919401" y="1828364"/>
            <a:chExt cx="1073225" cy="1029108"/>
          </a:xfrm>
        </p:grpSpPr>
        <p:grpSp>
          <p:nvGrpSpPr>
            <p:cNvPr id="5153" name="Group 1300">
              <a:extLst>
                <a:ext uri="{FF2B5EF4-FFF2-40B4-BE49-F238E27FC236}">
                  <a16:creationId xmlns:a16="http://schemas.microsoft.com/office/drawing/2014/main" id="{75BFA5BB-AB4B-7F93-04AE-2C4D94F304B3}"/>
                </a:ext>
              </a:extLst>
            </p:cNvPr>
            <p:cNvGrpSpPr/>
            <p:nvPr/>
          </p:nvGrpSpPr>
          <p:grpSpPr>
            <a:xfrm>
              <a:off x="2919401" y="1850181"/>
              <a:ext cx="1042899" cy="929391"/>
              <a:chOff x="4882902" y="2687708"/>
              <a:chExt cx="1695659" cy="1584262"/>
            </a:xfrm>
          </p:grpSpPr>
          <p:grpSp>
            <p:nvGrpSpPr>
              <p:cNvPr id="5165" name="Group 1312">
                <a:extLst>
                  <a:ext uri="{FF2B5EF4-FFF2-40B4-BE49-F238E27FC236}">
                    <a16:creationId xmlns:a16="http://schemas.microsoft.com/office/drawing/2014/main" id="{6AEC39CA-E92B-34F1-FC42-86214DEFA5BB}"/>
                  </a:ext>
                </a:extLst>
              </p:cNvPr>
              <p:cNvGrpSpPr/>
              <p:nvPr/>
            </p:nvGrpSpPr>
            <p:grpSpPr>
              <a:xfrm>
                <a:off x="5095154" y="2892346"/>
                <a:ext cx="1483407" cy="1077133"/>
                <a:chOff x="6655611" y="1328513"/>
                <a:chExt cx="4036885" cy="3366966"/>
              </a:xfrm>
            </p:grpSpPr>
            <p:pic>
              <p:nvPicPr>
                <p:cNvPr id="5181" name="Graphic 1328">
                  <a:extLst>
                    <a:ext uri="{FF2B5EF4-FFF2-40B4-BE49-F238E27FC236}">
                      <a16:creationId xmlns:a16="http://schemas.microsoft.com/office/drawing/2014/main" id="{FA420337-9695-C834-1D75-4F108E7AD4E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843735" y="2018549"/>
                  <a:ext cx="678525" cy="640407"/>
                </a:xfrm>
                <a:prstGeom prst="rect">
                  <a:avLst/>
                </a:prstGeom>
              </p:spPr>
            </p:pic>
            <p:pic>
              <p:nvPicPr>
                <p:cNvPr id="5182" name="Graphic 1329">
                  <a:extLst>
                    <a:ext uri="{FF2B5EF4-FFF2-40B4-BE49-F238E27FC236}">
                      <a16:creationId xmlns:a16="http://schemas.microsoft.com/office/drawing/2014/main" id="{7150DDC0-ADD8-550B-7F38-69334E7E16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30582" y="2244892"/>
                  <a:ext cx="678526" cy="640405"/>
                </a:xfrm>
                <a:prstGeom prst="rect">
                  <a:avLst/>
                </a:prstGeom>
              </p:spPr>
            </p:pic>
            <p:pic>
              <p:nvPicPr>
                <p:cNvPr id="5183" name="Graphic 1330">
                  <a:extLst>
                    <a:ext uri="{FF2B5EF4-FFF2-40B4-BE49-F238E27FC236}">
                      <a16:creationId xmlns:a16="http://schemas.microsoft.com/office/drawing/2014/main" id="{D08F6484-F664-67E1-0F3A-95384BC9244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706098" y="2978031"/>
                  <a:ext cx="678526" cy="640405"/>
                </a:xfrm>
                <a:prstGeom prst="rect">
                  <a:avLst/>
                </a:prstGeom>
              </p:spPr>
            </p:pic>
            <p:pic>
              <p:nvPicPr>
                <p:cNvPr id="5184" name="Graphic 1331">
                  <a:extLst>
                    <a:ext uri="{FF2B5EF4-FFF2-40B4-BE49-F238E27FC236}">
                      <a16:creationId xmlns:a16="http://schemas.microsoft.com/office/drawing/2014/main" id="{9140860D-87C3-6F8C-DD05-859B278ECA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474691" y="1573462"/>
                  <a:ext cx="678526" cy="640405"/>
                </a:xfrm>
                <a:prstGeom prst="rect">
                  <a:avLst/>
                </a:prstGeom>
              </p:spPr>
            </p:pic>
            <p:pic>
              <p:nvPicPr>
                <p:cNvPr id="5185" name="Graphic 1332">
                  <a:extLst>
                    <a:ext uri="{FF2B5EF4-FFF2-40B4-BE49-F238E27FC236}">
                      <a16:creationId xmlns:a16="http://schemas.microsoft.com/office/drawing/2014/main" id="{376106E0-B5E5-827A-8AC7-D08A02166A4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27513" y="1940221"/>
                  <a:ext cx="536966" cy="506802"/>
                </a:xfrm>
                <a:prstGeom prst="rect">
                  <a:avLst/>
                </a:prstGeom>
              </p:spPr>
            </p:pic>
            <p:pic>
              <p:nvPicPr>
                <p:cNvPr id="5186" name="Graphic 1333">
                  <a:extLst>
                    <a:ext uri="{FF2B5EF4-FFF2-40B4-BE49-F238E27FC236}">
                      <a16:creationId xmlns:a16="http://schemas.microsoft.com/office/drawing/2014/main" id="{8229EC4D-1AE4-7172-3241-4A4F7F0793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322276" y="2329588"/>
                  <a:ext cx="678526" cy="640405"/>
                </a:xfrm>
                <a:prstGeom prst="rect">
                  <a:avLst/>
                </a:prstGeom>
              </p:spPr>
            </p:pic>
            <p:pic>
              <p:nvPicPr>
                <p:cNvPr id="5187" name="Graphic 1334">
                  <a:extLst>
                    <a:ext uri="{FF2B5EF4-FFF2-40B4-BE49-F238E27FC236}">
                      <a16:creationId xmlns:a16="http://schemas.microsoft.com/office/drawing/2014/main" id="{A353198B-842B-E7D5-08F8-959D3788EC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99253" y="2833295"/>
                  <a:ext cx="678526" cy="640405"/>
                </a:xfrm>
                <a:prstGeom prst="rect">
                  <a:avLst/>
                </a:prstGeom>
              </p:spPr>
            </p:pic>
            <p:pic>
              <p:nvPicPr>
                <p:cNvPr id="5188" name="Graphic 1335">
                  <a:extLst>
                    <a:ext uri="{FF2B5EF4-FFF2-40B4-BE49-F238E27FC236}">
                      <a16:creationId xmlns:a16="http://schemas.microsoft.com/office/drawing/2014/main" id="{B7169181-DE7E-A926-37CF-F326A7181CF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369166" y="3717694"/>
                  <a:ext cx="678526" cy="640405"/>
                </a:xfrm>
                <a:prstGeom prst="rect">
                  <a:avLst/>
                </a:prstGeom>
              </p:spPr>
            </p:pic>
            <p:pic>
              <p:nvPicPr>
                <p:cNvPr id="5189" name="Graphic 1336">
                  <a:extLst>
                    <a:ext uri="{FF2B5EF4-FFF2-40B4-BE49-F238E27FC236}">
                      <a16:creationId xmlns:a16="http://schemas.microsoft.com/office/drawing/2014/main" id="{9717E55B-8331-7F70-4838-C1445345C2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101569" y="3618436"/>
                  <a:ext cx="678526" cy="640405"/>
                </a:xfrm>
                <a:prstGeom prst="rect">
                  <a:avLst/>
                </a:prstGeom>
              </p:spPr>
            </p:pic>
            <p:pic>
              <p:nvPicPr>
                <p:cNvPr id="5190" name="Graphic 1337">
                  <a:extLst>
                    <a:ext uri="{FF2B5EF4-FFF2-40B4-BE49-F238E27FC236}">
                      <a16:creationId xmlns:a16="http://schemas.microsoft.com/office/drawing/2014/main" id="{AB6706D8-4994-CF08-10C3-37775B747AF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10147" y="1661379"/>
                  <a:ext cx="678526" cy="640405"/>
                </a:xfrm>
                <a:prstGeom prst="rect">
                  <a:avLst/>
                </a:prstGeom>
              </p:spPr>
            </p:pic>
            <p:pic>
              <p:nvPicPr>
                <p:cNvPr id="5191" name="Graphic 1338">
                  <a:extLst>
                    <a:ext uri="{FF2B5EF4-FFF2-40B4-BE49-F238E27FC236}">
                      <a16:creationId xmlns:a16="http://schemas.microsoft.com/office/drawing/2014/main" id="{7AF69D66-86EF-A775-707C-791C5E3DD6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94708" y="2998503"/>
                  <a:ext cx="678526" cy="640405"/>
                </a:xfrm>
                <a:prstGeom prst="rect">
                  <a:avLst/>
                </a:prstGeom>
              </p:spPr>
            </p:pic>
            <p:pic>
              <p:nvPicPr>
                <p:cNvPr id="5192" name="Graphic 1339">
                  <a:extLst>
                    <a:ext uri="{FF2B5EF4-FFF2-40B4-BE49-F238E27FC236}">
                      <a16:creationId xmlns:a16="http://schemas.microsoft.com/office/drawing/2014/main" id="{735A120F-EECB-6793-8AB9-4C7A0AF0499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013970" y="2466260"/>
                  <a:ext cx="678526" cy="640405"/>
                </a:xfrm>
                <a:prstGeom prst="rect">
                  <a:avLst/>
                </a:prstGeom>
              </p:spPr>
            </p:pic>
            <p:pic>
              <p:nvPicPr>
                <p:cNvPr id="5193" name="Graphic 1340">
                  <a:extLst>
                    <a:ext uri="{FF2B5EF4-FFF2-40B4-BE49-F238E27FC236}">
                      <a16:creationId xmlns:a16="http://schemas.microsoft.com/office/drawing/2014/main" id="{C80B79BC-2E19-54DC-D0D2-3CEFB03E47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33970" y="3595834"/>
                  <a:ext cx="678526" cy="640405"/>
                </a:xfrm>
                <a:prstGeom prst="rect">
                  <a:avLst/>
                </a:prstGeom>
              </p:spPr>
            </p:pic>
            <p:pic>
              <p:nvPicPr>
                <p:cNvPr id="5194" name="Graphic 1341">
                  <a:extLst>
                    <a:ext uri="{FF2B5EF4-FFF2-40B4-BE49-F238E27FC236}">
                      <a16:creationId xmlns:a16="http://schemas.microsoft.com/office/drawing/2014/main" id="{605C036B-A778-96E4-D75A-BC549CF56B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638361" y="4055074"/>
                  <a:ext cx="678526" cy="640405"/>
                </a:xfrm>
                <a:prstGeom prst="rect">
                  <a:avLst/>
                </a:prstGeom>
              </p:spPr>
            </p:pic>
            <p:pic>
              <p:nvPicPr>
                <p:cNvPr id="5195" name="Graphic 1342">
                  <a:extLst>
                    <a:ext uri="{FF2B5EF4-FFF2-40B4-BE49-F238E27FC236}">
                      <a16:creationId xmlns:a16="http://schemas.microsoft.com/office/drawing/2014/main" id="{8D205594-B498-ECA8-C6FB-C2A5C6E72FA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134148" y="2157540"/>
                  <a:ext cx="678526" cy="640405"/>
                </a:xfrm>
                <a:prstGeom prst="rect">
                  <a:avLst/>
                </a:prstGeom>
              </p:spPr>
            </p:pic>
            <p:pic>
              <p:nvPicPr>
                <p:cNvPr id="5196" name="Graphic 1343">
                  <a:extLst>
                    <a:ext uri="{FF2B5EF4-FFF2-40B4-BE49-F238E27FC236}">
                      <a16:creationId xmlns:a16="http://schemas.microsoft.com/office/drawing/2014/main" id="{A9DD5924-B56B-910D-9C7D-F4F1A0A431B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55611" y="2662499"/>
                  <a:ext cx="678525" cy="640407"/>
                </a:xfrm>
                <a:prstGeom prst="rect">
                  <a:avLst/>
                </a:prstGeom>
              </p:spPr>
            </p:pic>
            <p:pic>
              <p:nvPicPr>
                <p:cNvPr id="5197" name="Graphic 1344">
                  <a:extLst>
                    <a:ext uri="{FF2B5EF4-FFF2-40B4-BE49-F238E27FC236}">
                      <a16:creationId xmlns:a16="http://schemas.microsoft.com/office/drawing/2014/main" id="{FE85398B-BCB6-11AA-A956-5ED3B78CDC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799052" y="1328513"/>
                  <a:ext cx="678526" cy="640405"/>
                </a:xfrm>
                <a:prstGeom prst="rect">
                  <a:avLst/>
                </a:prstGeom>
              </p:spPr>
            </p:pic>
            <p:pic>
              <p:nvPicPr>
                <p:cNvPr id="5198" name="Graphic 1345">
                  <a:extLst>
                    <a:ext uri="{FF2B5EF4-FFF2-40B4-BE49-F238E27FC236}">
                      <a16:creationId xmlns:a16="http://schemas.microsoft.com/office/drawing/2014/main" id="{33C8092B-C887-25BC-62EA-08D12C06B8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054804" y="3529685"/>
                  <a:ext cx="678526" cy="640405"/>
                </a:xfrm>
                <a:prstGeom prst="rect">
                  <a:avLst/>
                </a:prstGeom>
              </p:spPr>
            </p:pic>
          </p:grpSp>
          <p:pic>
            <p:nvPicPr>
              <p:cNvPr id="5166" name="Graphic 1313">
                <a:extLst>
                  <a:ext uri="{FF2B5EF4-FFF2-40B4-BE49-F238E27FC236}">
                    <a16:creationId xmlns:a16="http://schemas.microsoft.com/office/drawing/2014/main" id="{47C0C705-EAB3-D26E-B642-85AA462D25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693910" y="389017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167" name="Graphic 1314">
                <a:extLst>
                  <a:ext uri="{FF2B5EF4-FFF2-40B4-BE49-F238E27FC236}">
                    <a16:creationId xmlns:a16="http://schemas.microsoft.com/office/drawing/2014/main" id="{64CE7066-B3B0-09CA-4FFA-58D226E2F7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024302" y="3542493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168" name="Graphic 1315">
                <a:extLst>
                  <a:ext uri="{FF2B5EF4-FFF2-40B4-BE49-F238E27FC236}">
                    <a16:creationId xmlns:a16="http://schemas.microsoft.com/office/drawing/2014/main" id="{6C4CAF59-A21A-F292-DCD4-CA9794E4C9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278465" y="2958847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169" name="Graphic 1316">
                <a:extLst>
                  <a:ext uri="{FF2B5EF4-FFF2-40B4-BE49-F238E27FC236}">
                    <a16:creationId xmlns:a16="http://schemas.microsoft.com/office/drawing/2014/main" id="{FD757EBF-2BEF-9800-E93B-57C8CABF1B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956642" y="3838548"/>
                <a:ext cx="249333" cy="204874"/>
              </a:xfrm>
              <a:prstGeom prst="rect">
                <a:avLst/>
              </a:prstGeom>
            </p:spPr>
          </p:pic>
          <p:pic>
            <p:nvPicPr>
              <p:cNvPr id="5170" name="Graphic 1317">
                <a:extLst>
                  <a:ext uri="{FF2B5EF4-FFF2-40B4-BE49-F238E27FC236}">
                    <a16:creationId xmlns:a16="http://schemas.microsoft.com/office/drawing/2014/main" id="{121B3441-9AA8-4EE7-3EA4-2F19BCACFE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210116" y="3813531"/>
                <a:ext cx="249333" cy="204874"/>
              </a:xfrm>
              <a:prstGeom prst="rect">
                <a:avLst/>
              </a:prstGeom>
            </p:spPr>
          </p:pic>
          <p:pic>
            <p:nvPicPr>
              <p:cNvPr id="5171" name="Graphic 1318">
                <a:extLst>
                  <a:ext uri="{FF2B5EF4-FFF2-40B4-BE49-F238E27FC236}">
                    <a16:creationId xmlns:a16="http://schemas.microsoft.com/office/drawing/2014/main" id="{1C45C48D-59CC-DB05-436B-3513D24F90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201552" y="383908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172" name="Graphic 1319">
                <a:extLst>
                  <a:ext uri="{FF2B5EF4-FFF2-40B4-BE49-F238E27FC236}">
                    <a16:creationId xmlns:a16="http://schemas.microsoft.com/office/drawing/2014/main" id="{68E821CA-256C-DF5B-28E2-8FD0BD0447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009523" y="2782809"/>
                <a:ext cx="249333" cy="204874"/>
              </a:xfrm>
              <a:prstGeom prst="rect">
                <a:avLst/>
              </a:prstGeom>
            </p:spPr>
          </p:pic>
          <p:pic>
            <p:nvPicPr>
              <p:cNvPr id="5173" name="Graphic 1320">
                <a:extLst>
                  <a:ext uri="{FF2B5EF4-FFF2-40B4-BE49-F238E27FC236}">
                    <a16:creationId xmlns:a16="http://schemas.microsoft.com/office/drawing/2014/main" id="{525D98AA-35CC-99A8-D157-CFD0C3C48B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2313" y="3142793"/>
                <a:ext cx="249333" cy="204874"/>
              </a:xfrm>
              <a:prstGeom prst="rect">
                <a:avLst/>
              </a:prstGeom>
            </p:spPr>
          </p:pic>
          <p:pic>
            <p:nvPicPr>
              <p:cNvPr id="5174" name="Graphic 1321">
                <a:extLst>
                  <a:ext uri="{FF2B5EF4-FFF2-40B4-BE49-F238E27FC236}">
                    <a16:creationId xmlns:a16="http://schemas.microsoft.com/office/drawing/2014/main" id="{489CF3C1-C9E4-E361-6666-EF421B6660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516188" y="3551116"/>
                <a:ext cx="205440" cy="168807"/>
              </a:xfrm>
              <a:prstGeom prst="rect">
                <a:avLst/>
              </a:prstGeom>
            </p:spPr>
          </p:pic>
          <p:pic>
            <p:nvPicPr>
              <p:cNvPr id="5175" name="Graphic 1322">
                <a:extLst>
                  <a:ext uri="{FF2B5EF4-FFF2-40B4-BE49-F238E27FC236}">
                    <a16:creationId xmlns:a16="http://schemas.microsoft.com/office/drawing/2014/main" id="{E2D10889-E1E0-DD4C-B3BD-CB2C8AF69C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244966" y="2744422"/>
                <a:ext cx="249333" cy="204874"/>
              </a:xfrm>
              <a:prstGeom prst="rect">
                <a:avLst/>
              </a:prstGeom>
            </p:spPr>
          </p:pic>
          <p:pic>
            <p:nvPicPr>
              <p:cNvPr id="5176" name="Graphic 1323">
                <a:extLst>
                  <a:ext uri="{FF2B5EF4-FFF2-40B4-BE49-F238E27FC236}">
                    <a16:creationId xmlns:a16="http://schemas.microsoft.com/office/drawing/2014/main" id="{7EDB17B0-B37E-3106-C152-F34CDB361D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1800000">
                <a:off x="5951506" y="4067096"/>
                <a:ext cx="249333" cy="204874"/>
              </a:xfrm>
              <a:prstGeom prst="rect">
                <a:avLst/>
              </a:prstGeom>
            </p:spPr>
          </p:pic>
          <p:pic>
            <p:nvPicPr>
              <p:cNvPr id="5177" name="Graphic 1324">
                <a:extLst>
                  <a:ext uri="{FF2B5EF4-FFF2-40B4-BE49-F238E27FC236}">
                    <a16:creationId xmlns:a16="http://schemas.microsoft.com/office/drawing/2014/main" id="{08D27E4B-E36C-6C1D-553B-105A569CBA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460423" y="3964815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178" name="Graphic 1325">
                <a:extLst>
                  <a:ext uri="{FF2B5EF4-FFF2-40B4-BE49-F238E27FC236}">
                    <a16:creationId xmlns:a16="http://schemas.microsoft.com/office/drawing/2014/main" id="{F74F5BE1-00BB-B9B9-63A6-F8EEE7DC5C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900000">
                <a:off x="5752213" y="2756909"/>
                <a:ext cx="249333" cy="204874"/>
              </a:xfrm>
              <a:prstGeom prst="rect">
                <a:avLst/>
              </a:prstGeom>
            </p:spPr>
          </p:pic>
          <p:pic>
            <p:nvPicPr>
              <p:cNvPr id="5179" name="Graphic 1326">
                <a:extLst>
                  <a:ext uri="{FF2B5EF4-FFF2-40B4-BE49-F238E27FC236}">
                    <a16:creationId xmlns:a16="http://schemas.microsoft.com/office/drawing/2014/main" id="{1C0ACC36-F113-BD60-C77D-7B65DE8C7A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515327" y="2687708"/>
                <a:ext cx="249333" cy="204874"/>
              </a:xfrm>
              <a:prstGeom prst="rect">
                <a:avLst/>
              </a:prstGeom>
            </p:spPr>
          </p:pic>
          <p:pic>
            <p:nvPicPr>
              <p:cNvPr id="5180" name="Graphic 1327">
                <a:extLst>
                  <a:ext uri="{FF2B5EF4-FFF2-40B4-BE49-F238E27FC236}">
                    <a16:creationId xmlns:a16="http://schemas.microsoft.com/office/drawing/2014/main" id="{8D2F48DC-060F-3D24-BE5C-86EF55BE3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7100000">
                <a:off x="4860673" y="3370999"/>
                <a:ext cx="249332" cy="204873"/>
              </a:xfrm>
              <a:prstGeom prst="rect">
                <a:avLst/>
              </a:prstGeom>
            </p:spPr>
          </p:pic>
        </p:grpSp>
        <p:pic>
          <p:nvPicPr>
            <p:cNvPr id="5154" name="Graphic 1301">
              <a:extLst>
                <a:ext uri="{FF2B5EF4-FFF2-40B4-BE49-F238E27FC236}">
                  <a16:creationId xmlns:a16="http://schemas.microsoft.com/office/drawing/2014/main" id="{DB93C5C8-29AA-891E-71BA-7FDEB64673F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367900" y="2220795"/>
              <a:ext cx="153350" cy="120187"/>
            </a:xfrm>
            <a:prstGeom prst="rect">
              <a:avLst/>
            </a:prstGeom>
          </p:spPr>
        </p:pic>
        <p:pic>
          <p:nvPicPr>
            <p:cNvPr id="5155" name="Graphic 1302">
              <a:extLst>
                <a:ext uri="{FF2B5EF4-FFF2-40B4-BE49-F238E27FC236}">
                  <a16:creationId xmlns:a16="http://schemas.microsoft.com/office/drawing/2014/main" id="{BD4299C1-00CF-8194-51DC-51A8A6982A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2700000">
              <a:off x="3437218" y="2683883"/>
              <a:ext cx="153350" cy="120187"/>
            </a:xfrm>
            <a:prstGeom prst="rect">
              <a:avLst/>
            </a:prstGeom>
          </p:spPr>
        </p:pic>
        <p:pic>
          <p:nvPicPr>
            <p:cNvPr id="5156" name="Graphic 1303">
              <a:extLst>
                <a:ext uri="{FF2B5EF4-FFF2-40B4-BE49-F238E27FC236}">
                  <a16:creationId xmlns:a16="http://schemas.microsoft.com/office/drawing/2014/main" id="{A654C4A7-B661-A1C2-DCF9-0CE7ECD7D89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728664" y="2636590"/>
              <a:ext cx="101873" cy="79842"/>
            </a:xfrm>
            <a:prstGeom prst="rect">
              <a:avLst/>
            </a:prstGeom>
          </p:spPr>
        </p:pic>
        <p:pic>
          <p:nvPicPr>
            <p:cNvPr id="5157" name="Graphic 1304">
              <a:extLst>
                <a:ext uri="{FF2B5EF4-FFF2-40B4-BE49-F238E27FC236}">
                  <a16:creationId xmlns:a16="http://schemas.microsoft.com/office/drawing/2014/main" id="{45A8855D-1FA9-6AAA-4D84-F3A3F788DA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854762" y="2299145"/>
              <a:ext cx="137864" cy="108050"/>
            </a:xfrm>
            <a:prstGeom prst="rect">
              <a:avLst/>
            </a:prstGeom>
          </p:spPr>
        </p:pic>
        <p:pic>
          <p:nvPicPr>
            <p:cNvPr id="5158" name="Graphic 1305">
              <a:extLst>
                <a:ext uri="{FF2B5EF4-FFF2-40B4-BE49-F238E27FC236}">
                  <a16:creationId xmlns:a16="http://schemas.microsoft.com/office/drawing/2014/main" id="{FD9C86D9-1DF2-6CE7-191B-BA3FDA9951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4500000">
              <a:off x="3318467" y="2720703"/>
              <a:ext cx="153350" cy="120187"/>
            </a:xfrm>
            <a:prstGeom prst="rect">
              <a:avLst/>
            </a:prstGeom>
          </p:spPr>
        </p:pic>
        <p:pic>
          <p:nvPicPr>
            <p:cNvPr id="5159" name="Graphic 1306">
              <a:extLst>
                <a:ext uri="{FF2B5EF4-FFF2-40B4-BE49-F238E27FC236}">
                  <a16:creationId xmlns:a16="http://schemas.microsoft.com/office/drawing/2014/main" id="{221C2806-D083-77A0-22FB-E25D7BD380F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7200000">
              <a:off x="3148110" y="2658937"/>
              <a:ext cx="153350" cy="120187"/>
            </a:xfrm>
            <a:prstGeom prst="rect">
              <a:avLst/>
            </a:prstGeom>
          </p:spPr>
        </p:pic>
        <p:pic>
          <p:nvPicPr>
            <p:cNvPr id="5160" name="Graphic 1307">
              <a:extLst>
                <a:ext uri="{FF2B5EF4-FFF2-40B4-BE49-F238E27FC236}">
                  <a16:creationId xmlns:a16="http://schemas.microsoft.com/office/drawing/2014/main" id="{477B8AD4-BD54-C800-84D1-4379B45EA38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7200000">
              <a:off x="2988353" y="2491555"/>
              <a:ext cx="153350" cy="120187"/>
            </a:xfrm>
            <a:prstGeom prst="rect">
              <a:avLst/>
            </a:prstGeom>
          </p:spPr>
        </p:pic>
        <p:pic>
          <p:nvPicPr>
            <p:cNvPr id="5161" name="Graphic 1308">
              <a:extLst>
                <a:ext uri="{FF2B5EF4-FFF2-40B4-BE49-F238E27FC236}">
                  <a16:creationId xmlns:a16="http://schemas.microsoft.com/office/drawing/2014/main" id="{0B6787F5-618C-D85B-03C3-BB41689CC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800000">
              <a:off x="3058300" y="2618539"/>
              <a:ext cx="102863" cy="80618"/>
            </a:xfrm>
            <a:prstGeom prst="rect">
              <a:avLst/>
            </a:prstGeom>
          </p:spPr>
        </p:pic>
        <p:pic>
          <p:nvPicPr>
            <p:cNvPr id="5162" name="Graphic 1309">
              <a:extLst>
                <a:ext uri="{FF2B5EF4-FFF2-40B4-BE49-F238E27FC236}">
                  <a16:creationId xmlns:a16="http://schemas.microsoft.com/office/drawing/2014/main" id="{2E052892-B78B-6D92-15CE-CA67A6E045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2700000">
              <a:off x="2920755" y="2403018"/>
              <a:ext cx="105240" cy="82481"/>
            </a:xfrm>
            <a:prstGeom prst="rect">
              <a:avLst/>
            </a:prstGeom>
          </p:spPr>
        </p:pic>
        <p:pic>
          <p:nvPicPr>
            <p:cNvPr id="5163" name="Graphic 1310">
              <a:extLst>
                <a:ext uri="{FF2B5EF4-FFF2-40B4-BE49-F238E27FC236}">
                  <a16:creationId xmlns:a16="http://schemas.microsoft.com/office/drawing/2014/main" id="{54F282E9-9741-A579-A03D-A05D7AB847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6595814">
              <a:off x="3023331" y="1988535"/>
              <a:ext cx="153350" cy="120187"/>
            </a:xfrm>
            <a:prstGeom prst="rect">
              <a:avLst/>
            </a:prstGeom>
          </p:spPr>
        </p:pic>
        <p:pic>
          <p:nvPicPr>
            <p:cNvPr id="5164" name="Graphic 1311">
              <a:extLst>
                <a:ext uri="{FF2B5EF4-FFF2-40B4-BE49-F238E27FC236}">
                  <a16:creationId xmlns:a16="http://schemas.microsoft.com/office/drawing/2014/main" id="{B66A17F9-3B33-899F-6BEA-179C6E5A3B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61036" y="1828364"/>
              <a:ext cx="130304" cy="102125"/>
            </a:xfrm>
            <a:prstGeom prst="rect">
              <a:avLst/>
            </a:prstGeom>
          </p:spPr>
        </p:pic>
      </p:grpSp>
      <p:grpSp>
        <p:nvGrpSpPr>
          <p:cNvPr id="5199" name="Group 1249">
            <a:extLst>
              <a:ext uri="{FF2B5EF4-FFF2-40B4-BE49-F238E27FC236}">
                <a16:creationId xmlns:a16="http://schemas.microsoft.com/office/drawing/2014/main" id="{40189D70-958D-9515-20A2-BD5294B742AF}"/>
              </a:ext>
            </a:extLst>
          </p:cNvPr>
          <p:cNvGrpSpPr/>
          <p:nvPr/>
        </p:nvGrpSpPr>
        <p:grpSpPr>
          <a:xfrm>
            <a:off x="3301365" y="1458324"/>
            <a:ext cx="1470407" cy="1470407"/>
            <a:chOff x="2915151" y="1781131"/>
            <a:chExt cx="1097279" cy="1097279"/>
          </a:xfrm>
        </p:grpSpPr>
        <p:grpSp>
          <p:nvGrpSpPr>
            <p:cNvPr id="5200" name="Group 1250">
              <a:extLst>
                <a:ext uri="{FF2B5EF4-FFF2-40B4-BE49-F238E27FC236}">
                  <a16:creationId xmlns:a16="http://schemas.microsoft.com/office/drawing/2014/main" id="{73BFC6B8-1364-1990-3494-0302EE7F5A68}"/>
                </a:ext>
              </a:extLst>
            </p:cNvPr>
            <p:cNvGrpSpPr/>
            <p:nvPr/>
          </p:nvGrpSpPr>
          <p:grpSpPr>
            <a:xfrm>
              <a:off x="2915151" y="1781131"/>
              <a:ext cx="1097279" cy="1097279"/>
              <a:chOff x="4875994" y="2570012"/>
              <a:chExt cx="1784077" cy="1870450"/>
            </a:xfrm>
          </p:grpSpPr>
          <p:grpSp>
            <p:nvGrpSpPr>
              <p:cNvPr id="5209" name="Group 1260">
                <a:extLst>
                  <a:ext uri="{FF2B5EF4-FFF2-40B4-BE49-F238E27FC236}">
                    <a16:creationId xmlns:a16="http://schemas.microsoft.com/office/drawing/2014/main" id="{71CAE691-03DE-478C-0887-3787F901EF68}"/>
                  </a:ext>
                </a:extLst>
              </p:cNvPr>
              <p:cNvGrpSpPr/>
              <p:nvPr/>
            </p:nvGrpSpPr>
            <p:grpSpPr>
              <a:xfrm>
                <a:off x="4875994" y="2570012"/>
                <a:ext cx="1784077" cy="1870450"/>
                <a:chOff x="1802672" y="3310260"/>
                <a:chExt cx="911697" cy="1097908"/>
              </a:xfrm>
            </p:grpSpPr>
            <p:sp>
              <p:nvSpPr>
                <p:cNvPr id="5222" name="Oval 1275">
                  <a:extLst>
                    <a:ext uri="{FF2B5EF4-FFF2-40B4-BE49-F238E27FC236}">
                      <a16:creationId xmlns:a16="http://schemas.microsoft.com/office/drawing/2014/main" id="{082F2A91-80FE-80C0-9AD3-73B21CE9B8BF}"/>
                    </a:ext>
                  </a:extLst>
                </p:cNvPr>
                <p:cNvSpPr/>
                <p:nvPr/>
              </p:nvSpPr>
              <p:spPr>
                <a:xfrm>
                  <a:off x="1802672" y="3310260"/>
                  <a:ext cx="911697" cy="1097908"/>
                </a:xfrm>
                <a:prstGeom prst="ellipse">
                  <a:avLst/>
                </a:prstGeom>
                <a:solidFill>
                  <a:sysClr val="window" lastClr="FFFFFF"/>
                </a:solidFill>
                <a:ln w="19050" cap="flat" cmpd="sng" algn="ctr">
                  <a:solidFill>
                    <a:srgbClr val="7967BE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355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ea typeface="Calibri" panose="020F0502020204030204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223" name="Group 1276">
                  <a:extLst>
                    <a:ext uri="{FF2B5EF4-FFF2-40B4-BE49-F238E27FC236}">
                      <a16:creationId xmlns:a16="http://schemas.microsoft.com/office/drawing/2014/main" id="{108025AA-DDCE-8920-C4FE-F55234CC9FD4}"/>
                    </a:ext>
                  </a:extLst>
                </p:cNvPr>
                <p:cNvGrpSpPr/>
                <p:nvPr/>
              </p:nvGrpSpPr>
              <p:grpSpPr>
                <a:xfrm>
                  <a:off x="1914663" y="3499461"/>
                  <a:ext cx="758050" cy="632246"/>
                  <a:chOff x="6655611" y="1328513"/>
                  <a:chExt cx="4036885" cy="3366966"/>
                </a:xfrm>
              </p:grpSpPr>
              <p:pic>
                <p:nvPicPr>
                  <p:cNvPr id="5224" name="Graphic 1277">
                    <a:extLst>
                      <a:ext uri="{FF2B5EF4-FFF2-40B4-BE49-F238E27FC236}">
                        <a16:creationId xmlns:a16="http://schemas.microsoft.com/office/drawing/2014/main" id="{4C7CC53B-D791-C2DE-95F2-8674C1FABB6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843735" y="2018549"/>
                    <a:ext cx="678525" cy="640407"/>
                  </a:xfrm>
                  <a:prstGeom prst="rect">
                    <a:avLst/>
                  </a:prstGeom>
                </p:spPr>
              </p:pic>
              <p:pic>
                <p:nvPicPr>
                  <p:cNvPr id="5225" name="Graphic 1278">
                    <a:extLst>
                      <a:ext uri="{FF2B5EF4-FFF2-40B4-BE49-F238E27FC236}">
                        <a16:creationId xmlns:a16="http://schemas.microsoft.com/office/drawing/2014/main" id="{2AFE7D0A-73CB-C563-9061-5CB76C77A46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630582" y="2244892"/>
                    <a:ext cx="678526" cy="640405"/>
                  </a:xfrm>
                  <a:prstGeom prst="rect">
                    <a:avLst/>
                  </a:prstGeom>
                </p:spPr>
              </p:pic>
              <p:pic>
                <p:nvPicPr>
                  <p:cNvPr id="5226" name="Graphic 1280">
                    <a:extLst>
                      <a:ext uri="{FF2B5EF4-FFF2-40B4-BE49-F238E27FC236}">
                        <a16:creationId xmlns:a16="http://schemas.microsoft.com/office/drawing/2014/main" id="{E328D35F-5685-B9E0-48A2-C792F2324F2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96DAC541-7B7A-43D3-8B79-37D633B846F1}">
                        <asvg:svgBlip xmlns:asvg="http://schemas.microsoft.com/office/drawing/2016/SVG/main" r:embe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474691" y="1573462"/>
                    <a:ext cx="678526" cy="640405"/>
                  </a:xfrm>
                  <a:prstGeom prst="rect">
                    <a:avLst/>
                  </a:prstGeom>
                </p:spPr>
              </p:pic>
              <p:pic>
                <p:nvPicPr>
                  <p:cNvPr id="5227" name="Graphic 1281">
                    <a:extLst>
                      <a:ext uri="{FF2B5EF4-FFF2-40B4-BE49-F238E27FC236}">
                        <a16:creationId xmlns:a16="http://schemas.microsoft.com/office/drawing/2014/main" id="{29A79A10-4A1D-A9C8-7A9E-FC8FF2A7E18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927513" y="1940221"/>
                    <a:ext cx="536966" cy="506802"/>
                  </a:xfrm>
                  <a:prstGeom prst="rect">
                    <a:avLst/>
                  </a:prstGeom>
                </p:spPr>
              </p:pic>
              <p:pic>
                <p:nvPicPr>
                  <p:cNvPr id="5228" name="Graphic 1282">
                    <a:extLst>
                      <a:ext uri="{FF2B5EF4-FFF2-40B4-BE49-F238E27FC236}">
                        <a16:creationId xmlns:a16="http://schemas.microsoft.com/office/drawing/2014/main" id="{E481D686-018E-5014-4F30-478AF9EF691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322276" y="2329588"/>
                    <a:ext cx="678526" cy="640405"/>
                  </a:xfrm>
                  <a:prstGeom prst="rect">
                    <a:avLst/>
                  </a:prstGeom>
                </p:spPr>
              </p:pic>
              <p:pic>
                <p:nvPicPr>
                  <p:cNvPr id="5229" name="Graphic 1283">
                    <a:extLst>
                      <a:ext uri="{FF2B5EF4-FFF2-40B4-BE49-F238E27FC236}">
                        <a16:creationId xmlns:a16="http://schemas.microsoft.com/office/drawing/2014/main" id="{9A7068F5-3A74-E7E6-E7A5-74FC912104A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299253" y="2833295"/>
                    <a:ext cx="678526" cy="640405"/>
                  </a:xfrm>
                  <a:prstGeom prst="rect">
                    <a:avLst/>
                  </a:prstGeom>
                </p:spPr>
              </p:pic>
              <p:pic>
                <p:nvPicPr>
                  <p:cNvPr id="5230" name="Graphic 1284">
                    <a:extLst>
                      <a:ext uri="{FF2B5EF4-FFF2-40B4-BE49-F238E27FC236}">
                        <a16:creationId xmlns:a16="http://schemas.microsoft.com/office/drawing/2014/main" id="{FC843A60-0E34-92F1-EC98-65BDABBCA95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96DAC541-7B7A-43D3-8B79-37D633B846F1}">
                        <asvg:svgBlip xmlns:asvg="http://schemas.microsoft.com/office/drawing/2016/SVG/main" r:embe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369166" y="3717694"/>
                    <a:ext cx="678526" cy="640405"/>
                  </a:xfrm>
                  <a:prstGeom prst="rect">
                    <a:avLst/>
                  </a:prstGeom>
                </p:spPr>
              </p:pic>
              <p:pic>
                <p:nvPicPr>
                  <p:cNvPr id="5231" name="Graphic 1285">
                    <a:extLst>
                      <a:ext uri="{FF2B5EF4-FFF2-40B4-BE49-F238E27FC236}">
                        <a16:creationId xmlns:a16="http://schemas.microsoft.com/office/drawing/2014/main" id="{EEEDC37B-175A-63A3-61B6-62D027791D8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101569" y="3618436"/>
                    <a:ext cx="678526" cy="640405"/>
                  </a:xfrm>
                  <a:prstGeom prst="rect">
                    <a:avLst/>
                  </a:prstGeom>
                </p:spPr>
              </p:pic>
              <p:pic>
                <p:nvPicPr>
                  <p:cNvPr id="5232" name="Graphic 1286">
                    <a:extLst>
                      <a:ext uri="{FF2B5EF4-FFF2-40B4-BE49-F238E27FC236}">
                        <a16:creationId xmlns:a16="http://schemas.microsoft.com/office/drawing/2014/main" id="{8C0B89CF-B4B2-4D3A-5E3D-972A7384666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210147" y="1661379"/>
                    <a:ext cx="678526" cy="640405"/>
                  </a:xfrm>
                  <a:prstGeom prst="rect">
                    <a:avLst/>
                  </a:prstGeom>
                </p:spPr>
              </p:pic>
              <p:pic>
                <p:nvPicPr>
                  <p:cNvPr id="5233" name="Graphic 1287">
                    <a:extLst>
                      <a:ext uri="{FF2B5EF4-FFF2-40B4-BE49-F238E27FC236}">
                        <a16:creationId xmlns:a16="http://schemas.microsoft.com/office/drawing/2014/main" id="{03428CD3-84CD-04DF-473A-62B6A358D93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494708" y="2998503"/>
                    <a:ext cx="678526" cy="640405"/>
                  </a:xfrm>
                  <a:prstGeom prst="rect">
                    <a:avLst/>
                  </a:prstGeom>
                </p:spPr>
              </p:pic>
              <p:pic>
                <p:nvPicPr>
                  <p:cNvPr id="5234" name="Graphic 1288">
                    <a:extLst>
                      <a:ext uri="{FF2B5EF4-FFF2-40B4-BE49-F238E27FC236}">
                        <a16:creationId xmlns:a16="http://schemas.microsoft.com/office/drawing/2014/main" id="{E01719D0-165C-D680-9C2D-5B5B9A77878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96DAC541-7B7A-43D3-8B79-37D633B846F1}">
                        <asvg:svgBlip xmlns:asvg="http://schemas.microsoft.com/office/drawing/2016/SVG/main" r:embe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013970" y="2466260"/>
                    <a:ext cx="678526" cy="640405"/>
                  </a:xfrm>
                  <a:prstGeom prst="rect">
                    <a:avLst/>
                  </a:prstGeom>
                </p:spPr>
              </p:pic>
              <p:pic>
                <p:nvPicPr>
                  <p:cNvPr id="5235" name="Graphic 1289">
                    <a:extLst>
                      <a:ext uri="{FF2B5EF4-FFF2-40B4-BE49-F238E27FC236}">
                        <a16:creationId xmlns:a16="http://schemas.microsoft.com/office/drawing/2014/main" id="{8E756CB9-C0D7-BEFD-11B1-BA3968B33DF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638361" y="4055074"/>
                    <a:ext cx="678526" cy="640405"/>
                  </a:xfrm>
                  <a:prstGeom prst="rect">
                    <a:avLst/>
                  </a:prstGeom>
                </p:spPr>
              </p:pic>
              <p:pic>
                <p:nvPicPr>
                  <p:cNvPr id="5236" name="Graphic 1291">
                    <a:extLst>
                      <a:ext uri="{FF2B5EF4-FFF2-40B4-BE49-F238E27FC236}">
                        <a16:creationId xmlns:a16="http://schemas.microsoft.com/office/drawing/2014/main" id="{E5940A2E-1DBE-D6AE-EC4E-085EFA0D558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655611" y="2662499"/>
                    <a:ext cx="678525" cy="640407"/>
                  </a:xfrm>
                  <a:prstGeom prst="rect">
                    <a:avLst/>
                  </a:prstGeom>
                </p:spPr>
              </p:pic>
              <p:pic>
                <p:nvPicPr>
                  <p:cNvPr id="5237" name="Graphic 1292">
                    <a:extLst>
                      <a:ext uri="{FF2B5EF4-FFF2-40B4-BE49-F238E27FC236}">
                        <a16:creationId xmlns:a16="http://schemas.microsoft.com/office/drawing/2014/main" id="{05AC5EEE-733E-6A49-01CC-AC0D9DA1C17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799052" y="1328513"/>
                    <a:ext cx="678526" cy="640405"/>
                  </a:xfrm>
                  <a:prstGeom prst="rect">
                    <a:avLst/>
                  </a:prstGeom>
                </p:spPr>
              </p:pic>
              <p:pic>
                <p:nvPicPr>
                  <p:cNvPr id="5238" name="Graphic 1293">
                    <a:extLst>
                      <a:ext uri="{FF2B5EF4-FFF2-40B4-BE49-F238E27FC236}">
                        <a16:creationId xmlns:a16="http://schemas.microsoft.com/office/drawing/2014/main" id="{C683719E-30A6-C7B9-F4B5-31CBEB7EC9A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054804" y="3529685"/>
                    <a:ext cx="678526" cy="640405"/>
                  </a:xfrm>
                  <a:prstGeom prst="rect">
                    <a:avLst/>
                  </a:prstGeom>
                </p:spPr>
              </p:pic>
            </p:grpSp>
          </p:grpSp>
          <p:pic>
            <p:nvPicPr>
              <p:cNvPr id="5210" name="Graphic 1261">
                <a:extLst>
                  <a:ext uri="{FF2B5EF4-FFF2-40B4-BE49-F238E27FC236}">
                    <a16:creationId xmlns:a16="http://schemas.microsoft.com/office/drawing/2014/main" id="{6326844D-237E-CA4A-A074-ED1C60B319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693910" y="389017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211" name="Graphic 1262">
                <a:extLst>
                  <a:ext uri="{FF2B5EF4-FFF2-40B4-BE49-F238E27FC236}">
                    <a16:creationId xmlns:a16="http://schemas.microsoft.com/office/drawing/2014/main" id="{C65ED26A-F386-D9A9-3073-95D9372623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024302" y="3542493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212" name="Graphic 1263">
                <a:extLst>
                  <a:ext uri="{FF2B5EF4-FFF2-40B4-BE49-F238E27FC236}">
                    <a16:creationId xmlns:a16="http://schemas.microsoft.com/office/drawing/2014/main" id="{F306E742-27BC-2652-3535-35F34E04B5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278465" y="2958847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213" name="Graphic 1264">
                <a:extLst>
                  <a:ext uri="{FF2B5EF4-FFF2-40B4-BE49-F238E27FC236}">
                    <a16:creationId xmlns:a16="http://schemas.microsoft.com/office/drawing/2014/main" id="{256E58BE-08B5-5DE8-3CA9-D22D977538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956642" y="3838548"/>
                <a:ext cx="249333" cy="204874"/>
              </a:xfrm>
              <a:prstGeom prst="rect">
                <a:avLst/>
              </a:prstGeom>
            </p:spPr>
          </p:pic>
          <p:pic>
            <p:nvPicPr>
              <p:cNvPr id="5214" name="Graphic 1265">
                <a:extLst>
                  <a:ext uri="{FF2B5EF4-FFF2-40B4-BE49-F238E27FC236}">
                    <a16:creationId xmlns:a16="http://schemas.microsoft.com/office/drawing/2014/main" id="{804523ED-1F5A-48ED-1298-36122EC383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210116" y="3813531"/>
                <a:ext cx="249333" cy="204874"/>
              </a:xfrm>
              <a:prstGeom prst="rect">
                <a:avLst/>
              </a:prstGeom>
            </p:spPr>
          </p:pic>
          <p:pic>
            <p:nvPicPr>
              <p:cNvPr id="5215" name="Graphic 1266">
                <a:extLst>
                  <a:ext uri="{FF2B5EF4-FFF2-40B4-BE49-F238E27FC236}">
                    <a16:creationId xmlns:a16="http://schemas.microsoft.com/office/drawing/2014/main" id="{E96DF5E1-B1E8-DD57-6F75-74DA7FF3E5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009523" y="2782809"/>
                <a:ext cx="249333" cy="204874"/>
              </a:xfrm>
              <a:prstGeom prst="rect">
                <a:avLst/>
              </a:prstGeom>
            </p:spPr>
          </p:pic>
          <p:pic>
            <p:nvPicPr>
              <p:cNvPr id="5216" name="Graphic 1267">
                <a:extLst>
                  <a:ext uri="{FF2B5EF4-FFF2-40B4-BE49-F238E27FC236}">
                    <a16:creationId xmlns:a16="http://schemas.microsoft.com/office/drawing/2014/main" id="{14637976-28AF-C5AE-D55C-790FC61A65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2313" y="3142793"/>
                <a:ext cx="249333" cy="204874"/>
              </a:xfrm>
              <a:prstGeom prst="rect">
                <a:avLst/>
              </a:prstGeom>
            </p:spPr>
          </p:pic>
          <p:pic>
            <p:nvPicPr>
              <p:cNvPr id="5217" name="Graphic 1269">
                <a:extLst>
                  <a:ext uri="{FF2B5EF4-FFF2-40B4-BE49-F238E27FC236}">
                    <a16:creationId xmlns:a16="http://schemas.microsoft.com/office/drawing/2014/main" id="{279AF7A1-419F-E67B-BEA3-EEFDDCCE33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5244966" y="2744422"/>
                <a:ext cx="249333" cy="204874"/>
              </a:xfrm>
              <a:prstGeom prst="rect">
                <a:avLst/>
              </a:prstGeom>
            </p:spPr>
          </p:pic>
          <p:pic>
            <p:nvPicPr>
              <p:cNvPr id="5218" name="Graphic 1270">
                <a:extLst>
                  <a:ext uri="{FF2B5EF4-FFF2-40B4-BE49-F238E27FC236}">
                    <a16:creationId xmlns:a16="http://schemas.microsoft.com/office/drawing/2014/main" id="{8F9A9DFC-79DD-D5A3-952F-57D9F13145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1800000">
                <a:off x="5951506" y="4067096"/>
                <a:ext cx="249333" cy="204874"/>
              </a:xfrm>
              <a:prstGeom prst="rect">
                <a:avLst/>
              </a:prstGeom>
            </p:spPr>
          </p:pic>
          <p:pic>
            <p:nvPicPr>
              <p:cNvPr id="5219" name="Graphic 1271">
                <a:extLst>
                  <a:ext uri="{FF2B5EF4-FFF2-40B4-BE49-F238E27FC236}">
                    <a16:creationId xmlns:a16="http://schemas.microsoft.com/office/drawing/2014/main" id="{F2979398-5AB0-7850-C8E8-201AC2EB05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5460423" y="3964815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220" name="Graphic 1272">
                <a:extLst>
                  <a:ext uri="{FF2B5EF4-FFF2-40B4-BE49-F238E27FC236}">
                    <a16:creationId xmlns:a16="http://schemas.microsoft.com/office/drawing/2014/main" id="{4C76B06F-1C78-5E6D-1442-F2E95D9A60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900000">
                <a:off x="5752213" y="2756909"/>
                <a:ext cx="249333" cy="204874"/>
              </a:xfrm>
              <a:prstGeom prst="rect">
                <a:avLst/>
              </a:prstGeom>
            </p:spPr>
          </p:pic>
          <p:pic>
            <p:nvPicPr>
              <p:cNvPr id="5221" name="Graphic 1274">
                <a:extLst>
                  <a:ext uri="{FF2B5EF4-FFF2-40B4-BE49-F238E27FC236}">
                    <a16:creationId xmlns:a16="http://schemas.microsoft.com/office/drawing/2014/main" id="{20FD1B4A-BC35-4B00-1081-319533CA5D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7100000">
                <a:off x="4860673" y="3370999"/>
                <a:ext cx="249332" cy="204873"/>
              </a:xfrm>
              <a:prstGeom prst="rect">
                <a:avLst/>
              </a:prstGeom>
            </p:spPr>
          </p:pic>
        </p:grpSp>
        <p:pic>
          <p:nvPicPr>
            <p:cNvPr id="5201" name="Graphic 1251">
              <a:extLst>
                <a:ext uri="{FF2B5EF4-FFF2-40B4-BE49-F238E27FC236}">
                  <a16:creationId xmlns:a16="http://schemas.microsoft.com/office/drawing/2014/main" id="{7A977DE0-A731-8266-979D-81E1930DE3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367900" y="2220795"/>
              <a:ext cx="153350" cy="120187"/>
            </a:xfrm>
            <a:prstGeom prst="rect">
              <a:avLst/>
            </a:prstGeom>
          </p:spPr>
        </p:pic>
        <p:pic>
          <p:nvPicPr>
            <p:cNvPr id="5202" name="Graphic 1252">
              <a:extLst>
                <a:ext uri="{FF2B5EF4-FFF2-40B4-BE49-F238E27FC236}">
                  <a16:creationId xmlns:a16="http://schemas.microsoft.com/office/drawing/2014/main" id="{BE192D2C-9CE0-02A2-2D37-4D6728C503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854762" y="2299145"/>
              <a:ext cx="137864" cy="108050"/>
            </a:xfrm>
            <a:prstGeom prst="rect">
              <a:avLst/>
            </a:prstGeom>
          </p:spPr>
        </p:pic>
        <p:pic>
          <p:nvPicPr>
            <p:cNvPr id="5203" name="Graphic 1253">
              <a:extLst>
                <a:ext uri="{FF2B5EF4-FFF2-40B4-BE49-F238E27FC236}">
                  <a16:creationId xmlns:a16="http://schemas.microsoft.com/office/drawing/2014/main" id="{EF60DD02-2165-DE04-77C8-D58E9278666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4500000">
              <a:off x="3318467" y="2720703"/>
              <a:ext cx="153350" cy="120187"/>
            </a:xfrm>
            <a:prstGeom prst="rect">
              <a:avLst/>
            </a:prstGeom>
          </p:spPr>
        </p:pic>
        <p:pic>
          <p:nvPicPr>
            <p:cNvPr id="5204" name="Graphic 1254">
              <a:extLst>
                <a:ext uri="{FF2B5EF4-FFF2-40B4-BE49-F238E27FC236}">
                  <a16:creationId xmlns:a16="http://schemas.microsoft.com/office/drawing/2014/main" id="{3295EFCF-05A2-B59A-71B2-0C14AE0A27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7200000">
              <a:off x="3148110" y="2658937"/>
              <a:ext cx="153350" cy="120187"/>
            </a:xfrm>
            <a:prstGeom prst="rect">
              <a:avLst/>
            </a:prstGeom>
          </p:spPr>
        </p:pic>
        <p:pic>
          <p:nvPicPr>
            <p:cNvPr id="5205" name="Graphic 1255">
              <a:extLst>
                <a:ext uri="{FF2B5EF4-FFF2-40B4-BE49-F238E27FC236}">
                  <a16:creationId xmlns:a16="http://schemas.microsoft.com/office/drawing/2014/main" id="{BE92E5D3-0365-3D8C-C354-3EAB6ED2FCA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7200000">
              <a:off x="2988353" y="2491555"/>
              <a:ext cx="153350" cy="120187"/>
            </a:xfrm>
            <a:prstGeom prst="rect">
              <a:avLst/>
            </a:prstGeom>
          </p:spPr>
        </p:pic>
        <p:pic>
          <p:nvPicPr>
            <p:cNvPr id="5206" name="Graphic 1257">
              <a:extLst>
                <a:ext uri="{FF2B5EF4-FFF2-40B4-BE49-F238E27FC236}">
                  <a16:creationId xmlns:a16="http://schemas.microsoft.com/office/drawing/2014/main" id="{EADC94AB-9725-F186-F037-3C64A506B64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2700000">
              <a:off x="2920755" y="2403018"/>
              <a:ext cx="105240" cy="82481"/>
            </a:xfrm>
            <a:prstGeom prst="rect">
              <a:avLst/>
            </a:prstGeom>
          </p:spPr>
        </p:pic>
        <p:pic>
          <p:nvPicPr>
            <p:cNvPr id="5207" name="Graphic 1258">
              <a:extLst>
                <a:ext uri="{FF2B5EF4-FFF2-40B4-BE49-F238E27FC236}">
                  <a16:creationId xmlns:a16="http://schemas.microsoft.com/office/drawing/2014/main" id="{58E6D820-76B3-6ED8-D4FB-B07298D0D2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6595814">
              <a:off x="3023331" y="1988535"/>
              <a:ext cx="153350" cy="120187"/>
            </a:xfrm>
            <a:prstGeom prst="rect">
              <a:avLst/>
            </a:prstGeom>
          </p:spPr>
        </p:pic>
        <p:pic>
          <p:nvPicPr>
            <p:cNvPr id="5208" name="Graphic 1259">
              <a:extLst>
                <a:ext uri="{FF2B5EF4-FFF2-40B4-BE49-F238E27FC236}">
                  <a16:creationId xmlns:a16="http://schemas.microsoft.com/office/drawing/2014/main" id="{30EAA786-C9F0-F9EF-04B5-134777E980E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61036" y="1828364"/>
              <a:ext cx="130304" cy="102125"/>
            </a:xfrm>
            <a:prstGeom prst="rect">
              <a:avLst/>
            </a:prstGeom>
          </p:spPr>
        </p:pic>
      </p:grpSp>
      <p:grpSp>
        <p:nvGrpSpPr>
          <p:cNvPr id="5239" name="Graphic 1853">
            <a:extLst>
              <a:ext uri="{FF2B5EF4-FFF2-40B4-BE49-F238E27FC236}">
                <a16:creationId xmlns:a16="http://schemas.microsoft.com/office/drawing/2014/main" id="{0C214605-63E4-279D-5C5E-942053AE9DFE}"/>
              </a:ext>
            </a:extLst>
          </p:cNvPr>
          <p:cNvGrpSpPr/>
          <p:nvPr/>
        </p:nvGrpSpPr>
        <p:grpSpPr>
          <a:xfrm rot="4500000">
            <a:off x="4020155" y="2695658"/>
            <a:ext cx="198584" cy="175297"/>
            <a:chOff x="5303671" y="4139642"/>
            <a:chExt cx="198584" cy="175297"/>
          </a:xfrm>
        </p:grpSpPr>
        <p:sp>
          <p:nvSpPr>
            <p:cNvPr id="5240" name="Freeform 45">
              <a:extLst>
                <a:ext uri="{FF2B5EF4-FFF2-40B4-BE49-F238E27FC236}">
                  <a16:creationId xmlns:a16="http://schemas.microsoft.com/office/drawing/2014/main" id="{E81D5982-1670-6216-239F-46FF3DD74DFF}"/>
                </a:ext>
              </a:extLst>
            </p:cNvPr>
            <p:cNvSpPr/>
            <p:nvPr/>
          </p:nvSpPr>
          <p:spPr>
            <a:xfrm>
              <a:off x="5303671" y="4139642"/>
              <a:ext cx="198584" cy="175297"/>
            </a:xfrm>
            <a:custGeom>
              <a:avLst/>
              <a:gdLst>
                <a:gd name="connsiteX0" fmla="*/ 66833 w 198584"/>
                <a:gd name="connsiteY0" fmla="*/ 8214 h 175297"/>
                <a:gd name="connsiteX1" fmla="*/ 78057 w 198584"/>
                <a:gd name="connsiteY1" fmla="*/ 2008 h 175297"/>
                <a:gd name="connsiteX2" fmla="*/ 96050 w 198584"/>
                <a:gd name="connsiteY2" fmla="*/ 200 h 175297"/>
                <a:gd name="connsiteX3" fmla="*/ 154551 w 198584"/>
                <a:gd name="connsiteY3" fmla="*/ 20441 h 175297"/>
                <a:gd name="connsiteX4" fmla="*/ 183331 w 198584"/>
                <a:gd name="connsiteY4" fmla="*/ 34836 h 175297"/>
                <a:gd name="connsiteX5" fmla="*/ 195326 w 198584"/>
                <a:gd name="connsiteY5" fmla="*/ 43465 h 175297"/>
                <a:gd name="connsiteX6" fmla="*/ 198454 w 198584"/>
                <a:gd name="connsiteY6" fmla="*/ 60716 h 175297"/>
                <a:gd name="connsiteX7" fmla="*/ 195832 w 198584"/>
                <a:gd name="connsiteY7" fmla="*/ 94632 h 175297"/>
                <a:gd name="connsiteX8" fmla="*/ 187889 w 198584"/>
                <a:gd name="connsiteY8" fmla="*/ 131419 h 175297"/>
                <a:gd name="connsiteX9" fmla="*/ 162871 w 198584"/>
                <a:gd name="connsiteY9" fmla="*/ 159945 h 175297"/>
                <a:gd name="connsiteX10" fmla="*/ 134597 w 198584"/>
                <a:gd name="connsiteY10" fmla="*/ 167359 h 175297"/>
                <a:gd name="connsiteX11" fmla="*/ 100128 w 198584"/>
                <a:gd name="connsiteY11" fmla="*/ 172621 h 175297"/>
                <a:gd name="connsiteX12" fmla="*/ 50717 w 198584"/>
                <a:gd name="connsiteY12" fmla="*/ 171565 h 175297"/>
                <a:gd name="connsiteX13" fmla="*/ 20060 w 198584"/>
                <a:gd name="connsiteY13" fmla="*/ 145710 h 175297"/>
                <a:gd name="connsiteX14" fmla="*/ 157 w 198584"/>
                <a:gd name="connsiteY14" fmla="*/ 101342 h 175297"/>
                <a:gd name="connsiteX15" fmla="*/ 20960 w 198584"/>
                <a:gd name="connsiteY15" fmla="*/ 54846 h 175297"/>
                <a:gd name="connsiteX16" fmla="*/ 66833 w 198584"/>
                <a:gd name="connsiteY16" fmla="*/ 8214 h 17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8584" h="175297">
                  <a:moveTo>
                    <a:pt x="66833" y="8214"/>
                  </a:moveTo>
                  <a:cubicBezTo>
                    <a:pt x="70255" y="5679"/>
                    <a:pt x="74031" y="3591"/>
                    <a:pt x="78057" y="2008"/>
                  </a:cubicBezTo>
                  <a:cubicBezTo>
                    <a:pt x="83729" y="-24"/>
                    <a:pt x="89975" y="-263"/>
                    <a:pt x="96050" y="200"/>
                  </a:cubicBezTo>
                  <a:cubicBezTo>
                    <a:pt x="116938" y="1800"/>
                    <a:pt x="136079" y="11213"/>
                    <a:pt x="154551" y="20441"/>
                  </a:cubicBezTo>
                  <a:lnTo>
                    <a:pt x="183331" y="34836"/>
                  </a:lnTo>
                  <a:cubicBezTo>
                    <a:pt x="187829" y="37084"/>
                    <a:pt x="192525" y="39491"/>
                    <a:pt x="195326" y="43465"/>
                  </a:cubicBezTo>
                  <a:cubicBezTo>
                    <a:pt x="198831" y="48416"/>
                    <a:pt x="198753" y="54790"/>
                    <a:pt x="198454" y="60716"/>
                  </a:cubicBezTo>
                  <a:cubicBezTo>
                    <a:pt x="197882" y="72040"/>
                    <a:pt x="197008" y="83345"/>
                    <a:pt x="195832" y="94632"/>
                  </a:cubicBezTo>
                  <a:cubicBezTo>
                    <a:pt x="194504" y="107116"/>
                    <a:pt x="192764" y="119719"/>
                    <a:pt x="187889" y="131419"/>
                  </a:cubicBezTo>
                  <a:cubicBezTo>
                    <a:pt x="183014" y="143119"/>
                    <a:pt x="174678" y="153955"/>
                    <a:pt x="162871" y="159945"/>
                  </a:cubicBezTo>
                  <a:cubicBezTo>
                    <a:pt x="154217" y="164336"/>
                    <a:pt x="144296" y="165879"/>
                    <a:pt x="134597" y="167359"/>
                  </a:cubicBezTo>
                  <a:lnTo>
                    <a:pt x="100128" y="172621"/>
                  </a:lnTo>
                  <a:cubicBezTo>
                    <a:pt x="83635" y="175140"/>
                    <a:pt x="66139" y="177539"/>
                    <a:pt x="50717" y="171565"/>
                  </a:cubicBezTo>
                  <a:cubicBezTo>
                    <a:pt x="37865" y="166583"/>
                    <a:pt x="28131" y="156371"/>
                    <a:pt x="20060" y="145710"/>
                  </a:cubicBezTo>
                  <a:cubicBezTo>
                    <a:pt x="10010" y="132467"/>
                    <a:pt x="1528" y="117560"/>
                    <a:pt x="157" y="101342"/>
                  </a:cubicBezTo>
                  <a:cubicBezTo>
                    <a:pt x="-1497" y="81636"/>
                    <a:pt x="10207" y="70000"/>
                    <a:pt x="20960" y="54846"/>
                  </a:cubicBezTo>
                  <a:cubicBezTo>
                    <a:pt x="33692" y="36900"/>
                    <a:pt x="48163" y="21129"/>
                    <a:pt x="66833" y="8214"/>
                  </a:cubicBezTo>
                  <a:close/>
                </a:path>
              </a:pathLst>
            </a:custGeom>
            <a:solidFill>
              <a:srgbClr val="2F3651"/>
            </a:solidFill>
            <a:ln w="5043" cap="flat">
              <a:solidFill>
                <a:srgbClr val="58586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  <p:sp>
          <p:nvSpPr>
            <p:cNvPr id="5241" name="Freeform 46">
              <a:extLst>
                <a:ext uri="{FF2B5EF4-FFF2-40B4-BE49-F238E27FC236}">
                  <a16:creationId xmlns:a16="http://schemas.microsoft.com/office/drawing/2014/main" id="{583D3C54-E68D-2F2E-78D8-687AE0FEBC03}"/>
                </a:ext>
              </a:extLst>
            </p:cNvPr>
            <p:cNvSpPr/>
            <p:nvPr/>
          </p:nvSpPr>
          <p:spPr>
            <a:xfrm>
              <a:off x="5363641" y="4195639"/>
              <a:ext cx="84822" cy="87969"/>
            </a:xfrm>
            <a:custGeom>
              <a:avLst/>
              <a:gdLst>
                <a:gd name="connsiteX0" fmla="*/ 84823 w 84822"/>
                <a:gd name="connsiteY0" fmla="*/ 43985 h 87969"/>
                <a:gd name="connsiteX1" fmla="*/ 42411 w 84822"/>
                <a:gd name="connsiteY1" fmla="*/ 87970 h 87969"/>
                <a:gd name="connsiteX2" fmla="*/ 0 w 84822"/>
                <a:gd name="connsiteY2" fmla="*/ 43985 h 87969"/>
                <a:gd name="connsiteX3" fmla="*/ 42411 w 84822"/>
                <a:gd name="connsiteY3" fmla="*/ 0 h 87969"/>
                <a:gd name="connsiteX4" fmla="*/ 84823 w 84822"/>
                <a:gd name="connsiteY4" fmla="*/ 43985 h 87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22" h="87969">
                  <a:moveTo>
                    <a:pt x="84823" y="43985"/>
                  </a:moveTo>
                  <a:cubicBezTo>
                    <a:pt x="84823" y="68277"/>
                    <a:pt x="65834" y="87970"/>
                    <a:pt x="42411" y="87970"/>
                  </a:cubicBezTo>
                  <a:cubicBezTo>
                    <a:pt x="18988" y="87970"/>
                    <a:pt x="0" y="68277"/>
                    <a:pt x="0" y="43985"/>
                  </a:cubicBezTo>
                  <a:cubicBezTo>
                    <a:pt x="0" y="19693"/>
                    <a:pt x="18988" y="0"/>
                    <a:pt x="42411" y="0"/>
                  </a:cubicBezTo>
                  <a:cubicBezTo>
                    <a:pt x="65834" y="0"/>
                    <a:pt x="84823" y="19693"/>
                    <a:pt x="84823" y="43985"/>
                  </a:cubicBezTo>
                  <a:close/>
                </a:path>
              </a:pathLst>
            </a:custGeom>
            <a:solidFill>
              <a:srgbClr val="E3E7F7">
                <a:alpha val="48000"/>
              </a:srgbClr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  <p:sp>
          <p:nvSpPr>
            <p:cNvPr id="5242" name="Freeform 48">
              <a:extLst>
                <a:ext uri="{FF2B5EF4-FFF2-40B4-BE49-F238E27FC236}">
                  <a16:creationId xmlns:a16="http://schemas.microsoft.com/office/drawing/2014/main" id="{B2012777-F3DE-418C-C8EB-7C109B830358}"/>
                </a:ext>
              </a:extLst>
            </p:cNvPr>
            <p:cNvSpPr/>
            <p:nvPr/>
          </p:nvSpPr>
          <p:spPr>
            <a:xfrm>
              <a:off x="5437334" y="4167129"/>
              <a:ext cx="49071" cy="76845"/>
            </a:xfrm>
            <a:custGeom>
              <a:avLst/>
              <a:gdLst>
                <a:gd name="connsiteX0" fmla="*/ 37802 w 49071"/>
                <a:gd name="connsiteY0" fmla="*/ 16146 h 76845"/>
                <a:gd name="connsiteX1" fmla="*/ 47723 w 49071"/>
                <a:gd name="connsiteY1" fmla="*/ 23640 h 76845"/>
                <a:gd name="connsiteX2" fmla="*/ 48906 w 49071"/>
                <a:gd name="connsiteY2" fmla="*/ 30653 h 76845"/>
                <a:gd name="connsiteX3" fmla="*/ 44528 w 49071"/>
                <a:gd name="connsiteY3" fmla="*/ 76846 h 76845"/>
                <a:gd name="connsiteX4" fmla="*/ 39901 w 49071"/>
                <a:gd name="connsiteY4" fmla="*/ 39562 h 76845"/>
                <a:gd name="connsiteX5" fmla="*/ 21420 w 49071"/>
                <a:gd name="connsiteY5" fmla="*/ 19137 h 76845"/>
                <a:gd name="connsiteX6" fmla="*/ 0 w 49071"/>
                <a:gd name="connsiteY6" fmla="*/ 0 h 76845"/>
                <a:gd name="connsiteX7" fmla="*/ 37802 w 49071"/>
                <a:gd name="connsiteY7" fmla="*/ 16146 h 76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071" h="76845">
                  <a:moveTo>
                    <a:pt x="37802" y="16146"/>
                  </a:moveTo>
                  <a:cubicBezTo>
                    <a:pt x="41717" y="17898"/>
                    <a:pt x="45924" y="19945"/>
                    <a:pt x="47723" y="23640"/>
                  </a:cubicBezTo>
                  <a:cubicBezTo>
                    <a:pt x="48777" y="25807"/>
                    <a:pt x="48854" y="28270"/>
                    <a:pt x="48906" y="30653"/>
                  </a:cubicBezTo>
                  <a:cubicBezTo>
                    <a:pt x="49249" y="46184"/>
                    <a:pt x="49540" y="62035"/>
                    <a:pt x="44528" y="76846"/>
                  </a:cubicBezTo>
                  <a:cubicBezTo>
                    <a:pt x="40244" y="64922"/>
                    <a:pt x="44528" y="51374"/>
                    <a:pt x="39901" y="39562"/>
                  </a:cubicBezTo>
                  <a:cubicBezTo>
                    <a:pt x="36508" y="30893"/>
                    <a:pt x="28934" y="24735"/>
                    <a:pt x="21420" y="19137"/>
                  </a:cubicBezTo>
                  <a:cubicBezTo>
                    <a:pt x="14831" y="14235"/>
                    <a:pt x="2570" y="7789"/>
                    <a:pt x="0" y="0"/>
                  </a:cubicBezTo>
                  <a:cubicBezTo>
                    <a:pt x="12732" y="2943"/>
                    <a:pt x="25909" y="10804"/>
                    <a:pt x="37802" y="16146"/>
                  </a:cubicBezTo>
                  <a:close/>
                </a:path>
              </a:pathLst>
            </a:custGeom>
            <a:solidFill>
              <a:srgbClr val="FFFFFF"/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</p:grpSp>
      <p:sp>
        <p:nvSpPr>
          <p:cNvPr id="5243" name="Freeform 1859">
            <a:extLst>
              <a:ext uri="{FF2B5EF4-FFF2-40B4-BE49-F238E27FC236}">
                <a16:creationId xmlns:a16="http://schemas.microsoft.com/office/drawing/2014/main" id="{0F6EF2FB-2F72-015A-1DA0-9C871AC9F204}"/>
              </a:ext>
            </a:extLst>
          </p:cNvPr>
          <p:cNvSpPr/>
          <p:nvPr/>
        </p:nvSpPr>
        <p:spPr>
          <a:xfrm>
            <a:off x="4184619" y="1761435"/>
            <a:ext cx="1994972" cy="1040527"/>
          </a:xfrm>
          <a:custGeom>
            <a:avLst/>
            <a:gdLst>
              <a:gd name="connsiteX0" fmla="*/ 0 w 2336800"/>
              <a:gd name="connsiteY0" fmla="*/ 474133 h 1210733"/>
              <a:gd name="connsiteX1" fmla="*/ 2336800 w 2336800"/>
              <a:gd name="connsiteY1" fmla="*/ 0 h 1210733"/>
              <a:gd name="connsiteX2" fmla="*/ 2336800 w 2336800"/>
              <a:gd name="connsiteY2" fmla="*/ 1210733 h 1210733"/>
              <a:gd name="connsiteX3" fmla="*/ 0 w 2336800"/>
              <a:gd name="connsiteY3" fmla="*/ 474133 h 1210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36800" h="1210733">
                <a:moveTo>
                  <a:pt x="0" y="474133"/>
                </a:moveTo>
                <a:lnTo>
                  <a:pt x="2336800" y="0"/>
                </a:lnTo>
                <a:lnTo>
                  <a:pt x="2336800" y="1210733"/>
                </a:lnTo>
                <a:lnTo>
                  <a:pt x="0" y="474133"/>
                </a:lnTo>
                <a:close/>
              </a:path>
            </a:pathLst>
          </a:custGeom>
          <a:gradFill>
            <a:gsLst>
              <a:gs pos="0">
                <a:srgbClr val="FFFFFF">
                  <a:lumMod val="20000"/>
                  <a:lumOff val="80000"/>
                  <a:alpha val="50000"/>
                </a:srgbClr>
              </a:gs>
              <a:gs pos="100000">
                <a:srgbClr val="D1D7EE"/>
              </a:gs>
              <a:gs pos="66000">
                <a:srgbClr val="D1D7EE">
                  <a:alpha val="25000"/>
                </a:srgbClr>
              </a:gs>
            </a:gsLst>
            <a:lin ang="0" scaled="1"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55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Calibri" panose="020F0502020204030204"/>
              <a:cs typeface="Arial"/>
            </a:endParaRPr>
          </a:p>
        </p:txBody>
      </p:sp>
      <p:sp>
        <p:nvSpPr>
          <p:cNvPr id="5244" name="Rectangle 1384">
            <a:extLst>
              <a:ext uri="{FF2B5EF4-FFF2-40B4-BE49-F238E27FC236}">
                <a16:creationId xmlns:a16="http://schemas.microsoft.com/office/drawing/2014/main" id="{5FECEFC9-8B02-B79D-C2C1-CB6F4F314CD6}"/>
              </a:ext>
            </a:extLst>
          </p:cNvPr>
          <p:cNvSpPr/>
          <p:nvPr/>
        </p:nvSpPr>
        <p:spPr>
          <a:xfrm>
            <a:off x="7124848" y="1515113"/>
            <a:ext cx="1744070" cy="3739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435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" sz="900" b="1">
                <a:solidFill>
                  <a:srgbClr val="7030A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Immunvermittelte</a:t>
            </a:r>
            <a:r>
              <a:rPr lang="de" sz="900">
                <a:solidFill>
                  <a:srgbClr val="B68538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 </a:t>
            </a:r>
            <a:r>
              <a:rPr lang="de" sz="900">
                <a:solidFill>
                  <a:srgbClr val="2F3651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Dysregulation von Betazellen führt zu </a:t>
            </a:r>
            <a:r>
              <a:rPr lang="de" sz="900" b="1">
                <a:solidFill>
                  <a:srgbClr val="7030A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Insulinmangel</a:t>
            </a:r>
            <a:r>
              <a:rPr lang="de" sz="900" baseline="30000">
                <a:solidFill>
                  <a:srgbClr val="2F3651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1,2</a:t>
            </a:r>
          </a:p>
        </p:txBody>
      </p:sp>
      <p:pic>
        <p:nvPicPr>
          <p:cNvPr id="5245" name="Graphic 1387">
            <a:extLst>
              <a:ext uri="{FF2B5EF4-FFF2-40B4-BE49-F238E27FC236}">
                <a16:creationId xmlns:a16="http://schemas.microsoft.com/office/drawing/2014/main" id="{678287B4-9C0F-A54F-A02F-F2B82F91228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749020" y="1605953"/>
            <a:ext cx="1582046" cy="1245059"/>
          </a:xfrm>
          <a:prstGeom prst="rect">
            <a:avLst/>
          </a:prstGeom>
        </p:spPr>
      </p:pic>
      <p:sp>
        <p:nvSpPr>
          <p:cNvPr id="5246" name="Rectangle 1393">
            <a:extLst>
              <a:ext uri="{FF2B5EF4-FFF2-40B4-BE49-F238E27FC236}">
                <a16:creationId xmlns:a16="http://schemas.microsoft.com/office/drawing/2014/main" id="{C49DC955-3E48-713A-B35F-06D52E5D8916}"/>
              </a:ext>
            </a:extLst>
          </p:cNvPr>
          <p:cNvSpPr/>
          <p:nvPr/>
        </p:nvSpPr>
        <p:spPr>
          <a:xfrm>
            <a:off x="7694207" y="2629306"/>
            <a:ext cx="727077" cy="35317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914355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" sz="900">
                <a:solidFill>
                  <a:srgbClr val="2F3651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Insulin-sekretion</a:t>
            </a:r>
            <a:r>
              <a:rPr lang="de" sz="900" baseline="30000">
                <a:solidFill>
                  <a:srgbClr val="2F3651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1,6</a:t>
            </a:r>
            <a:endParaRPr lang="en-US" sz="900" baseline="30000">
              <a:solidFill>
                <a:srgbClr val="2F3651"/>
              </a:solidFill>
              <a:ea typeface="Calibri" panose="020F0502020204030204"/>
              <a:cs typeface="Arial" panose="020B0604020202020204" pitchFamily="34" charset="0"/>
            </a:endParaRPr>
          </a:p>
          <a:p>
            <a:pPr algn="ctr" defTabSz="914355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2F3651"/>
              </a:solidFill>
              <a:ea typeface="Calibri" panose="020F0502020204030204"/>
              <a:cs typeface="Arial" panose="020B0604020202020204" pitchFamily="34" charset="0"/>
            </a:endParaRPr>
          </a:p>
        </p:txBody>
      </p:sp>
      <p:grpSp>
        <p:nvGrpSpPr>
          <p:cNvPr id="5247" name="Group 1394">
            <a:extLst>
              <a:ext uri="{FF2B5EF4-FFF2-40B4-BE49-F238E27FC236}">
                <a16:creationId xmlns:a16="http://schemas.microsoft.com/office/drawing/2014/main" id="{0F8A4FC1-18B9-6601-D308-EA5F900CE5B1}"/>
              </a:ext>
            </a:extLst>
          </p:cNvPr>
          <p:cNvGrpSpPr/>
          <p:nvPr/>
        </p:nvGrpSpPr>
        <p:grpSpPr>
          <a:xfrm>
            <a:off x="5820610" y="2250456"/>
            <a:ext cx="1303348" cy="552840"/>
            <a:chOff x="7851709" y="2288299"/>
            <a:chExt cx="1378904" cy="584888"/>
          </a:xfrm>
        </p:grpSpPr>
        <p:pic>
          <p:nvPicPr>
            <p:cNvPr id="5248" name="Graphic 1395">
              <a:extLst>
                <a:ext uri="{FF2B5EF4-FFF2-40B4-BE49-F238E27FC236}">
                  <a16:creationId xmlns:a16="http://schemas.microsoft.com/office/drawing/2014/main" id="{ED11D434-5C8B-24AC-E066-6CE3FE263C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1470927">
              <a:off x="7959625" y="2446590"/>
              <a:ext cx="335598" cy="210399"/>
            </a:xfrm>
            <a:prstGeom prst="rect">
              <a:avLst/>
            </a:prstGeom>
          </p:spPr>
        </p:pic>
        <p:pic>
          <p:nvPicPr>
            <p:cNvPr id="5249" name="Graphic 1396">
              <a:extLst>
                <a:ext uri="{FF2B5EF4-FFF2-40B4-BE49-F238E27FC236}">
                  <a16:creationId xmlns:a16="http://schemas.microsoft.com/office/drawing/2014/main" id="{24FE9738-7D82-3516-FAA1-8FEEC52280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1470927">
              <a:off x="8895015" y="2466074"/>
              <a:ext cx="335598" cy="210399"/>
            </a:xfrm>
            <a:prstGeom prst="rect">
              <a:avLst/>
            </a:prstGeom>
          </p:spPr>
        </p:pic>
        <p:pic>
          <p:nvPicPr>
            <p:cNvPr id="5250" name="Graphic 1397">
              <a:extLst>
                <a:ext uri="{FF2B5EF4-FFF2-40B4-BE49-F238E27FC236}">
                  <a16:creationId xmlns:a16="http://schemas.microsoft.com/office/drawing/2014/main" id="{AA8AC9C8-FC0E-86EE-485E-DB45D9D4CC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10800000">
              <a:off x="8186456" y="2662788"/>
              <a:ext cx="335598" cy="210399"/>
            </a:xfrm>
            <a:prstGeom prst="rect">
              <a:avLst/>
            </a:prstGeom>
          </p:spPr>
        </p:pic>
        <p:pic>
          <p:nvPicPr>
            <p:cNvPr id="5251" name="Graphic 1398">
              <a:extLst>
                <a:ext uri="{FF2B5EF4-FFF2-40B4-BE49-F238E27FC236}">
                  <a16:creationId xmlns:a16="http://schemas.microsoft.com/office/drawing/2014/main" id="{1C611D43-6AF6-E4CD-7B31-48C616B9E4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12629067">
              <a:off x="7851709" y="2288299"/>
              <a:ext cx="333333" cy="208979"/>
            </a:xfrm>
            <a:prstGeom prst="rect">
              <a:avLst/>
            </a:prstGeom>
          </p:spPr>
        </p:pic>
      </p:grpSp>
      <p:pic>
        <p:nvPicPr>
          <p:cNvPr id="5252" name="Graphic 899">
            <a:extLst>
              <a:ext uri="{FF2B5EF4-FFF2-40B4-BE49-F238E27FC236}">
                <a16:creationId xmlns:a16="http://schemas.microsoft.com/office/drawing/2014/main" id="{20D55591-1844-D3D5-A255-97BB00CFD17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470927">
            <a:off x="7330230" y="2655109"/>
            <a:ext cx="217264" cy="167021"/>
          </a:xfrm>
          <a:prstGeom prst="rect">
            <a:avLst/>
          </a:prstGeom>
        </p:spPr>
      </p:pic>
      <p:pic>
        <p:nvPicPr>
          <p:cNvPr id="5253" name="Graphic 900">
            <a:extLst>
              <a:ext uri="{FF2B5EF4-FFF2-40B4-BE49-F238E27FC236}">
                <a16:creationId xmlns:a16="http://schemas.microsoft.com/office/drawing/2014/main" id="{EE440C10-9B69-C5F3-22D2-BE0B390EFAC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470927">
            <a:off x="7033681" y="2490877"/>
            <a:ext cx="357473" cy="274808"/>
          </a:xfrm>
          <a:prstGeom prst="rect">
            <a:avLst/>
          </a:prstGeom>
        </p:spPr>
      </p:pic>
      <p:pic>
        <p:nvPicPr>
          <p:cNvPr id="5254" name="Graphic 1389">
            <a:extLst>
              <a:ext uri="{FF2B5EF4-FFF2-40B4-BE49-F238E27FC236}">
                <a16:creationId xmlns:a16="http://schemas.microsoft.com/office/drawing/2014/main" id="{F0B253AE-36DD-682C-FFD2-5CDE9D2125C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0800000">
            <a:off x="6428880" y="2604774"/>
            <a:ext cx="317209" cy="198871"/>
          </a:xfrm>
          <a:prstGeom prst="rect">
            <a:avLst/>
          </a:prstGeom>
        </p:spPr>
      </p:pic>
      <p:grpSp>
        <p:nvGrpSpPr>
          <p:cNvPr id="5255" name="Group 1372">
            <a:extLst>
              <a:ext uri="{FF2B5EF4-FFF2-40B4-BE49-F238E27FC236}">
                <a16:creationId xmlns:a16="http://schemas.microsoft.com/office/drawing/2014/main" id="{8519EB56-35AC-0545-34E1-576C79B655D3}"/>
              </a:ext>
            </a:extLst>
          </p:cNvPr>
          <p:cNvGrpSpPr>
            <a:grpSpLocks noChangeAspect="1"/>
          </p:cNvGrpSpPr>
          <p:nvPr/>
        </p:nvGrpSpPr>
        <p:grpSpPr>
          <a:xfrm>
            <a:off x="5967157" y="1875724"/>
            <a:ext cx="1278298" cy="918359"/>
            <a:chOff x="8275555" y="3861691"/>
            <a:chExt cx="1327240" cy="953523"/>
          </a:xfrm>
        </p:grpSpPr>
        <p:grpSp>
          <p:nvGrpSpPr>
            <p:cNvPr id="5256" name="Group 1375">
              <a:extLst>
                <a:ext uri="{FF2B5EF4-FFF2-40B4-BE49-F238E27FC236}">
                  <a16:creationId xmlns:a16="http://schemas.microsoft.com/office/drawing/2014/main" id="{4E45CC36-F5A4-040F-88C8-C991908BA6FD}"/>
                </a:ext>
              </a:extLst>
            </p:cNvPr>
            <p:cNvGrpSpPr/>
            <p:nvPr/>
          </p:nvGrpSpPr>
          <p:grpSpPr>
            <a:xfrm>
              <a:off x="8275555" y="4435449"/>
              <a:ext cx="1292415" cy="379765"/>
              <a:chOff x="7937076" y="2465589"/>
              <a:chExt cx="1292415" cy="379765"/>
            </a:xfrm>
          </p:grpSpPr>
          <p:pic>
            <p:nvPicPr>
              <p:cNvPr id="5260" name="Graphic 1931">
                <a:extLst>
                  <a:ext uri="{FF2B5EF4-FFF2-40B4-BE49-F238E27FC236}">
                    <a16:creationId xmlns:a16="http://schemas.microsoft.com/office/drawing/2014/main" id="{6552AA7D-D73C-C640-E3E6-3C6E8FC125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470927">
                <a:off x="7937076" y="2480824"/>
                <a:ext cx="379763" cy="291945"/>
              </a:xfrm>
              <a:prstGeom prst="rect">
                <a:avLst/>
              </a:prstGeom>
            </p:spPr>
          </p:pic>
          <p:pic>
            <p:nvPicPr>
              <p:cNvPr id="5261" name="Graphic 1932">
                <a:extLst>
                  <a:ext uri="{FF2B5EF4-FFF2-40B4-BE49-F238E27FC236}">
                    <a16:creationId xmlns:a16="http://schemas.microsoft.com/office/drawing/2014/main" id="{6B38B985-7A15-0C39-EE8B-18365240D1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7070215">
                <a:off x="8893636" y="2509500"/>
                <a:ext cx="379765" cy="291944"/>
              </a:xfrm>
              <a:prstGeom prst="rect">
                <a:avLst/>
              </a:prstGeom>
            </p:spPr>
          </p:pic>
        </p:grpSp>
        <p:grpSp>
          <p:nvGrpSpPr>
            <p:cNvPr id="5257" name="Graphic 1922">
              <a:extLst>
                <a:ext uri="{FF2B5EF4-FFF2-40B4-BE49-F238E27FC236}">
                  <a16:creationId xmlns:a16="http://schemas.microsoft.com/office/drawing/2014/main" id="{DC850A47-904C-5547-26F9-46869A65EF70}"/>
                </a:ext>
              </a:extLst>
            </p:cNvPr>
            <p:cNvGrpSpPr/>
            <p:nvPr/>
          </p:nvGrpSpPr>
          <p:grpSpPr>
            <a:xfrm>
              <a:off x="8584404" y="3861691"/>
              <a:ext cx="1018391" cy="789982"/>
              <a:chOff x="8584404" y="3861691"/>
              <a:chExt cx="1018391" cy="789982"/>
            </a:xfrm>
          </p:grpSpPr>
          <p:sp>
            <p:nvSpPr>
              <p:cNvPr id="5258" name="Freeform 56">
                <a:extLst>
                  <a:ext uri="{FF2B5EF4-FFF2-40B4-BE49-F238E27FC236}">
                    <a16:creationId xmlns:a16="http://schemas.microsoft.com/office/drawing/2014/main" id="{C5A388AC-77C2-6686-8C03-62DF2D84053F}"/>
                  </a:ext>
                </a:extLst>
              </p:cNvPr>
              <p:cNvSpPr/>
              <p:nvPr/>
            </p:nvSpPr>
            <p:spPr>
              <a:xfrm>
                <a:off x="9203114" y="3861691"/>
                <a:ext cx="399681" cy="555929"/>
              </a:xfrm>
              <a:custGeom>
                <a:avLst/>
                <a:gdLst>
                  <a:gd name="connsiteX0" fmla="*/ 307893 w 399681"/>
                  <a:gd name="connsiteY0" fmla="*/ 116809 h 555929"/>
                  <a:gd name="connsiteX1" fmla="*/ 388704 w 399681"/>
                  <a:gd name="connsiteY1" fmla="*/ 171020 h 555929"/>
                  <a:gd name="connsiteX2" fmla="*/ 398335 w 399681"/>
                  <a:gd name="connsiteY2" fmla="*/ 221759 h 555929"/>
                  <a:gd name="connsiteX3" fmla="*/ 362674 w 399681"/>
                  <a:gd name="connsiteY3" fmla="*/ 555930 h 555929"/>
                  <a:gd name="connsiteX4" fmla="*/ 324990 w 399681"/>
                  <a:gd name="connsiteY4" fmla="*/ 286209 h 555929"/>
                  <a:gd name="connsiteX5" fmla="*/ 174463 w 399681"/>
                  <a:gd name="connsiteY5" fmla="*/ 138447 h 555929"/>
                  <a:gd name="connsiteX6" fmla="*/ 0 w 399681"/>
                  <a:gd name="connsiteY6" fmla="*/ 0 h 555929"/>
                  <a:gd name="connsiteX7" fmla="*/ 307893 w 399681"/>
                  <a:gd name="connsiteY7" fmla="*/ 116809 h 555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9681" h="555929">
                    <a:moveTo>
                      <a:pt x="307893" y="116809"/>
                    </a:moveTo>
                    <a:cubicBezTo>
                      <a:pt x="339785" y="129480"/>
                      <a:pt x="374049" y="144291"/>
                      <a:pt x="388704" y="171020"/>
                    </a:cubicBezTo>
                    <a:cubicBezTo>
                      <a:pt x="397288" y="186698"/>
                      <a:pt x="397916" y="204518"/>
                      <a:pt x="398335" y="221759"/>
                    </a:cubicBezTo>
                    <a:cubicBezTo>
                      <a:pt x="401126" y="334113"/>
                      <a:pt x="403499" y="448782"/>
                      <a:pt x="362674" y="555930"/>
                    </a:cubicBezTo>
                    <a:cubicBezTo>
                      <a:pt x="327782" y="469668"/>
                      <a:pt x="362674" y="371661"/>
                      <a:pt x="324990" y="286209"/>
                    </a:cubicBezTo>
                    <a:cubicBezTo>
                      <a:pt x="297355" y="223494"/>
                      <a:pt x="235665" y="178946"/>
                      <a:pt x="174463" y="138447"/>
                    </a:cubicBezTo>
                    <a:cubicBezTo>
                      <a:pt x="120798" y="102982"/>
                      <a:pt x="20936" y="56351"/>
                      <a:pt x="0" y="0"/>
                    </a:cubicBezTo>
                    <a:cubicBezTo>
                      <a:pt x="103701" y="21291"/>
                      <a:pt x="211031" y="78162"/>
                      <a:pt x="307893" y="116809"/>
                    </a:cubicBezTo>
                    <a:close/>
                  </a:path>
                </a:pathLst>
              </a:custGeom>
              <a:solidFill>
                <a:srgbClr val="FFFFFF"/>
              </a:solidFill>
              <a:ln w="6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55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400">
                  <a:solidFill>
                    <a:srgbClr val="000000"/>
                  </a:solidFill>
                  <a:ea typeface="Calibri" panose="020F0502020204030204"/>
                  <a:cs typeface="Arial"/>
                </a:endParaRPr>
              </a:p>
            </p:txBody>
          </p:sp>
          <p:sp>
            <p:nvSpPr>
              <p:cNvPr id="5259" name="Freeform 55">
                <a:extLst>
                  <a:ext uri="{FF2B5EF4-FFF2-40B4-BE49-F238E27FC236}">
                    <a16:creationId xmlns:a16="http://schemas.microsoft.com/office/drawing/2014/main" id="{44E8A942-7416-ADE9-AB34-D49819A41385}"/>
                  </a:ext>
                </a:extLst>
              </p:cNvPr>
              <p:cNvSpPr/>
              <p:nvPr/>
            </p:nvSpPr>
            <p:spPr>
              <a:xfrm>
                <a:off x="8584404" y="4015267"/>
                <a:ext cx="690874" cy="636406"/>
              </a:xfrm>
              <a:custGeom>
                <a:avLst/>
                <a:gdLst>
                  <a:gd name="connsiteX0" fmla="*/ 690875 w 690874"/>
                  <a:gd name="connsiteY0" fmla="*/ 318203 h 636406"/>
                  <a:gd name="connsiteX1" fmla="*/ 345437 w 690874"/>
                  <a:gd name="connsiteY1" fmla="*/ 636406 h 636406"/>
                  <a:gd name="connsiteX2" fmla="*/ 0 w 690874"/>
                  <a:gd name="connsiteY2" fmla="*/ 318203 h 636406"/>
                  <a:gd name="connsiteX3" fmla="*/ 345437 w 690874"/>
                  <a:gd name="connsiteY3" fmla="*/ 0 h 636406"/>
                  <a:gd name="connsiteX4" fmla="*/ 690875 w 690874"/>
                  <a:gd name="connsiteY4" fmla="*/ 318203 h 636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0874" h="636406">
                    <a:moveTo>
                      <a:pt x="690875" y="318203"/>
                    </a:moveTo>
                    <a:cubicBezTo>
                      <a:pt x="690875" y="493942"/>
                      <a:pt x="536217" y="636406"/>
                      <a:pt x="345437" y="636406"/>
                    </a:cubicBezTo>
                    <a:cubicBezTo>
                      <a:pt x="154658" y="636406"/>
                      <a:pt x="0" y="493942"/>
                      <a:pt x="0" y="318203"/>
                    </a:cubicBezTo>
                    <a:cubicBezTo>
                      <a:pt x="0" y="142464"/>
                      <a:pt x="154658" y="0"/>
                      <a:pt x="345437" y="0"/>
                    </a:cubicBezTo>
                    <a:cubicBezTo>
                      <a:pt x="536217" y="0"/>
                      <a:pt x="690875" y="142464"/>
                      <a:pt x="690875" y="318203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6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55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400">
                  <a:solidFill>
                    <a:srgbClr val="000000"/>
                  </a:solidFill>
                  <a:ea typeface="Calibri" panose="020F0502020204030204"/>
                  <a:cs typeface="Arial"/>
                </a:endParaRPr>
              </a:p>
            </p:txBody>
          </p:sp>
        </p:grpSp>
      </p:grpSp>
      <p:sp>
        <p:nvSpPr>
          <p:cNvPr id="5262" name="Rectangle 1373">
            <a:extLst>
              <a:ext uri="{FF2B5EF4-FFF2-40B4-BE49-F238E27FC236}">
                <a16:creationId xmlns:a16="http://schemas.microsoft.com/office/drawing/2014/main" id="{AFD640CA-3231-C4D0-9A38-A9045C1E6C6A}"/>
              </a:ext>
            </a:extLst>
          </p:cNvPr>
          <p:cNvSpPr/>
          <p:nvPr/>
        </p:nvSpPr>
        <p:spPr>
          <a:xfrm>
            <a:off x="5946707" y="3733557"/>
            <a:ext cx="750031" cy="23544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914355">
              <a:lnSpc>
                <a:spcPct val="85000"/>
              </a:lnSpc>
              <a:defRPr/>
            </a:pPr>
            <a:r>
              <a:rPr lang="de" sz="900">
                <a:solidFill>
                  <a:srgbClr val="2F3651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Blutzucker-spiegel</a:t>
            </a:r>
            <a:r>
              <a:rPr lang="de" sz="900" baseline="30000">
                <a:solidFill>
                  <a:srgbClr val="2F3651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6</a:t>
            </a:r>
            <a:endParaRPr lang="en-US" sz="900">
              <a:solidFill>
                <a:srgbClr val="2F3651"/>
              </a:solidFill>
              <a:ea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5263" name="Rectangle 1423">
            <a:extLst>
              <a:ext uri="{FF2B5EF4-FFF2-40B4-BE49-F238E27FC236}">
                <a16:creationId xmlns:a16="http://schemas.microsoft.com/office/drawing/2014/main" id="{151D130D-104A-68CB-F9C9-C5E35ED434D7}"/>
              </a:ext>
            </a:extLst>
          </p:cNvPr>
          <p:cNvSpPr/>
          <p:nvPr/>
        </p:nvSpPr>
        <p:spPr>
          <a:xfrm>
            <a:off x="4879322" y="2511113"/>
            <a:ext cx="970401" cy="2908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defRPr/>
            </a:pPr>
            <a:r>
              <a:rPr lang="de" sz="1050" b="1">
                <a:solidFill>
                  <a:srgbClr val="2F3651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Veränderte Betazelle</a:t>
            </a:r>
          </a:p>
        </p:txBody>
      </p:sp>
      <p:sp>
        <p:nvSpPr>
          <p:cNvPr id="5264" name="Rectangle 1432">
            <a:extLst>
              <a:ext uri="{FF2B5EF4-FFF2-40B4-BE49-F238E27FC236}">
                <a16:creationId xmlns:a16="http://schemas.microsoft.com/office/drawing/2014/main" id="{FA745BD9-9A1C-1252-5627-A8CC29685858}"/>
              </a:ext>
            </a:extLst>
          </p:cNvPr>
          <p:cNvSpPr/>
          <p:nvPr/>
        </p:nvSpPr>
        <p:spPr>
          <a:xfrm>
            <a:off x="4615316" y="988518"/>
            <a:ext cx="1661057" cy="3739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defRPr/>
            </a:pPr>
            <a:r>
              <a:rPr lang="de" sz="900">
                <a:solidFill>
                  <a:srgbClr val="2F3651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Betazellen werden zunehmend </a:t>
            </a:r>
            <a:r>
              <a:rPr lang="de" sz="900" b="1">
                <a:solidFill>
                  <a:srgbClr val="7030A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beschädigt</a:t>
            </a:r>
            <a:r>
              <a:rPr lang="de" sz="900">
                <a:solidFill>
                  <a:srgbClr val="7030A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 </a:t>
            </a:r>
            <a:r>
              <a:rPr lang="de" sz="900" b="1">
                <a:solidFill>
                  <a:srgbClr val="7030A0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oder zerstört</a:t>
            </a:r>
          </a:p>
        </p:txBody>
      </p:sp>
      <p:grpSp>
        <p:nvGrpSpPr>
          <p:cNvPr id="5265" name="Group 1382">
            <a:extLst>
              <a:ext uri="{FF2B5EF4-FFF2-40B4-BE49-F238E27FC236}">
                <a16:creationId xmlns:a16="http://schemas.microsoft.com/office/drawing/2014/main" id="{E40F9EE0-BD29-04E5-965B-F4A7F1D4C85E}"/>
              </a:ext>
            </a:extLst>
          </p:cNvPr>
          <p:cNvGrpSpPr/>
          <p:nvPr/>
        </p:nvGrpSpPr>
        <p:grpSpPr>
          <a:xfrm>
            <a:off x="5125438" y="3546337"/>
            <a:ext cx="811574" cy="753123"/>
            <a:chOff x="9253918" y="4814868"/>
            <a:chExt cx="1082097" cy="1004164"/>
          </a:xfrm>
        </p:grpSpPr>
        <p:pic>
          <p:nvPicPr>
            <p:cNvPr id="5266" name="Graphic 1374">
              <a:extLst>
                <a:ext uri="{FF2B5EF4-FFF2-40B4-BE49-F238E27FC236}">
                  <a16:creationId xmlns:a16="http://schemas.microsoft.com/office/drawing/2014/main" id="{A181CA69-283B-9C8A-6C5D-10C0805FF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 l="8637" r="11138" b="21020"/>
            <a:stretch>
              <a:fillRect/>
            </a:stretch>
          </p:blipFill>
          <p:spPr>
            <a:xfrm>
              <a:off x="9662549" y="5204795"/>
              <a:ext cx="417146" cy="410676"/>
            </a:xfrm>
            <a:prstGeom prst="rect">
              <a:avLst/>
            </a:prstGeom>
          </p:spPr>
        </p:pic>
        <p:pic>
          <p:nvPicPr>
            <p:cNvPr id="5267" name="Graphic 1363">
              <a:extLst>
                <a:ext uri="{FF2B5EF4-FFF2-40B4-BE49-F238E27FC236}">
                  <a16:creationId xmlns:a16="http://schemas.microsoft.com/office/drawing/2014/main" id="{353707B8-A79E-DB89-DEB0-716545F0B4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 l="8637" r="11138" b="21020"/>
            <a:stretch>
              <a:fillRect/>
            </a:stretch>
          </p:blipFill>
          <p:spPr>
            <a:xfrm>
              <a:off x="9253918" y="5195330"/>
              <a:ext cx="417147" cy="410676"/>
            </a:xfrm>
            <a:prstGeom prst="rect">
              <a:avLst/>
            </a:prstGeom>
          </p:spPr>
        </p:pic>
        <p:pic>
          <p:nvPicPr>
            <p:cNvPr id="5268" name="Graphic 1364">
              <a:extLst>
                <a:ext uri="{FF2B5EF4-FFF2-40B4-BE49-F238E27FC236}">
                  <a16:creationId xmlns:a16="http://schemas.microsoft.com/office/drawing/2014/main" id="{22CB5F44-661D-8BCA-A22F-B773F796BB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 l="8637" r="11138" b="21020"/>
            <a:stretch>
              <a:fillRect/>
            </a:stretch>
          </p:blipFill>
          <p:spPr>
            <a:xfrm>
              <a:off x="9561081" y="4988082"/>
              <a:ext cx="278063" cy="273749"/>
            </a:xfrm>
            <a:prstGeom prst="rect">
              <a:avLst/>
            </a:prstGeom>
          </p:spPr>
        </p:pic>
        <p:pic>
          <p:nvPicPr>
            <p:cNvPr id="5269" name="Graphic 1365">
              <a:extLst>
                <a:ext uri="{FF2B5EF4-FFF2-40B4-BE49-F238E27FC236}">
                  <a16:creationId xmlns:a16="http://schemas.microsoft.com/office/drawing/2014/main" id="{25CB817B-A979-E2B3-3F86-B572914DC5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 l="8637" r="11138" b="21020"/>
            <a:stretch>
              <a:fillRect/>
            </a:stretch>
          </p:blipFill>
          <p:spPr>
            <a:xfrm>
              <a:off x="9989732" y="4956763"/>
              <a:ext cx="346283" cy="340912"/>
            </a:xfrm>
            <a:prstGeom prst="rect">
              <a:avLst/>
            </a:prstGeom>
          </p:spPr>
        </p:pic>
        <p:pic>
          <p:nvPicPr>
            <p:cNvPr id="5270" name="Graphic 2645">
              <a:extLst>
                <a:ext uri="{FF2B5EF4-FFF2-40B4-BE49-F238E27FC236}">
                  <a16:creationId xmlns:a16="http://schemas.microsoft.com/office/drawing/2014/main" id="{EB4E5793-8964-A8A1-CC9E-F6E7BF53F3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 l="8637" r="11138" b="21020"/>
            <a:stretch>
              <a:fillRect/>
            </a:stretch>
          </p:blipFill>
          <p:spPr>
            <a:xfrm>
              <a:off x="9670288" y="5545283"/>
              <a:ext cx="278063" cy="273749"/>
            </a:xfrm>
            <a:prstGeom prst="rect">
              <a:avLst/>
            </a:prstGeom>
          </p:spPr>
        </p:pic>
        <p:pic>
          <p:nvPicPr>
            <p:cNvPr id="5271" name="Graphic 2646">
              <a:extLst>
                <a:ext uri="{FF2B5EF4-FFF2-40B4-BE49-F238E27FC236}">
                  <a16:creationId xmlns:a16="http://schemas.microsoft.com/office/drawing/2014/main" id="{8179FF82-B20D-7E13-99C3-B98EE3A7A83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 l="8637" r="11138" b="21020"/>
            <a:stretch>
              <a:fillRect/>
            </a:stretch>
          </p:blipFill>
          <p:spPr>
            <a:xfrm>
              <a:off x="9749181" y="4814868"/>
              <a:ext cx="278063" cy="273749"/>
            </a:xfrm>
            <a:prstGeom prst="rect">
              <a:avLst/>
            </a:prstGeom>
          </p:spPr>
        </p:pic>
        <p:pic>
          <p:nvPicPr>
            <p:cNvPr id="5272" name="Graphic 2648">
              <a:extLst>
                <a:ext uri="{FF2B5EF4-FFF2-40B4-BE49-F238E27FC236}">
                  <a16:creationId xmlns:a16="http://schemas.microsoft.com/office/drawing/2014/main" id="{466A4A15-B9C5-353F-9BAA-EA0D5AE0CE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 l="8637" r="11138" b="21020"/>
            <a:stretch>
              <a:fillRect/>
            </a:stretch>
          </p:blipFill>
          <p:spPr>
            <a:xfrm>
              <a:off x="10018281" y="5445282"/>
              <a:ext cx="278063" cy="273749"/>
            </a:xfrm>
            <a:prstGeom prst="rect">
              <a:avLst/>
            </a:prstGeom>
          </p:spPr>
        </p:pic>
      </p:grpSp>
      <p:pic>
        <p:nvPicPr>
          <p:cNvPr id="5273" name="Graphic 900">
            <a:extLst>
              <a:ext uri="{FF2B5EF4-FFF2-40B4-BE49-F238E27FC236}">
                <a16:creationId xmlns:a16="http://schemas.microsoft.com/office/drawing/2014/main" id="{F572EC2E-9E36-C270-AA61-4247058353FF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470927">
            <a:off x="7517710" y="2748422"/>
            <a:ext cx="178966" cy="137580"/>
          </a:xfrm>
          <a:prstGeom prst="rect">
            <a:avLst/>
          </a:prstGeom>
        </p:spPr>
      </p:pic>
      <p:grpSp>
        <p:nvGrpSpPr>
          <p:cNvPr id="5274" name="Group 1400">
            <a:extLst>
              <a:ext uri="{FF2B5EF4-FFF2-40B4-BE49-F238E27FC236}">
                <a16:creationId xmlns:a16="http://schemas.microsoft.com/office/drawing/2014/main" id="{804D08FE-6AE4-CB32-01FA-216C7DB58082}"/>
              </a:ext>
            </a:extLst>
          </p:cNvPr>
          <p:cNvGrpSpPr/>
          <p:nvPr/>
        </p:nvGrpSpPr>
        <p:grpSpPr>
          <a:xfrm>
            <a:off x="308092" y="3581292"/>
            <a:ext cx="2130340" cy="213960"/>
            <a:chOff x="8184514" y="5264933"/>
            <a:chExt cx="2301075" cy="225431"/>
          </a:xfrm>
        </p:grpSpPr>
        <p:pic>
          <p:nvPicPr>
            <p:cNvPr id="5275" name="Graphic 1404">
              <a:extLst>
                <a:ext uri="{FF2B5EF4-FFF2-40B4-BE49-F238E27FC236}">
                  <a16:creationId xmlns:a16="http://schemas.microsoft.com/office/drawing/2014/main" id="{2A40DB06-69BE-0ED0-6791-247E5D01E6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184514" y="5264933"/>
              <a:ext cx="233915" cy="225431"/>
            </a:xfrm>
            <a:prstGeom prst="rect">
              <a:avLst/>
            </a:prstGeom>
          </p:spPr>
        </p:pic>
        <p:sp>
          <p:nvSpPr>
            <p:cNvPr id="5276" name="TextBox 1405">
              <a:extLst>
                <a:ext uri="{FF2B5EF4-FFF2-40B4-BE49-F238E27FC236}">
                  <a16:creationId xmlns:a16="http://schemas.microsoft.com/office/drawing/2014/main" id="{3446F340-096B-16FF-E07C-C257BD9050A0}"/>
                </a:ext>
              </a:extLst>
            </p:cNvPr>
            <p:cNvSpPr txBox="1"/>
            <p:nvPr/>
          </p:nvSpPr>
          <p:spPr>
            <a:xfrm>
              <a:off x="8492659" y="5293560"/>
              <a:ext cx="1992930" cy="1459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14355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" sz="900">
                  <a:solidFill>
                    <a:srgbClr val="2F3651"/>
                  </a:solidFill>
                  <a:uFill>
                    <a:solidFill>
                      <a:prstClr val="black">
                        <a:alpha val="0"/>
                      </a:prstClr>
                    </a:solidFill>
                  </a:uFill>
                  <a:ea typeface="Arial"/>
                  <a:cs typeface="Arial"/>
                </a:rPr>
                <a:t>Insulin-produzierende Betazelle</a:t>
              </a:r>
            </a:p>
          </p:txBody>
        </p:sp>
      </p:grpSp>
      <p:grpSp>
        <p:nvGrpSpPr>
          <p:cNvPr id="5277" name="Group 1401">
            <a:extLst>
              <a:ext uri="{FF2B5EF4-FFF2-40B4-BE49-F238E27FC236}">
                <a16:creationId xmlns:a16="http://schemas.microsoft.com/office/drawing/2014/main" id="{B548AB2B-DE5D-BCBB-98F7-6D2CC85886C4}"/>
              </a:ext>
            </a:extLst>
          </p:cNvPr>
          <p:cNvGrpSpPr/>
          <p:nvPr/>
        </p:nvGrpSpPr>
        <p:grpSpPr>
          <a:xfrm>
            <a:off x="308244" y="3893398"/>
            <a:ext cx="2341788" cy="213257"/>
            <a:chOff x="8191428" y="5539502"/>
            <a:chExt cx="2529466" cy="224690"/>
          </a:xfrm>
        </p:grpSpPr>
        <p:sp>
          <p:nvSpPr>
            <p:cNvPr id="5278" name="TextBox 1402">
              <a:extLst>
                <a:ext uri="{FF2B5EF4-FFF2-40B4-BE49-F238E27FC236}">
                  <a16:creationId xmlns:a16="http://schemas.microsoft.com/office/drawing/2014/main" id="{DB59A3CC-9581-B256-C105-B26076CF9EE9}"/>
                </a:ext>
              </a:extLst>
            </p:cNvPr>
            <p:cNvSpPr txBox="1"/>
            <p:nvPr/>
          </p:nvSpPr>
          <p:spPr>
            <a:xfrm>
              <a:off x="8499415" y="5566733"/>
              <a:ext cx="2221479" cy="1459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14355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" sz="900">
                  <a:solidFill>
                    <a:srgbClr val="2F3651"/>
                  </a:solidFill>
                  <a:uFill>
                    <a:solidFill>
                      <a:prstClr val="black">
                        <a:alpha val="0"/>
                      </a:prstClr>
                    </a:solidFill>
                  </a:uFill>
                  <a:ea typeface="Arial"/>
                  <a:cs typeface="Arial"/>
                </a:rPr>
                <a:t>Glucagon-produzierende Alphazelle</a:t>
              </a:r>
            </a:p>
          </p:txBody>
        </p:sp>
        <p:pic>
          <p:nvPicPr>
            <p:cNvPr id="5279" name="Graphic 1403">
              <a:extLst>
                <a:ext uri="{FF2B5EF4-FFF2-40B4-BE49-F238E27FC236}">
                  <a16:creationId xmlns:a16="http://schemas.microsoft.com/office/drawing/2014/main" id="{7643219C-C7F3-F1A8-DCCB-802BCE7724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8191428" y="5539502"/>
              <a:ext cx="245643" cy="224690"/>
            </a:xfrm>
            <a:prstGeom prst="rect">
              <a:avLst/>
            </a:prstGeom>
          </p:spPr>
        </p:pic>
      </p:grpSp>
      <p:sp>
        <p:nvSpPr>
          <p:cNvPr id="5280" name="TextBox 1416">
            <a:extLst>
              <a:ext uri="{FF2B5EF4-FFF2-40B4-BE49-F238E27FC236}">
                <a16:creationId xmlns:a16="http://schemas.microsoft.com/office/drawing/2014/main" id="{FC42B5C2-3BA1-7EE7-681A-D8FC15B3469B}"/>
              </a:ext>
            </a:extLst>
          </p:cNvPr>
          <p:cNvSpPr txBox="1"/>
          <p:nvPr/>
        </p:nvSpPr>
        <p:spPr>
          <a:xfrm>
            <a:off x="3068848" y="3917776"/>
            <a:ext cx="118301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55">
              <a:spcBef>
                <a:spcPct val="0"/>
              </a:spcBef>
              <a:spcAft>
                <a:spcPct val="0"/>
              </a:spcAft>
              <a:defRPr/>
            </a:pPr>
            <a:r>
              <a:rPr lang="de" sz="900">
                <a:solidFill>
                  <a:srgbClr val="2F3651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Autoreaktive T-Zelle</a:t>
            </a:r>
          </a:p>
        </p:txBody>
      </p:sp>
      <p:grpSp>
        <p:nvGrpSpPr>
          <p:cNvPr id="5281" name="Gruppo 1348">
            <a:extLst>
              <a:ext uri="{FF2B5EF4-FFF2-40B4-BE49-F238E27FC236}">
                <a16:creationId xmlns:a16="http://schemas.microsoft.com/office/drawing/2014/main" id="{430F15B3-8E2E-6FCB-E14F-D773AA072169}"/>
              </a:ext>
            </a:extLst>
          </p:cNvPr>
          <p:cNvGrpSpPr/>
          <p:nvPr/>
        </p:nvGrpSpPr>
        <p:grpSpPr>
          <a:xfrm>
            <a:off x="315199" y="4229888"/>
            <a:ext cx="2172176" cy="205967"/>
            <a:chOff x="3725546" y="5024242"/>
            <a:chExt cx="2896234" cy="274622"/>
          </a:xfrm>
        </p:grpSpPr>
        <p:sp>
          <p:nvSpPr>
            <p:cNvPr id="5282" name="TextBox 1414">
              <a:extLst>
                <a:ext uri="{FF2B5EF4-FFF2-40B4-BE49-F238E27FC236}">
                  <a16:creationId xmlns:a16="http://schemas.microsoft.com/office/drawing/2014/main" id="{4F856B66-2D21-31F3-1809-35A0677C9F07}"/>
                </a:ext>
              </a:extLst>
            </p:cNvPr>
            <p:cNvSpPr txBox="1"/>
            <p:nvPr/>
          </p:nvSpPr>
          <p:spPr>
            <a:xfrm>
              <a:off x="4081693" y="5053831"/>
              <a:ext cx="2540087" cy="1846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" sz="900" b="0" i="0" u="none" strike="noStrike" kern="0" cap="none" spc="0" normalizeH="0" baseline="0" noProof="0">
                  <a:ln>
                    <a:noFill/>
                  </a:ln>
                  <a:solidFill>
                    <a:srgbClr val="2F3651"/>
                  </a:solidFill>
                  <a:effectLst/>
                  <a:uLnTx/>
                  <a:uFill>
                    <a:solidFill>
                      <a:prstClr val="black">
                        <a:alpha val="0"/>
                      </a:prstClr>
                    </a:solidFill>
                  </a:uFill>
                  <a:ea typeface="Arial"/>
                  <a:cs typeface="Arial"/>
                </a:rPr>
                <a:t>Veränderte Betazelle</a:t>
              </a:r>
            </a:p>
          </p:txBody>
        </p:sp>
        <p:grpSp>
          <p:nvGrpSpPr>
            <p:cNvPr id="5283" name="Graphic 1949">
              <a:extLst>
                <a:ext uri="{FF2B5EF4-FFF2-40B4-BE49-F238E27FC236}">
                  <a16:creationId xmlns:a16="http://schemas.microsoft.com/office/drawing/2014/main" id="{46FD35AA-FF39-F960-8B33-892CDAAD494A}"/>
                </a:ext>
              </a:extLst>
            </p:cNvPr>
            <p:cNvGrpSpPr/>
            <p:nvPr/>
          </p:nvGrpSpPr>
          <p:grpSpPr>
            <a:xfrm>
              <a:off x="3725546" y="5024242"/>
              <a:ext cx="269850" cy="274622"/>
              <a:chOff x="3225249" y="5524095"/>
              <a:chExt cx="218608" cy="217009"/>
            </a:xfrm>
          </p:grpSpPr>
          <p:sp>
            <p:nvSpPr>
              <p:cNvPr id="5284" name="Freeform 11">
                <a:extLst>
                  <a:ext uri="{FF2B5EF4-FFF2-40B4-BE49-F238E27FC236}">
                    <a16:creationId xmlns:a16="http://schemas.microsoft.com/office/drawing/2014/main" id="{D111D4B2-5C2C-47E7-BBDB-2B03D33F8342}"/>
                  </a:ext>
                </a:extLst>
              </p:cNvPr>
              <p:cNvSpPr/>
              <p:nvPr/>
            </p:nvSpPr>
            <p:spPr>
              <a:xfrm>
                <a:off x="3225249" y="5524095"/>
                <a:ext cx="218608" cy="217009"/>
              </a:xfrm>
              <a:custGeom>
                <a:avLst/>
                <a:gdLst>
                  <a:gd name="connsiteX0" fmla="*/ 68288 w 202907"/>
                  <a:gd name="connsiteY0" fmla="*/ 10290 h 219618"/>
                  <a:gd name="connsiteX1" fmla="*/ 79756 w 202907"/>
                  <a:gd name="connsiteY1" fmla="*/ 2515 h 219618"/>
                  <a:gd name="connsiteX2" fmla="*/ 98140 w 202907"/>
                  <a:gd name="connsiteY2" fmla="*/ 251 h 219618"/>
                  <a:gd name="connsiteX3" fmla="*/ 157916 w 202907"/>
                  <a:gd name="connsiteY3" fmla="*/ 25610 h 219618"/>
                  <a:gd name="connsiteX4" fmla="*/ 187322 w 202907"/>
                  <a:gd name="connsiteY4" fmla="*/ 43644 h 219618"/>
                  <a:gd name="connsiteX5" fmla="*/ 199578 w 202907"/>
                  <a:gd name="connsiteY5" fmla="*/ 54455 h 219618"/>
                  <a:gd name="connsiteX6" fmla="*/ 202774 w 202907"/>
                  <a:gd name="connsiteY6" fmla="*/ 76066 h 219618"/>
                  <a:gd name="connsiteX7" fmla="*/ 200095 w 202907"/>
                  <a:gd name="connsiteY7" fmla="*/ 118558 h 219618"/>
                  <a:gd name="connsiteX8" fmla="*/ 191979 w 202907"/>
                  <a:gd name="connsiteY8" fmla="*/ 164646 h 219618"/>
                  <a:gd name="connsiteX9" fmla="*/ 166416 w 202907"/>
                  <a:gd name="connsiteY9" fmla="*/ 200385 h 219618"/>
                  <a:gd name="connsiteX10" fmla="*/ 137527 w 202907"/>
                  <a:gd name="connsiteY10" fmla="*/ 209672 h 219618"/>
                  <a:gd name="connsiteX11" fmla="*/ 102308 w 202907"/>
                  <a:gd name="connsiteY11" fmla="*/ 216265 h 219618"/>
                  <a:gd name="connsiteX12" fmla="*/ 51821 w 202907"/>
                  <a:gd name="connsiteY12" fmla="*/ 214942 h 219618"/>
                  <a:gd name="connsiteX13" fmla="*/ 20497 w 202907"/>
                  <a:gd name="connsiteY13" fmla="*/ 182550 h 219618"/>
                  <a:gd name="connsiteX14" fmla="*/ 161 w 202907"/>
                  <a:gd name="connsiteY14" fmla="*/ 126964 h 219618"/>
                  <a:gd name="connsiteX15" fmla="*/ 21416 w 202907"/>
                  <a:gd name="connsiteY15" fmla="*/ 68712 h 219618"/>
                  <a:gd name="connsiteX16" fmla="*/ 68288 w 202907"/>
                  <a:gd name="connsiteY16" fmla="*/ 10290 h 219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02907" h="219618">
                    <a:moveTo>
                      <a:pt x="68288" y="10290"/>
                    </a:moveTo>
                    <a:cubicBezTo>
                      <a:pt x="71784" y="7115"/>
                      <a:pt x="75643" y="4499"/>
                      <a:pt x="79756" y="2515"/>
                    </a:cubicBezTo>
                    <a:cubicBezTo>
                      <a:pt x="85551" y="-29"/>
                      <a:pt x="91933" y="-330"/>
                      <a:pt x="98140" y="251"/>
                    </a:cubicBezTo>
                    <a:cubicBezTo>
                      <a:pt x="119484" y="2255"/>
                      <a:pt x="139041" y="14048"/>
                      <a:pt x="157916" y="25610"/>
                    </a:cubicBezTo>
                    <a:lnTo>
                      <a:pt x="187322" y="43644"/>
                    </a:lnTo>
                    <a:cubicBezTo>
                      <a:pt x="191918" y="46460"/>
                      <a:pt x="196716" y="49475"/>
                      <a:pt x="199578" y="54455"/>
                    </a:cubicBezTo>
                    <a:cubicBezTo>
                      <a:pt x="203159" y="60657"/>
                      <a:pt x="203080" y="68642"/>
                      <a:pt x="202774" y="76066"/>
                    </a:cubicBezTo>
                    <a:cubicBezTo>
                      <a:pt x="202190" y="90254"/>
                      <a:pt x="201297" y="104418"/>
                      <a:pt x="200095" y="118558"/>
                    </a:cubicBezTo>
                    <a:cubicBezTo>
                      <a:pt x="198738" y="134198"/>
                      <a:pt x="196961" y="149988"/>
                      <a:pt x="191979" y="164646"/>
                    </a:cubicBezTo>
                    <a:cubicBezTo>
                      <a:pt x="186998" y="179304"/>
                      <a:pt x="178480" y="192880"/>
                      <a:pt x="166416" y="200385"/>
                    </a:cubicBezTo>
                    <a:cubicBezTo>
                      <a:pt x="157574" y="205885"/>
                      <a:pt x="147437" y="207819"/>
                      <a:pt x="137527" y="209672"/>
                    </a:cubicBezTo>
                    <a:lnTo>
                      <a:pt x="102308" y="216265"/>
                    </a:lnTo>
                    <a:cubicBezTo>
                      <a:pt x="85455" y="219421"/>
                      <a:pt x="67579" y="222427"/>
                      <a:pt x="51821" y="214942"/>
                    </a:cubicBezTo>
                    <a:cubicBezTo>
                      <a:pt x="38689" y="208701"/>
                      <a:pt x="28744" y="195906"/>
                      <a:pt x="20497" y="182550"/>
                    </a:cubicBezTo>
                    <a:cubicBezTo>
                      <a:pt x="10228" y="165959"/>
                      <a:pt x="1561" y="147283"/>
                      <a:pt x="161" y="126964"/>
                    </a:cubicBezTo>
                    <a:cubicBezTo>
                      <a:pt x="-1529" y="102277"/>
                      <a:pt x="10430" y="87699"/>
                      <a:pt x="21416" y="68712"/>
                    </a:cubicBezTo>
                    <a:cubicBezTo>
                      <a:pt x="34425" y="46229"/>
                      <a:pt x="49212" y="26471"/>
                      <a:pt x="68288" y="10290"/>
                    </a:cubicBezTo>
                    <a:close/>
                  </a:path>
                </a:pathLst>
              </a:custGeom>
              <a:solidFill>
                <a:srgbClr val="2F3651"/>
              </a:solidFill>
              <a:ln w="5043" cap="flat">
                <a:solidFill>
                  <a:srgbClr val="58586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355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2F3651"/>
                    </a:solidFill>
                    <a:effectLst/>
                    <a:uLnTx/>
                    <a:uFillTx/>
                    <a:ea typeface="Calibri" panose="020F0502020204030204"/>
                    <a:cs typeface="Arial" panose="020B0604020202020204" pitchFamily="34" charset="0"/>
                  </a:rPr>
                  <a:t> </a:t>
                </a:r>
              </a:p>
            </p:txBody>
          </p:sp>
          <p:sp>
            <p:nvSpPr>
              <p:cNvPr id="5285" name="Freeform 12">
                <a:extLst>
                  <a:ext uri="{FF2B5EF4-FFF2-40B4-BE49-F238E27FC236}">
                    <a16:creationId xmlns:a16="http://schemas.microsoft.com/office/drawing/2014/main" id="{035CF68C-AF61-3204-A191-A7867D7C7F7D}"/>
                  </a:ext>
                </a:extLst>
              </p:cNvPr>
              <p:cNvSpPr/>
              <p:nvPr/>
            </p:nvSpPr>
            <p:spPr>
              <a:xfrm>
                <a:off x="3299384" y="5576687"/>
                <a:ext cx="86669" cy="110211"/>
              </a:xfrm>
              <a:custGeom>
                <a:avLst/>
                <a:gdLst>
                  <a:gd name="connsiteX0" fmla="*/ 86669 w 86669"/>
                  <a:gd name="connsiteY0" fmla="*/ 55106 h 110211"/>
                  <a:gd name="connsiteX1" fmla="*/ 43335 w 86669"/>
                  <a:gd name="connsiteY1" fmla="*/ 110211 h 110211"/>
                  <a:gd name="connsiteX2" fmla="*/ 0 w 86669"/>
                  <a:gd name="connsiteY2" fmla="*/ 55106 h 110211"/>
                  <a:gd name="connsiteX3" fmla="*/ 43335 w 86669"/>
                  <a:gd name="connsiteY3" fmla="*/ 0 h 110211"/>
                  <a:gd name="connsiteX4" fmla="*/ 86669 w 86669"/>
                  <a:gd name="connsiteY4" fmla="*/ 55106 h 110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669" h="110211">
                    <a:moveTo>
                      <a:pt x="86669" y="55106"/>
                    </a:moveTo>
                    <a:cubicBezTo>
                      <a:pt x="86669" y="85540"/>
                      <a:pt x="67268" y="110211"/>
                      <a:pt x="43335" y="110211"/>
                    </a:cubicBezTo>
                    <a:cubicBezTo>
                      <a:pt x="19402" y="110211"/>
                      <a:pt x="0" y="85540"/>
                      <a:pt x="0" y="55106"/>
                    </a:cubicBezTo>
                    <a:cubicBezTo>
                      <a:pt x="0" y="24672"/>
                      <a:pt x="19402" y="0"/>
                      <a:pt x="43335" y="0"/>
                    </a:cubicBezTo>
                    <a:cubicBezTo>
                      <a:pt x="67268" y="0"/>
                      <a:pt x="86669" y="24672"/>
                      <a:pt x="86669" y="55106"/>
                    </a:cubicBezTo>
                    <a:close/>
                  </a:path>
                </a:pathLst>
              </a:custGeom>
              <a:solidFill>
                <a:srgbClr val="2F3651">
                  <a:lumMod val="60000"/>
                  <a:lumOff val="40000"/>
                </a:srgbClr>
              </a:solidFill>
              <a:ln w="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355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2F3651"/>
                  </a:solidFill>
                  <a:effectLst/>
                  <a:uLnTx/>
                  <a:uFillTx/>
                  <a:ea typeface="Calibri" panose="020F0502020204030204"/>
                  <a:cs typeface="Arial" panose="020B0604020202020204" pitchFamily="34" charset="0"/>
                </a:endParaRPr>
              </a:p>
            </p:txBody>
          </p:sp>
          <p:sp>
            <p:nvSpPr>
              <p:cNvPr id="5286" name="Freeform 13">
                <a:extLst>
                  <a:ext uri="{FF2B5EF4-FFF2-40B4-BE49-F238E27FC236}">
                    <a16:creationId xmlns:a16="http://schemas.microsoft.com/office/drawing/2014/main" id="{E2D12271-F75D-FBE0-4D1F-0F507439CD67}"/>
                  </a:ext>
                </a:extLst>
              </p:cNvPr>
              <p:cNvSpPr/>
              <p:nvPr/>
            </p:nvSpPr>
            <p:spPr>
              <a:xfrm>
                <a:off x="3369537" y="5558530"/>
                <a:ext cx="50139" cy="96274"/>
              </a:xfrm>
              <a:custGeom>
                <a:avLst/>
                <a:gdLst>
                  <a:gd name="connsiteX0" fmla="*/ 38625 w 50139"/>
                  <a:gd name="connsiteY0" fmla="*/ 20229 h 96274"/>
                  <a:gd name="connsiteX1" fmla="*/ 48762 w 50139"/>
                  <a:gd name="connsiteY1" fmla="*/ 29617 h 96274"/>
                  <a:gd name="connsiteX2" fmla="*/ 49970 w 50139"/>
                  <a:gd name="connsiteY2" fmla="*/ 38404 h 96274"/>
                  <a:gd name="connsiteX3" fmla="*/ 45497 w 50139"/>
                  <a:gd name="connsiteY3" fmla="*/ 96275 h 96274"/>
                  <a:gd name="connsiteX4" fmla="*/ 40769 w 50139"/>
                  <a:gd name="connsiteY4" fmla="*/ 49565 h 96274"/>
                  <a:gd name="connsiteX5" fmla="*/ 21886 w 50139"/>
                  <a:gd name="connsiteY5" fmla="*/ 23976 h 96274"/>
                  <a:gd name="connsiteX6" fmla="*/ 0 w 50139"/>
                  <a:gd name="connsiteY6" fmla="*/ 0 h 96274"/>
                  <a:gd name="connsiteX7" fmla="*/ 38625 w 50139"/>
                  <a:gd name="connsiteY7" fmla="*/ 20229 h 96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139" h="96274">
                    <a:moveTo>
                      <a:pt x="38625" y="20229"/>
                    </a:moveTo>
                    <a:cubicBezTo>
                      <a:pt x="42625" y="22423"/>
                      <a:pt x="46924" y="24988"/>
                      <a:pt x="48762" y="29617"/>
                    </a:cubicBezTo>
                    <a:cubicBezTo>
                      <a:pt x="49839" y="32332"/>
                      <a:pt x="49918" y="35418"/>
                      <a:pt x="49970" y="38404"/>
                    </a:cubicBezTo>
                    <a:cubicBezTo>
                      <a:pt x="50321" y="57861"/>
                      <a:pt x="50618" y="77719"/>
                      <a:pt x="45497" y="96275"/>
                    </a:cubicBezTo>
                    <a:cubicBezTo>
                      <a:pt x="41120" y="81336"/>
                      <a:pt x="45497" y="64363"/>
                      <a:pt x="40769" y="49565"/>
                    </a:cubicBezTo>
                    <a:cubicBezTo>
                      <a:pt x="37303" y="38704"/>
                      <a:pt x="29564" y="30989"/>
                      <a:pt x="21886" y="23976"/>
                    </a:cubicBezTo>
                    <a:cubicBezTo>
                      <a:pt x="15154" y="17834"/>
                      <a:pt x="2626" y="9759"/>
                      <a:pt x="0" y="0"/>
                    </a:cubicBezTo>
                    <a:cubicBezTo>
                      <a:pt x="13009" y="3687"/>
                      <a:pt x="26473" y="13536"/>
                      <a:pt x="38625" y="20229"/>
                    </a:cubicBezTo>
                    <a:close/>
                  </a:path>
                </a:pathLst>
              </a:custGeom>
              <a:solidFill>
                <a:srgbClr val="FFFFFF"/>
              </a:solidFill>
              <a:ln w="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355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2F3651"/>
                  </a:solidFill>
                  <a:effectLst/>
                  <a:uLnTx/>
                  <a:uFillTx/>
                  <a:ea typeface="Calibri" panose="020F0502020204030204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287" name="Gruppo 1350">
            <a:extLst>
              <a:ext uri="{FF2B5EF4-FFF2-40B4-BE49-F238E27FC236}">
                <a16:creationId xmlns:a16="http://schemas.microsoft.com/office/drawing/2014/main" id="{26CB9A18-49B6-B06D-69C5-E169D9C058AD}"/>
              </a:ext>
            </a:extLst>
          </p:cNvPr>
          <p:cNvGrpSpPr/>
          <p:nvPr/>
        </p:nvGrpSpPr>
        <p:grpSpPr>
          <a:xfrm>
            <a:off x="2690710" y="4168798"/>
            <a:ext cx="1545289" cy="240130"/>
            <a:chOff x="5096388" y="5491843"/>
            <a:chExt cx="2060386" cy="320175"/>
          </a:xfrm>
        </p:grpSpPr>
        <p:sp>
          <p:nvSpPr>
            <p:cNvPr id="5288" name="TextBox 2650">
              <a:extLst>
                <a:ext uri="{FF2B5EF4-FFF2-40B4-BE49-F238E27FC236}">
                  <a16:creationId xmlns:a16="http://schemas.microsoft.com/office/drawing/2014/main" id="{B257A3F4-5CCF-CCD6-5B11-39A7FA515CAB}"/>
                </a:ext>
              </a:extLst>
            </p:cNvPr>
            <p:cNvSpPr txBox="1"/>
            <p:nvPr/>
          </p:nvSpPr>
          <p:spPr>
            <a:xfrm>
              <a:off x="5620027" y="5558646"/>
              <a:ext cx="1536747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14355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" sz="900">
                  <a:solidFill>
                    <a:srgbClr val="2F3651"/>
                  </a:solidFill>
                  <a:uFill>
                    <a:solidFill>
                      <a:prstClr val="black">
                        <a:alpha val="0"/>
                      </a:prstClr>
                    </a:solidFill>
                  </a:uFill>
                  <a:ea typeface="Arial"/>
                  <a:cs typeface="Arial"/>
                </a:rPr>
                <a:t>T1D-Autoantikörper</a:t>
              </a:r>
            </a:p>
          </p:txBody>
        </p:sp>
        <p:grpSp>
          <p:nvGrpSpPr>
            <p:cNvPr id="5289" name="Gruppo 1352">
              <a:extLst>
                <a:ext uri="{FF2B5EF4-FFF2-40B4-BE49-F238E27FC236}">
                  <a16:creationId xmlns:a16="http://schemas.microsoft.com/office/drawing/2014/main" id="{92EE8D65-44D1-7642-2E11-4E376A5F3DA2}"/>
                </a:ext>
              </a:extLst>
            </p:cNvPr>
            <p:cNvGrpSpPr/>
            <p:nvPr/>
          </p:nvGrpSpPr>
          <p:grpSpPr>
            <a:xfrm>
              <a:off x="5096388" y="5491843"/>
              <a:ext cx="387040" cy="320175"/>
              <a:chOff x="5096388" y="5369923"/>
              <a:chExt cx="387040" cy="320175"/>
            </a:xfrm>
          </p:grpSpPr>
          <p:pic>
            <p:nvPicPr>
              <p:cNvPr id="5290" name="Graphic 2651">
                <a:extLst>
                  <a:ext uri="{FF2B5EF4-FFF2-40B4-BE49-F238E27FC236}">
                    <a16:creationId xmlns:a16="http://schemas.microsoft.com/office/drawing/2014/main" id="{38BC0CBC-AD80-D68B-3E8A-10B4273DF9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tretch>
                <a:fillRect/>
              </a:stretch>
            </p:blipFill>
            <p:spPr>
              <a:xfrm rot="14873583">
                <a:off x="5101571" y="5499208"/>
                <a:ext cx="169021" cy="179387"/>
              </a:xfrm>
              <a:prstGeom prst="rect">
                <a:avLst/>
              </a:prstGeom>
            </p:spPr>
          </p:pic>
          <p:pic>
            <p:nvPicPr>
              <p:cNvPr id="5291" name="Graphic 2652">
                <a:extLst>
                  <a:ext uri="{FF2B5EF4-FFF2-40B4-BE49-F238E27FC236}">
                    <a16:creationId xmlns:a16="http://schemas.microsoft.com/office/drawing/2014/main" id="{C2DDDBE9-8AA6-3D48-1D94-1970CE0B36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7"/>
                  </a:ext>
                </a:extLst>
              </a:blip>
              <a:stretch>
                <a:fillRect/>
              </a:stretch>
            </p:blipFill>
            <p:spPr>
              <a:xfrm rot="19745088">
                <a:off x="5304041" y="5521077"/>
                <a:ext cx="179387" cy="169021"/>
              </a:xfrm>
              <a:prstGeom prst="rect">
                <a:avLst/>
              </a:prstGeom>
            </p:spPr>
          </p:pic>
          <p:pic>
            <p:nvPicPr>
              <p:cNvPr id="5292" name="Graphic 2653">
                <a:extLst>
                  <a:ext uri="{FF2B5EF4-FFF2-40B4-BE49-F238E27FC236}">
                    <a16:creationId xmlns:a16="http://schemas.microsoft.com/office/drawing/2014/main" id="{DDDC098D-D7D1-254F-DD48-83418B6471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9"/>
                  </a:ext>
                </a:extLst>
              </a:blip>
              <a:stretch>
                <a:fillRect/>
              </a:stretch>
            </p:blipFill>
            <p:spPr>
              <a:xfrm rot="11423421">
                <a:off x="5264136" y="5369923"/>
                <a:ext cx="179387" cy="169021"/>
              </a:xfrm>
              <a:prstGeom prst="rect">
                <a:avLst/>
              </a:prstGeom>
            </p:spPr>
          </p:pic>
        </p:grpSp>
      </p:grpSp>
      <p:sp>
        <p:nvSpPr>
          <p:cNvPr id="5293" name="Rectangle 1377">
            <a:extLst>
              <a:ext uri="{FF2B5EF4-FFF2-40B4-BE49-F238E27FC236}">
                <a16:creationId xmlns:a16="http://schemas.microsoft.com/office/drawing/2014/main" id="{0A09879D-1EA5-3DFE-D398-4CA2C21D5F09}"/>
              </a:ext>
            </a:extLst>
          </p:cNvPr>
          <p:cNvSpPr/>
          <p:nvPr/>
        </p:nvSpPr>
        <p:spPr>
          <a:xfrm>
            <a:off x="2367905" y="2531014"/>
            <a:ext cx="1097677" cy="2746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5783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" sz="1050" b="1">
                <a:solidFill>
                  <a:srgbClr val="2F3651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Langerhans-Insel</a:t>
            </a:r>
          </a:p>
        </p:txBody>
      </p:sp>
      <p:sp>
        <p:nvSpPr>
          <p:cNvPr id="5294" name="Rectangle 2650">
            <a:extLst>
              <a:ext uri="{FF2B5EF4-FFF2-40B4-BE49-F238E27FC236}">
                <a16:creationId xmlns:a16="http://schemas.microsoft.com/office/drawing/2014/main" id="{21D9918D-096C-4800-D271-55E3EBE575F1}"/>
              </a:ext>
            </a:extLst>
          </p:cNvPr>
          <p:cNvSpPr/>
          <p:nvPr/>
        </p:nvSpPr>
        <p:spPr>
          <a:xfrm>
            <a:off x="1165591" y="2594893"/>
            <a:ext cx="1174211" cy="2908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defRPr/>
            </a:pPr>
            <a:r>
              <a:rPr lang="de" sz="1050" b="1">
                <a:solidFill>
                  <a:srgbClr val="2F3651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Bauchspeichel-drüse</a:t>
            </a:r>
          </a:p>
        </p:txBody>
      </p:sp>
      <p:sp>
        <p:nvSpPr>
          <p:cNvPr id="5295" name="Freeform: Shape 1400">
            <a:extLst>
              <a:ext uri="{FF2B5EF4-FFF2-40B4-BE49-F238E27FC236}">
                <a16:creationId xmlns:a16="http://schemas.microsoft.com/office/drawing/2014/main" id="{836D0DAB-661F-ACF7-4A72-DB2381837F3D}"/>
              </a:ext>
            </a:extLst>
          </p:cNvPr>
          <p:cNvSpPr/>
          <p:nvPr/>
        </p:nvSpPr>
        <p:spPr>
          <a:xfrm>
            <a:off x="5619173" y="1343463"/>
            <a:ext cx="310443" cy="553154"/>
          </a:xfrm>
          <a:custGeom>
            <a:avLst/>
            <a:gdLst>
              <a:gd name="connsiteX0" fmla="*/ 0 w 306658"/>
              <a:gd name="connsiteY0" fmla="*/ 0 h 546410"/>
              <a:gd name="connsiteX1" fmla="*/ 178419 w 306658"/>
              <a:gd name="connsiteY1" fmla="*/ 183995 h 546410"/>
              <a:gd name="connsiteX2" fmla="*/ 39029 w 306658"/>
              <a:gd name="connsiteY2" fmla="*/ 150541 h 546410"/>
              <a:gd name="connsiteX3" fmla="*/ 239751 w 306658"/>
              <a:gd name="connsiteY3" fmla="*/ 367990 h 546410"/>
              <a:gd name="connsiteX4" fmla="*/ 139390 w 306658"/>
              <a:gd name="connsiteY4" fmla="*/ 340112 h 546410"/>
              <a:gd name="connsiteX5" fmla="*/ 306658 w 306658"/>
              <a:gd name="connsiteY5" fmla="*/ 546410 h 546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6658" h="546410">
                <a:moveTo>
                  <a:pt x="0" y="0"/>
                </a:moveTo>
                <a:lnTo>
                  <a:pt x="178419" y="183995"/>
                </a:lnTo>
                <a:lnTo>
                  <a:pt x="39029" y="150541"/>
                </a:lnTo>
                <a:lnTo>
                  <a:pt x="239751" y="367990"/>
                </a:lnTo>
                <a:lnTo>
                  <a:pt x="139390" y="340112"/>
                </a:lnTo>
                <a:lnTo>
                  <a:pt x="306658" y="546410"/>
                </a:lnTo>
              </a:path>
            </a:pathLst>
          </a:custGeom>
          <a:noFill/>
          <a:ln w="38100" cap="flat" cmpd="sng" algn="ctr">
            <a:solidFill>
              <a:srgbClr val="2F3651"/>
            </a:solidFill>
            <a:prstDash val="solid"/>
            <a:tailEnd type="arrow" w="lg" len="sm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Calibri" panose="020F0502020204030204"/>
              <a:cs typeface="Arial"/>
            </a:endParaRPr>
          </a:p>
        </p:txBody>
      </p:sp>
      <p:pic>
        <p:nvPicPr>
          <p:cNvPr id="5296" name="Graphic 2651">
            <a:extLst>
              <a:ext uri="{FF2B5EF4-FFF2-40B4-BE49-F238E27FC236}">
                <a16:creationId xmlns:a16="http://schemas.microsoft.com/office/drawing/2014/main" id="{990C0F29-42B1-5319-EAF9-84807D17AC94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33524">
            <a:off x="3242024" y="1335689"/>
            <a:ext cx="126766" cy="134540"/>
          </a:xfrm>
          <a:prstGeom prst="rect">
            <a:avLst/>
          </a:prstGeom>
        </p:spPr>
      </p:pic>
      <p:pic>
        <p:nvPicPr>
          <p:cNvPr id="5297" name="Graphic 2652">
            <a:extLst>
              <a:ext uri="{FF2B5EF4-FFF2-40B4-BE49-F238E27FC236}">
                <a16:creationId xmlns:a16="http://schemas.microsoft.com/office/drawing/2014/main" id="{F986C9B7-27AB-0A94-4D90-93248F9EF84B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745088">
            <a:off x="4514414" y="1258499"/>
            <a:ext cx="134540" cy="126766"/>
          </a:xfrm>
          <a:prstGeom prst="rect">
            <a:avLst/>
          </a:prstGeom>
        </p:spPr>
      </p:pic>
      <p:pic>
        <p:nvPicPr>
          <p:cNvPr id="5298" name="Graphic 2653">
            <a:extLst>
              <a:ext uri="{FF2B5EF4-FFF2-40B4-BE49-F238E27FC236}">
                <a16:creationId xmlns:a16="http://schemas.microsoft.com/office/drawing/2014/main" id="{04385856-7C2B-906B-CCCD-652F131C4DAE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423421">
            <a:off x="3937165" y="1189139"/>
            <a:ext cx="134540" cy="126766"/>
          </a:xfrm>
          <a:prstGeom prst="rect">
            <a:avLst/>
          </a:prstGeom>
        </p:spPr>
      </p:pic>
      <p:pic>
        <p:nvPicPr>
          <p:cNvPr id="5299" name="Graphic 2651">
            <a:extLst>
              <a:ext uri="{FF2B5EF4-FFF2-40B4-BE49-F238E27FC236}">
                <a16:creationId xmlns:a16="http://schemas.microsoft.com/office/drawing/2014/main" id="{7F5FEAE3-E412-11DC-76CF-57C7D489882A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748708">
            <a:off x="3411872" y="3096754"/>
            <a:ext cx="126766" cy="134540"/>
          </a:xfrm>
          <a:prstGeom prst="rect">
            <a:avLst/>
          </a:prstGeom>
        </p:spPr>
      </p:pic>
      <p:pic>
        <p:nvPicPr>
          <p:cNvPr id="5300" name="Graphic 2652">
            <a:extLst>
              <a:ext uri="{FF2B5EF4-FFF2-40B4-BE49-F238E27FC236}">
                <a16:creationId xmlns:a16="http://schemas.microsoft.com/office/drawing/2014/main" id="{2FC64E36-C93B-6958-2183-64B7F515CB01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745088">
            <a:off x="4294536" y="3039157"/>
            <a:ext cx="134540" cy="126766"/>
          </a:xfrm>
          <a:prstGeom prst="rect">
            <a:avLst/>
          </a:prstGeom>
        </p:spPr>
      </p:pic>
      <p:pic>
        <p:nvPicPr>
          <p:cNvPr id="5301" name="Graphic 2653">
            <a:extLst>
              <a:ext uri="{FF2B5EF4-FFF2-40B4-BE49-F238E27FC236}">
                <a16:creationId xmlns:a16="http://schemas.microsoft.com/office/drawing/2014/main" id="{E66A6D92-56FD-1DB3-DB53-305A87DD1BDF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560144">
            <a:off x="4699536" y="2768130"/>
            <a:ext cx="134540" cy="126766"/>
          </a:xfrm>
          <a:prstGeom prst="rect">
            <a:avLst/>
          </a:prstGeom>
        </p:spPr>
      </p:pic>
      <p:grpSp>
        <p:nvGrpSpPr>
          <p:cNvPr id="5302" name="Graphic 1853">
            <a:extLst>
              <a:ext uri="{FF2B5EF4-FFF2-40B4-BE49-F238E27FC236}">
                <a16:creationId xmlns:a16="http://schemas.microsoft.com/office/drawing/2014/main" id="{4EC125E1-6353-DCAE-DE74-CB87D42B7F67}"/>
              </a:ext>
            </a:extLst>
          </p:cNvPr>
          <p:cNvGrpSpPr/>
          <p:nvPr/>
        </p:nvGrpSpPr>
        <p:grpSpPr>
          <a:xfrm rot="4500000">
            <a:off x="3597742" y="2427301"/>
            <a:ext cx="198584" cy="175297"/>
            <a:chOff x="5303671" y="4139642"/>
            <a:chExt cx="198584" cy="175297"/>
          </a:xfrm>
        </p:grpSpPr>
        <p:sp>
          <p:nvSpPr>
            <p:cNvPr id="5303" name="Freeform 45">
              <a:extLst>
                <a:ext uri="{FF2B5EF4-FFF2-40B4-BE49-F238E27FC236}">
                  <a16:creationId xmlns:a16="http://schemas.microsoft.com/office/drawing/2014/main" id="{3A261F4D-DAE6-0543-7E8A-514B49BA50AE}"/>
                </a:ext>
              </a:extLst>
            </p:cNvPr>
            <p:cNvSpPr/>
            <p:nvPr/>
          </p:nvSpPr>
          <p:spPr>
            <a:xfrm>
              <a:off x="5303671" y="4139642"/>
              <a:ext cx="198584" cy="175297"/>
            </a:xfrm>
            <a:custGeom>
              <a:avLst/>
              <a:gdLst>
                <a:gd name="connsiteX0" fmla="*/ 66833 w 198584"/>
                <a:gd name="connsiteY0" fmla="*/ 8214 h 175297"/>
                <a:gd name="connsiteX1" fmla="*/ 78057 w 198584"/>
                <a:gd name="connsiteY1" fmla="*/ 2008 h 175297"/>
                <a:gd name="connsiteX2" fmla="*/ 96050 w 198584"/>
                <a:gd name="connsiteY2" fmla="*/ 200 h 175297"/>
                <a:gd name="connsiteX3" fmla="*/ 154551 w 198584"/>
                <a:gd name="connsiteY3" fmla="*/ 20441 h 175297"/>
                <a:gd name="connsiteX4" fmla="*/ 183331 w 198584"/>
                <a:gd name="connsiteY4" fmla="*/ 34836 h 175297"/>
                <a:gd name="connsiteX5" fmla="*/ 195326 w 198584"/>
                <a:gd name="connsiteY5" fmla="*/ 43465 h 175297"/>
                <a:gd name="connsiteX6" fmla="*/ 198454 w 198584"/>
                <a:gd name="connsiteY6" fmla="*/ 60716 h 175297"/>
                <a:gd name="connsiteX7" fmla="*/ 195832 w 198584"/>
                <a:gd name="connsiteY7" fmla="*/ 94632 h 175297"/>
                <a:gd name="connsiteX8" fmla="*/ 187889 w 198584"/>
                <a:gd name="connsiteY8" fmla="*/ 131419 h 175297"/>
                <a:gd name="connsiteX9" fmla="*/ 162871 w 198584"/>
                <a:gd name="connsiteY9" fmla="*/ 159945 h 175297"/>
                <a:gd name="connsiteX10" fmla="*/ 134597 w 198584"/>
                <a:gd name="connsiteY10" fmla="*/ 167359 h 175297"/>
                <a:gd name="connsiteX11" fmla="*/ 100128 w 198584"/>
                <a:gd name="connsiteY11" fmla="*/ 172621 h 175297"/>
                <a:gd name="connsiteX12" fmla="*/ 50717 w 198584"/>
                <a:gd name="connsiteY12" fmla="*/ 171565 h 175297"/>
                <a:gd name="connsiteX13" fmla="*/ 20060 w 198584"/>
                <a:gd name="connsiteY13" fmla="*/ 145710 h 175297"/>
                <a:gd name="connsiteX14" fmla="*/ 157 w 198584"/>
                <a:gd name="connsiteY14" fmla="*/ 101342 h 175297"/>
                <a:gd name="connsiteX15" fmla="*/ 20960 w 198584"/>
                <a:gd name="connsiteY15" fmla="*/ 54846 h 175297"/>
                <a:gd name="connsiteX16" fmla="*/ 66833 w 198584"/>
                <a:gd name="connsiteY16" fmla="*/ 8214 h 17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8584" h="175297">
                  <a:moveTo>
                    <a:pt x="66833" y="8214"/>
                  </a:moveTo>
                  <a:cubicBezTo>
                    <a:pt x="70255" y="5679"/>
                    <a:pt x="74031" y="3591"/>
                    <a:pt x="78057" y="2008"/>
                  </a:cubicBezTo>
                  <a:cubicBezTo>
                    <a:pt x="83729" y="-24"/>
                    <a:pt x="89975" y="-263"/>
                    <a:pt x="96050" y="200"/>
                  </a:cubicBezTo>
                  <a:cubicBezTo>
                    <a:pt x="116938" y="1800"/>
                    <a:pt x="136079" y="11213"/>
                    <a:pt x="154551" y="20441"/>
                  </a:cubicBezTo>
                  <a:lnTo>
                    <a:pt x="183331" y="34836"/>
                  </a:lnTo>
                  <a:cubicBezTo>
                    <a:pt x="187829" y="37084"/>
                    <a:pt x="192525" y="39491"/>
                    <a:pt x="195326" y="43465"/>
                  </a:cubicBezTo>
                  <a:cubicBezTo>
                    <a:pt x="198831" y="48416"/>
                    <a:pt x="198753" y="54790"/>
                    <a:pt x="198454" y="60716"/>
                  </a:cubicBezTo>
                  <a:cubicBezTo>
                    <a:pt x="197882" y="72040"/>
                    <a:pt x="197008" y="83345"/>
                    <a:pt x="195832" y="94632"/>
                  </a:cubicBezTo>
                  <a:cubicBezTo>
                    <a:pt x="194504" y="107116"/>
                    <a:pt x="192764" y="119719"/>
                    <a:pt x="187889" y="131419"/>
                  </a:cubicBezTo>
                  <a:cubicBezTo>
                    <a:pt x="183014" y="143119"/>
                    <a:pt x="174678" y="153955"/>
                    <a:pt x="162871" y="159945"/>
                  </a:cubicBezTo>
                  <a:cubicBezTo>
                    <a:pt x="154217" y="164336"/>
                    <a:pt x="144296" y="165879"/>
                    <a:pt x="134597" y="167359"/>
                  </a:cubicBezTo>
                  <a:lnTo>
                    <a:pt x="100128" y="172621"/>
                  </a:lnTo>
                  <a:cubicBezTo>
                    <a:pt x="83635" y="175140"/>
                    <a:pt x="66139" y="177539"/>
                    <a:pt x="50717" y="171565"/>
                  </a:cubicBezTo>
                  <a:cubicBezTo>
                    <a:pt x="37865" y="166583"/>
                    <a:pt x="28131" y="156371"/>
                    <a:pt x="20060" y="145710"/>
                  </a:cubicBezTo>
                  <a:cubicBezTo>
                    <a:pt x="10010" y="132467"/>
                    <a:pt x="1528" y="117560"/>
                    <a:pt x="157" y="101342"/>
                  </a:cubicBezTo>
                  <a:cubicBezTo>
                    <a:pt x="-1497" y="81636"/>
                    <a:pt x="10207" y="70000"/>
                    <a:pt x="20960" y="54846"/>
                  </a:cubicBezTo>
                  <a:cubicBezTo>
                    <a:pt x="33692" y="36900"/>
                    <a:pt x="48163" y="21129"/>
                    <a:pt x="66833" y="8214"/>
                  </a:cubicBezTo>
                  <a:close/>
                </a:path>
              </a:pathLst>
            </a:custGeom>
            <a:solidFill>
              <a:srgbClr val="2F3651"/>
            </a:solidFill>
            <a:ln w="5043" cap="flat">
              <a:solidFill>
                <a:srgbClr val="58586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  <p:sp>
          <p:nvSpPr>
            <p:cNvPr id="5304" name="Freeform 46">
              <a:extLst>
                <a:ext uri="{FF2B5EF4-FFF2-40B4-BE49-F238E27FC236}">
                  <a16:creationId xmlns:a16="http://schemas.microsoft.com/office/drawing/2014/main" id="{A22A206A-D529-D6ED-25B7-E26A7DF30950}"/>
                </a:ext>
              </a:extLst>
            </p:cNvPr>
            <p:cNvSpPr/>
            <p:nvPr/>
          </p:nvSpPr>
          <p:spPr>
            <a:xfrm>
              <a:off x="5363641" y="4195639"/>
              <a:ext cx="84822" cy="87969"/>
            </a:xfrm>
            <a:custGeom>
              <a:avLst/>
              <a:gdLst>
                <a:gd name="connsiteX0" fmla="*/ 84823 w 84822"/>
                <a:gd name="connsiteY0" fmla="*/ 43985 h 87969"/>
                <a:gd name="connsiteX1" fmla="*/ 42411 w 84822"/>
                <a:gd name="connsiteY1" fmla="*/ 87970 h 87969"/>
                <a:gd name="connsiteX2" fmla="*/ 0 w 84822"/>
                <a:gd name="connsiteY2" fmla="*/ 43985 h 87969"/>
                <a:gd name="connsiteX3" fmla="*/ 42411 w 84822"/>
                <a:gd name="connsiteY3" fmla="*/ 0 h 87969"/>
                <a:gd name="connsiteX4" fmla="*/ 84823 w 84822"/>
                <a:gd name="connsiteY4" fmla="*/ 43985 h 87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22" h="87969">
                  <a:moveTo>
                    <a:pt x="84823" y="43985"/>
                  </a:moveTo>
                  <a:cubicBezTo>
                    <a:pt x="84823" y="68277"/>
                    <a:pt x="65834" y="87970"/>
                    <a:pt x="42411" y="87970"/>
                  </a:cubicBezTo>
                  <a:cubicBezTo>
                    <a:pt x="18988" y="87970"/>
                    <a:pt x="0" y="68277"/>
                    <a:pt x="0" y="43985"/>
                  </a:cubicBezTo>
                  <a:cubicBezTo>
                    <a:pt x="0" y="19693"/>
                    <a:pt x="18988" y="0"/>
                    <a:pt x="42411" y="0"/>
                  </a:cubicBezTo>
                  <a:cubicBezTo>
                    <a:pt x="65834" y="0"/>
                    <a:pt x="84823" y="19693"/>
                    <a:pt x="84823" y="43985"/>
                  </a:cubicBezTo>
                  <a:close/>
                </a:path>
              </a:pathLst>
            </a:custGeom>
            <a:solidFill>
              <a:srgbClr val="E3E7F7">
                <a:alpha val="48000"/>
              </a:srgbClr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  <p:sp>
          <p:nvSpPr>
            <p:cNvPr id="5305" name="Freeform 48">
              <a:extLst>
                <a:ext uri="{FF2B5EF4-FFF2-40B4-BE49-F238E27FC236}">
                  <a16:creationId xmlns:a16="http://schemas.microsoft.com/office/drawing/2014/main" id="{D6F09AD2-6140-F8A6-1CC5-4FAB257966B3}"/>
                </a:ext>
              </a:extLst>
            </p:cNvPr>
            <p:cNvSpPr/>
            <p:nvPr/>
          </p:nvSpPr>
          <p:spPr>
            <a:xfrm>
              <a:off x="5437334" y="4167129"/>
              <a:ext cx="49071" cy="76845"/>
            </a:xfrm>
            <a:custGeom>
              <a:avLst/>
              <a:gdLst>
                <a:gd name="connsiteX0" fmla="*/ 37802 w 49071"/>
                <a:gd name="connsiteY0" fmla="*/ 16146 h 76845"/>
                <a:gd name="connsiteX1" fmla="*/ 47723 w 49071"/>
                <a:gd name="connsiteY1" fmla="*/ 23640 h 76845"/>
                <a:gd name="connsiteX2" fmla="*/ 48906 w 49071"/>
                <a:gd name="connsiteY2" fmla="*/ 30653 h 76845"/>
                <a:gd name="connsiteX3" fmla="*/ 44528 w 49071"/>
                <a:gd name="connsiteY3" fmla="*/ 76846 h 76845"/>
                <a:gd name="connsiteX4" fmla="*/ 39901 w 49071"/>
                <a:gd name="connsiteY4" fmla="*/ 39562 h 76845"/>
                <a:gd name="connsiteX5" fmla="*/ 21420 w 49071"/>
                <a:gd name="connsiteY5" fmla="*/ 19137 h 76845"/>
                <a:gd name="connsiteX6" fmla="*/ 0 w 49071"/>
                <a:gd name="connsiteY6" fmla="*/ 0 h 76845"/>
                <a:gd name="connsiteX7" fmla="*/ 37802 w 49071"/>
                <a:gd name="connsiteY7" fmla="*/ 16146 h 76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071" h="76845">
                  <a:moveTo>
                    <a:pt x="37802" y="16146"/>
                  </a:moveTo>
                  <a:cubicBezTo>
                    <a:pt x="41717" y="17898"/>
                    <a:pt x="45924" y="19945"/>
                    <a:pt x="47723" y="23640"/>
                  </a:cubicBezTo>
                  <a:cubicBezTo>
                    <a:pt x="48777" y="25807"/>
                    <a:pt x="48854" y="28270"/>
                    <a:pt x="48906" y="30653"/>
                  </a:cubicBezTo>
                  <a:cubicBezTo>
                    <a:pt x="49249" y="46184"/>
                    <a:pt x="49540" y="62035"/>
                    <a:pt x="44528" y="76846"/>
                  </a:cubicBezTo>
                  <a:cubicBezTo>
                    <a:pt x="40244" y="64922"/>
                    <a:pt x="44528" y="51374"/>
                    <a:pt x="39901" y="39562"/>
                  </a:cubicBezTo>
                  <a:cubicBezTo>
                    <a:pt x="36508" y="30893"/>
                    <a:pt x="28934" y="24735"/>
                    <a:pt x="21420" y="19137"/>
                  </a:cubicBezTo>
                  <a:cubicBezTo>
                    <a:pt x="14831" y="14235"/>
                    <a:pt x="2570" y="7789"/>
                    <a:pt x="0" y="0"/>
                  </a:cubicBezTo>
                  <a:cubicBezTo>
                    <a:pt x="12732" y="2943"/>
                    <a:pt x="25909" y="10804"/>
                    <a:pt x="37802" y="16146"/>
                  </a:cubicBezTo>
                  <a:close/>
                </a:path>
              </a:pathLst>
            </a:custGeom>
            <a:solidFill>
              <a:srgbClr val="FFFFFF"/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</p:grpSp>
      <p:grpSp>
        <p:nvGrpSpPr>
          <p:cNvPr id="5306" name="Graphic 1853">
            <a:extLst>
              <a:ext uri="{FF2B5EF4-FFF2-40B4-BE49-F238E27FC236}">
                <a16:creationId xmlns:a16="http://schemas.microsoft.com/office/drawing/2014/main" id="{7A395912-07AC-7799-12B7-953CC07E6A4B}"/>
              </a:ext>
            </a:extLst>
          </p:cNvPr>
          <p:cNvGrpSpPr/>
          <p:nvPr/>
        </p:nvGrpSpPr>
        <p:grpSpPr>
          <a:xfrm rot="4500000">
            <a:off x="4447537" y="2273245"/>
            <a:ext cx="198584" cy="175297"/>
            <a:chOff x="5303671" y="4139642"/>
            <a:chExt cx="198584" cy="175297"/>
          </a:xfrm>
        </p:grpSpPr>
        <p:sp>
          <p:nvSpPr>
            <p:cNvPr id="5307" name="Freeform 45">
              <a:extLst>
                <a:ext uri="{FF2B5EF4-FFF2-40B4-BE49-F238E27FC236}">
                  <a16:creationId xmlns:a16="http://schemas.microsoft.com/office/drawing/2014/main" id="{67C1F5B8-CE33-7B21-CF50-35F678F97E9D}"/>
                </a:ext>
              </a:extLst>
            </p:cNvPr>
            <p:cNvSpPr/>
            <p:nvPr/>
          </p:nvSpPr>
          <p:spPr>
            <a:xfrm>
              <a:off x="5303671" y="4139642"/>
              <a:ext cx="198584" cy="175297"/>
            </a:xfrm>
            <a:custGeom>
              <a:avLst/>
              <a:gdLst>
                <a:gd name="connsiteX0" fmla="*/ 66833 w 198584"/>
                <a:gd name="connsiteY0" fmla="*/ 8214 h 175297"/>
                <a:gd name="connsiteX1" fmla="*/ 78057 w 198584"/>
                <a:gd name="connsiteY1" fmla="*/ 2008 h 175297"/>
                <a:gd name="connsiteX2" fmla="*/ 96050 w 198584"/>
                <a:gd name="connsiteY2" fmla="*/ 200 h 175297"/>
                <a:gd name="connsiteX3" fmla="*/ 154551 w 198584"/>
                <a:gd name="connsiteY3" fmla="*/ 20441 h 175297"/>
                <a:gd name="connsiteX4" fmla="*/ 183331 w 198584"/>
                <a:gd name="connsiteY4" fmla="*/ 34836 h 175297"/>
                <a:gd name="connsiteX5" fmla="*/ 195326 w 198584"/>
                <a:gd name="connsiteY5" fmla="*/ 43465 h 175297"/>
                <a:gd name="connsiteX6" fmla="*/ 198454 w 198584"/>
                <a:gd name="connsiteY6" fmla="*/ 60716 h 175297"/>
                <a:gd name="connsiteX7" fmla="*/ 195832 w 198584"/>
                <a:gd name="connsiteY7" fmla="*/ 94632 h 175297"/>
                <a:gd name="connsiteX8" fmla="*/ 187889 w 198584"/>
                <a:gd name="connsiteY8" fmla="*/ 131419 h 175297"/>
                <a:gd name="connsiteX9" fmla="*/ 162871 w 198584"/>
                <a:gd name="connsiteY9" fmla="*/ 159945 h 175297"/>
                <a:gd name="connsiteX10" fmla="*/ 134597 w 198584"/>
                <a:gd name="connsiteY10" fmla="*/ 167359 h 175297"/>
                <a:gd name="connsiteX11" fmla="*/ 100128 w 198584"/>
                <a:gd name="connsiteY11" fmla="*/ 172621 h 175297"/>
                <a:gd name="connsiteX12" fmla="*/ 50717 w 198584"/>
                <a:gd name="connsiteY12" fmla="*/ 171565 h 175297"/>
                <a:gd name="connsiteX13" fmla="*/ 20060 w 198584"/>
                <a:gd name="connsiteY13" fmla="*/ 145710 h 175297"/>
                <a:gd name="connsiteX14" fmla="*/ 157 w 198584"/>
                <a:gd name="connsiteY14" fmla="*/ 101342 h 175297"/>
                <a:gd name="connsiteX15" fmla="*/ 20960 w 198584"/>
                <a:gd name="connsiteY15" fmla="*/ 54846 h 175297"/>
                <a:gd name="connsiteX16" fmla="*/ 66833 w 198584"/>
                <a:gd name="connsiteY16" fmla="*/ 8214 h 17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8584" h="175297">
                  <a:moveTo>
                    <a:pt x="66833" y="8214"/>
                  </a:moveTo>
                  <a:cubicBezTo>
                    <a:pt x="70255" y="5679"/>
                    <a:pt x="74031" y="3591"/>
                    <a:pt x="78057" y="2008"/>
                  </a:cubicBezTo>
                  <a:cubicBezTo>
                    <a:pt x="83729" y="-24"/>
                    <a:pt x="89975" y="-263"/>
                    <a:pt x="96050" y="200"/>
                  </a:cubicBezTo>
                  <a:cubicBezTo>
                    <a:pt x="116938" y="1800"/>
                    <a:pt x="136079" y="11213"/>
                    <a:pt x="154551" y="20441"/>
                  </a:cubicBezTo>
                  <a:lnTo>
                    <a:pt x="183331" y="34836"/>
                  </a:lnTo>
                  <a:cubicBezTo>
                    <a:pt x="187829" y="37084"/>
                    <a:pt x="192525" y="39491"/>
                    <a:pt x="195326" y="43465"/>
                  </a:cubicBezTo>
                  <a:cubicBezTo>
                    <a:pt x="198831" y="48416"/>
                    <a:pt x="198753" y="54790"/>
                    <a:pt x="198454" y="60716"/>
                  </a:cubicBezTo>
                  <a:cubicBezTo>
                    <a:pt x="197882" y="72040"/>
                    <a:pt x="197008" y="83345"/>
                    <a:pt x="195832" y="94632"/>
                  </a:cubicBezTo>
                  <a:cubicBezTo>
                    <a:pt x="194504" y="107116"/>
                    <a:pt x="192764" y="119719"/>
                    <a:pt x="187889" y="131419"/>
                  </a:cubicBezTo>
                  <a:cubicBezTo>
                    <a:pt x="183014" y="143119"/>
                    <a:pt x="174678" y="153955"/>
                    <a:pt x="162871" y="159945"/>
                  </a:cubicBezTo>
                  <a:cubicBezTo>
                    <a:pt x="154217" y="164336"/>
                    <a:pt x="144296" y="165879"/>
                    <a:pt x="134597" y="167359"/>
                  </a:cubicBezTo>
                  <a:lnTo>
                    <a:pt x="100128" y="172621"/>
                  </a:lnTo>
                  <a:cubicBezTo>
                    <a:pt x="83635" y="175140"/>
                    <a:pt x="66139" y="177539"/>
                    <a:pt x="50717" y="171565"/>
                  </a:cubicBezTo>
                  <a:cubicBezTo>
                    <a:pt x="37865" y="166583"/>
                    <a:pt x="28131" y="156371"/>
                    <a:pt x="20060" y="145710"/>
                  </a:cubicBezTo>
                  <a:cubicBezTo>
                    <a:pt x="10010" y="132467"/>
                    <a:pt x="1528" y="117560"/>
                    <a:pt x="157" y="101342"/>
                  </a:cubicBezTo>
                  <a:cubicBezTo>
                    <a:pt x="-1497" y="81636"/>
                    <a:pt x="10207" y="70000"/>
                    <a:pt x="20960" y="54846"/>
                  </a:cubicBezTo>
                  <a:cubicBezTo>
                    <a:pt x="33692" y="36900"/>
                    <a:pt x="48163" y="21129"/>
                    <a:pt x="66833" y="8214"/>
                  </a:cubicBezTo>
                  <a:close/>
                </a:path>
              </a:pathLst>
            </a:custGeom>
            <a:solidFill>
              <a:srgbClr val="2F3651"/>
            </a:solidFill>
            <a:ln w="5043" cap="flat">
              <a:solidFill>
                <a:srgbClr val="58586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  <p:sp>
          <p:nvSpPr>
            <p:cNvPr id="5308" name="Freeform 46">
              <a:extLst>
                <a:ext uri="{FF2B5EF4-FFF2-40B4-BE49-F238E27FC236}">
                  <a16:creationId xmlns:a16="http://schemas.microsoft.com/office/drawing/2014/main" id="{154E0E1F-E150-BFA0-F51B-0104B3E4C96B}"/>
                </a:ext>
              </a:extLst>
            </p:cNvPr>
            <p:cNvSpPr/>
            <p:nvPr/>
          </p:nvSpPr>
          <p:spPr>
            <a:xfrm>
              <a:off x="5363641" y="4195639"/>
              <a:ext cx="84822" cy="87969"/>
            </a:xfrm>
            <a:custGeom>
              <a:avLst/>
              <a:gdLst>
                <a:gd name="connsiteX0" fmla="*/ 84823 w 84822"/>
                <a:gd name="connsiteY0" fmla="*/ 43985 h 87969"/>
                <a:gd name="connsiteX1" fmla="*/ 42411 w 84822"/>
                <a:gd name="connsiteY1" fmla="*/ 87970 h 87969"/>
                <a:gd name="connsiteX2" fmla="*/ 0 w 84822"/>
                <a:gd name="connsiteY2" fmla="*/ 43985 h 87969"/>
                <a:gd name="connsiteX3" fmla="*/ 42411 w 84822"/>
                <a:gd name="connsiteY3" fmla="*/ 0 h 87969"/>
                <a:gd name="connsiteX4" fmla="*/ 84823 w 84822"/>
                <a:gd name="connsiteY4" fmla="*/ 43985 h 87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22" h="87969">
                  <a:moveTo>
                    <a:pt x="84823" y="43985"/>
                  </a:moveTo>
                  <a:cubicBezTo>
                    <a:pt x="84823" y="68277"/>
                    <a:pt x="65834" y="87970"/>
                    <a:pt x="42411" y="87970"/>
                  </a:cubicBezTo>
                  <a:cubicBezTo>
                    <a:pt x="18988" y="87970"/>
                    <a:pt x="0" y="68277"/>
                    <a:pt x="0" y="43985"/>
                  </a:cubicBezTo>
                  <a:cubicBezTo>
                    <a:pt x="0" y="19693"/>
                    <a:pt x="18988" y="0"/>
                    <a:pt x="42411" y="0"/>
                  </a:cubicBezTo>
                  <a:cubicBezTo>
                    <a:pt x="65834" y="0"/>
                    <a:pt x="84823" y="19693"/>
                    <a:pt x="84823" y="43985"/>
                  </a:cubicBezTo>
                  <a:close/>
                </a:path>
              </a:pathLst>
            </a:custGeom>
            <a:solidFill>
              <a:srgbClr val="E3E7F7">
                <a:alpha val="48000"/>
              </a:srgbClr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  <p:sp>
          <p:nvSpPr>
            <p:cNvPr id="5309" name="Freeform 48">
              <a:extLst>
                <a:ext uri="{FF2B5EF4-FFF2-40B4-BE49-F238E27FC236}">
                  <a16:creationId xmlns:a16="http://schemas.microsoft.com/office/drawing/2014/main" id="{5BB980A0-4700-7BA4-4A2A-CA0AE13DC25A}"/>
                </a:ext>
              </a:extLst>
            </p:cNvPr>
            <p:cNvSpPr/>
            <p:nvPr/>
          </p:nvSpPr>
          <p:spPr>
            <a:xfrm>
              <a:off x="5437334" y="4167129"/>
              <a:ext cx="49071" cy="76845"/>
            </a:xfrm>
            <a:custGeom>
              <a:avLst/>
              <a:gdLst>
                <a:gd name="connsiteX0" fmla="*/ 37802 w 49071"/>
                <a:gd name="connsiteY0" fmla="*/ 16146 h 76845"/>
                <a:gd name="connsiteX1" fmla="*/ 47723 w 49071"/>
                <a:gd name="connsiteY1" fmla="*/ 23640 h 76845"/>
                <a:gd name="connsiteX2" fmla="*/ 48906 w 49071"/>
                <a:gd name="connsiteY2" fmla="*/ 30653 h 76845"/>
                <a:gd name="connsiteX3" fmla="*/ 44528 w 49071"/>
                <a:gd name="connsiteY3" fmla="*/ 76846 h 76845"/>
                <a:gd name="connsiteX4" fmla="*/ 39901 w 49071"/>
                <a:gd name="connsiteY4" fmla="*/ 39562 h 76845"/>
                <a:gd name="connsiteX5" fmla="*/ 21420 w 49071"/>
                <a:gd name="connsiteY5" fmla="*/ 19137 h 76845"/>
                <a:gd name="connsiteX6" fmla="*/ 0 w 49071"/>
                <a:gd name="connsiteY6" fmla="*/ 0 h 76845"/>
                <a:gd name="connsiteX7" fmla="*/ 37802 w 49071"/>
                <a:gd name="connsiteY7" fmla="*/ 16146 h 76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071" h="76845">
                  <a:moveTo>
                    <a:pt x="37802" y="16146"/>
                  </a:moveTo>
                  <a:cubicBezTo>
                    <a:pt x="41717" y="17898"/>
                    <a:pt x="45924" y="19945"/>
                    <a:pt x="47723" y="23640"/>
                  </a:cubicBezTo>
                  <a:cubicBezTo>
                    <a:pt x="48777" y="25807"/>
                    <a:pt x="48854" y="28270"/>
                    <a:pt x="48906" y="30653"/>
                  </a:cubicBezTo>
                  <a:cubicBezTo>
                    <a:pt x="49249" y="46184"/>
                    <a:pt x="49540" y="62035"/>
                    <a:pt x="44528" y="76846"/>
                  </a:cubicBezTo>
                  <a:cubicBezTo>
                    <a:pt x="40244" y="64922"/>
                    <a:pt x="44528" y="51374"/>
                    <a:pt x="39901" y="39562"/>
                  </a:cubicBezTo>
                  <a:cubicBezTo>
                    <a:pt x="36508" y="30893"/>
                    <a:pt x="28934" y="24735"/>
                    <a:pt x="21420" y="19137"/>
                  </a:cubicBezTo>
                  <a:cubicBezTo>
                    <a:pt x="14831" y="14235"/>
                    <a:pt x="2570" y="7789"/>
                    <a:pt x="0" y="0"/>
                  </a:cubicBezTo>
                  <a:cubicBezTo>
                    <a:pt x="12732" y="2943"/>
                    <a:pt x="25909" y="10804"/>
                    <a:pt x="37802" y="16146"/>
                  </a:cubicBezTo>
                  <a:close/>
                </a:path>
              </a:pathLst>
            </a:custGeom>
            <a:solidFill>
              <a:srgbClr val="FFFFFF"/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</p:grpSp>
      <p:grpSp>
        <p:nvGrpSpPr>
          <p:cNvPr id="5310" name="Graphic 1853">
            <a:extLst>
              <a:ext uri="{FF2B5EF4-FFF2-40B4-BE49-F238E27FC236}">
                <a16:creationId xmlns:a16="http://schemas.microsoft.com/office/drawing/2014/main" id="{4B13D848-DE8F-DB2D-076F-978F187E06E5}"/>
              </a:ext>
            </a:extLst>
          </p:cNvPr>
          <p:cNvGrpSpPr/>
          <p:nvPr/>
        </p:nvGrpSpPr>
        <p:grpSpPr>
          <a:xfrm rot="20816976">
            <a:off x="4104637" y="2114220"/>
            <a:ext cx="198584" cy="175297"/>
            <a:chOff x="5303671" y="4139642"/>
            <a:chExt cx="198584" cy="175297"/>
          </a:xfrm>
        </p:grpSpPr>
        <p:sp>
          <p:nvSpPr>
            <p:cNvPr id="5311" name="Freeform 45">
              <a:extLst>
                <a:ext uri="{FF2B5EF4-FFF2-40B4-BE49-F238E27FC236}">
                  <a16:creationId xmlns:a16="http://schemas.microsoft.com/office/drawing/2014/main" id="{CA161D67-7BB7-DF63-38B7-7ADE78584B14}"/>
                </a:ext>
              </a:extLst>
            </p:cNvPr>
            <p:cNvSpPr/>
            <p:nvPr/>
          </p:nvSpPr>
          <p:spPr>
            <a:xfrm>
              <a:off x="5303671" y="4139642"/>
              <a:ext cx="198584" cy="175297"/>
            </a:xfrm>
            <a:custGeom>
              <a:avLst/>
              <a:gdLst>
                <a:gd name="connsiteX0" fmla="*/ 66833 w 198584"/>
                <a:gd name="connsiteY0" fmla="*/ 8214 h 175297"/>
                <a:gd name="connsiteX1" fmla="*/ 78057 w 198584"/>
                <a:gd name="connsiteY1" fmla="*/ 2008 h 175297"/>
                <a:gd name="connsiteX2" fmla="*/ 96050 w 198584"/>
                <a:gd name="connsiteY2" fmla="*/ 200 h 175297"/>
                <a:gd name="connsiteX3" fmla="*/ 154551 w 198584"/>
                <a:gd name="connsiteY3" fmla="*/ 20441 h 175297"/>
                <a:gd name="connsiteX4" fmla="*/ 183331 w 198584"/>
                <a:gd name="connsiteY4" fmla="*/ 34836 h 175297"/>
                <a:gd name="connsiteX5" fmla="*/ 195326 w 198584"/>
                <a:gd name="connsiteY5" fmla="*/ 43465 h 175297"/>
                <a:gd name="connsiteX6" fmla="*/ 198454 w 198584"/>
                <a:gd name="connsiteY6" fmla="*/ 60716 h 175297"/>
                <a:gd name="connsiteX7" fmla="*/ 195832 w 198584"/>
                <a:gd name="connsiteY7" fmla="*/ 94632 h 175297"/>
                <a:gd name="connsiteX8" fmla="*/ 187889 w 198584"/>
                <a:gd name="connsiteY8" fmla="*/ 131419 h 175297"/>
                <a:gd name="connsiteX9" fmla="*/ 162871 w 198584"/>
                <a:gd name="connsiteY9" fmla="*/ 159945 h 175297"/>
                <a:gd name="connsiteX10" fmla="*/ 134597 w 198584"/>
                <a:gd name="connsiteY10" fmla="*/ 167359 h 175297"/>
                <a:gd name="connsiteX11" fmla="*/ 100128 w 198584"/>
                <a:gd name="connsiteY11" fmla="*/ 172621 h 175297"/>
                <a:gd name="connsiteX12" fmla="*/ 50717 w 198584"/>
                <a:gd name="connsiteY12" fmla="*/ 171565 h 175297"/>
                <a:gd name="connsiteX13" fmla="*/ 20060 w 198584"/>
                <a:gd name="connsiteY13" fmla="*/ 145710 h 175297"/>
                <a:gd name="connsiteX14" fmla="*/ 157 w 198584"/>
                <a:gd name="connsiteY14" fmla="*/ 101342 h 175297"/>
                <a:gd name="connsiteX15" fmla="*/ 20960 w 198584"/>
                <a:gd name="connsiteY15" fmla="*/ 54846 h 175297"/>
                <a:gd name="connsiteX16" fmla="*/ 66833 w 198584"/>
                <a:gd name="connsiteY16" fmla="*/ 8214 h 17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8584" h="175297">
                  <a:moveTo>
                    <a:pt x="66833" y="8214"/>
                  </a:moveTo>
                  <a:cubicBezTo>
                    <a:pt x="70255" y="5679"/>
                    <a:pt x="74031" y="3591"/>
                    <a:pt x="78057" y="2008"/>
                  </a:cubicBezTo>
                  <a:cubicBezTo>
                    <a:pt x="83729" y="-24"/>
                    <a:pt x="89975" y="-263"/>
                    <a:pt x="96050" y="200"/>
                  </a:cubicBezTo>
                  <a:cubicBezTo>
                    <a:pt x="116938" y="1800"/>
                    <a:pt x="136079" y="11213"/>
                    <a:pt x="154551" y="20441"/>
                  </a:cubicBezTo>
                  <a:lnTo>
                    <a:pt x="183331" y="34836"/>
                  </a:lnTo>
                  <a:cubicBezTo>
                    <a:pt x="187829" y="37084"/>
                    <a:pt x="192525" y="39491"/>
                    <a:pt x="195326" y="43465"/>
                  </a:cubicBezTo>
                  <a:cubicBezTo>
                    <a:pt x="198831" y="48416"/>
                    <a:pt x="198753" y="54790"/>
                    <a:pt x="198454" y="60716"/>
                  </a:cubicBezTo>
                  <a:cubicBezTo>
                    <a:pt x="197882" y="72040"/>
                    <a:pt x="197008" y="83345"/>
                    <a:pt x="195832" y="94632"/>
                  </a:cubicBezTo>
                  <a:cubicBezTo>
                    <a:pt x="194504" y="107116"/>
                    <a:pt x="192764" y="119719"/>
                    <a:pt x="187889" y="131419"/>
                  </a:cubicBezTo>
                  <a:cubicBezTo>
                    <a:pt x="183014" y="143119"/>
                    <a:pt x="174678" y="153955"/>
                    <a:pt x="162871" y="159945"/>
                  </a:cubicBezTo>
                  <a:cubicBezTo>
                    <a:pt x="154217" y="164336"/>
                    <a:pt x="144296" y="165879"/>
                    <a:pt x="134597" y="167359"/>
                  </a:cubicBezTo>
                  <a:lnTo>
                    <a:pt x="100128" y="172621"/>
                  </a:lnTo>
                  <a:cubicBezTo>
                    <a:pt x="83635" y="175140"/>
                    <a:pt x="66139" y="177539"/>
                    <a:pt x="50717" y="171565"/>
                  </a:cubicBezTo>
                  <a:cubicBezTo>
                    <a:pt x="37865" y="166583"/>
                    <a:pt x="28131" y="156371"/>
                    <a:pt x="20060" y="145710"/>
                  </a:cubicBezTo>
                  <a:cubicBezTo>
                    <a:pt x="10010" y="132467"/>
                    <a:pt x="1528" y="117560"/>
                    <a:pt x="157" y="101342"/>
                  </a:cubicBezTo>
                  <a:cubicBezTo>
                    <a:pt x="-1497" y="81636"/>
                    <a:pt x="10207" y="70000"/>
                    <a:pt x="20960" y="54846"/>
                  </a:cubicBezTo>
                  <a:cubicBezTo>
                    <a:pt x="33692" y="36900"/>
                    <a:pt x="48163" y="21129"/>
                    <a:pt x="66833" y="8214"/>
                  </a:cubicBezTo>
                  <a:close/>
                </a:path>
              </a:pathLst>
            </a:custGeom>
            <a:solidFill>
              <a:srgbClr val="2F3651"/>
            </a:solidFill>
            <a:ln w="5043" cap="flat">
              <a:solidFill>
                <a:srgbClr val="58586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  <p:sp>
          <p:nvSpPr>
            <p:cNvPr id="5312" name="Freeform 46">
              <a:extLst>
                <a:ext uri="{FF2B5EF4-FFF2-40B4-BE49-F238E27FC236}">
                  <a16:creationId xmlns:a16="http://schemas.microsoft.com/office/drawing/2014/main" id="{78C360A7-46AC-4DAC-27A5-CD414BBFC31F}"/>
                </a:ext>
              </a:extLst>
            </p:cNvPr>
            <p:cNvSpPr/>
            <p:nvPr/>
          </p:nvSpPr>
          <p:spPr>
            <a:xfrm>
              <a:off x="5363641" y="4195639"/>
              <a:ext cx="84822" cy="87969"/>
            </a:xfrm>
            <a:custGeom>
              <a:avLst/>
              <a:gdLst>
                <a:gd name="connsiteX0" fmla="*/ 84823 w 84822"/>
                <a:gd name="connsiteY0" fmla="*/ 43985 h 87969"/>
                <a:gd name="connsiteX1" fmla="*/ 42411 w 84822"/>
                <a:gd name="connsiteY1" fmla="*/ 87970 h 87969"/>
                <a:gd name="connsiteX2" fmla="*/ 0 w 84822"/>
                <a:gd name="connsiteY2" fmla="*/ 43985 h 87969"/>
                <a:gd name="connsiteX3" fmla="*/ 42411 w 84822"/>
                <a:gd name="connsiteY3" fmla="*/ 0 h 87969"/>
                <a:gd name="connsiteX4" fmla="*/ 84823 w 84822"/>
                <a:gd name="connsiteY4" fmla="*/ 43985 h 87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22" h="87969">
                  <a:moveTo>
                    <a:pt x="84823" y="43985"/>
                  </a:moveTo>
                  <a:cubicBezTo>
                    <a:pt x="84823" y="68277"/>
                    <a:pt x="65834" y="87970"/>
                    <a:pt x="42411" y="87970"/>
                  </a:cubicBezTo>
                  <a:cubicBezTo>
                    <a:pt x="18988" y="87970"/>
                    <a:pt x="0" y="68277"/>
                    <a:pt x="0" y="43985"/>
                  </a:cubicBezTo>
                  <a:cubicBezTo>
                    <a:pt x="0" y="19693"/>
                    <a:pt x="18988" y="0"/>
                    <a:pt x="42411" y="0"/>
                  </a:cubicBezTo>
                  <a:cubicBezTo>
                    <a:pt x="65834" y="0"/>
                    <a:pt x="84823" y="19693"/>
                    <a:pt x="84823" y="43985"/>
                  </a:cubicBezTo>
                  <a:close/>
                </a:path>
              </a:pathLst>
            </a:custGeom>
            <a:solidFill>
              <a:srgbClr val="E3E7F7">
                <a:alpha val="48000"/>
              </a:srgbClr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  <p:sp>
          <p:nvSpPr>
            <p:cNvPr id="5313" name="Freeform 48">
              <a:extLst>
                <a:ext uri="{FF2B5EF4-FFF2-40B4-BE49-F238E27FC236}">
                  <a16:creationId xmlns:a16="http://schemas.microsoft.com/office/drawing/2014/main" id="{83C428A3-859E-4DFE-F452-D53564D4DE0C}"/>
                </a:ext>
              </a:extLst>
            </p:cNvPr>
            <p:cNvSpPr/>
            <p:nvPr/>
          </p:nvSpPr>
          <p:spPr>
            <a:xfrm>
              <a:off x="5437334" y="4167129"/>
              <a:ext cx="49071" cy="76845"/>
            </a:xfrm>
            <a:custGeom>
              <a:avLst/>
              <a:gdLst>
                <a:gd name="connsiteX0" fmla="*/ 37802 w 49071"/>
                <a:gd name="connsiteY0" fmla="*/ 16146 h 76845"/>
                <a:gd name="connsiteX1" fmla="*/ 47723 w 49071"/>
                <a:gd name="connsiteY1" fmla="*/ 23640 h 76845"/>
                <a:gd name="connsiteX2" fmla="*/ 48906 w 49071"/>
                <a:gd name="connsiteY2" fmla="*/ 30653 h 76845"/>
                <a:gd name="connsiteX3" fmla="*/ 44528 w 49071"/>
                <a:gd name="connsiteY3" fmla="*/ 76846 h 76845"/>
                <a:gd name="connsiteX4" fmla="*/ 39901 w 49071"/>
                <a:gd name="connsiteY4" fmla="*/ 39562 h 76845"/>
                <a:gd name="connsiteX5" fmla="*/ 21420 w 49071"/>
                <a:gd name="connsiteY5" fmla="*/ 19137 h 76845"/>
                <a:gd name="connsiteX6" fmla="*/ 0 w 49071"/>
                <a:gd name="connsiteY6" fmla="*/ 0 h 76845"/>
                <a:gd name="connsiteX7" fmla="*/ 37802 w 49071"/>
                <a:gd name="connsiteY7" fmla="*/ 16146 h 76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071" h="76845">
                  <a:moveTo>
                    <a:pt x="37802" y="16146"/>
                  </a:moveTo>
                  <a:cubicBezTo>
                    <a:pt x="41717" y="17898"/>
                    <a:pt x="45924" y="19945"/>
                    <a:pt x="47723" y="23640"/>
                  </a:cubicBezTo>
                  <a:cubicBezTo>
                    <a:pt x="48777" y="25807"/>
                    <a:pt x="48854" y="28270"/>
                    <a:pt x="48906" y="30653"/>
                  </a:cubicBezTo>
                  <a:cubicBezTo>
                    <a:pt x="49249" y="46184"/>
                    <a:pt x="49540" y="62035"/>
                    <a:pt x="44528" y="76846"/>
                  </a:cubicBezTo>
                  <a:cubicBezTo>
                    <a:pt x="40244" y="64922"/>
                    <a:pt x="44528" y="51374"/>
                    <a:pt x="39901" y="39562"/>
                  </a:cubicBezTo>
                  <a:cubicBezTo>
                    <a:pt x="36508" y="30893"/>
                    <a:pt x="28934" y="24735"/>
                    <a:pt x="21420" y="19137"/>
                  </a:cubicBezTo>
                  <a:cubicBezTo>
                    <a:pt x="14831" y="14235"/>
                    <a:pt x="2570" y="7789"/>
                    <a:pt x="0" y="0"/>
                  </a:cubicBezTo>
                  <a:cubicBezTo>
                    <a:pt x="12732" y="2943"/>
                    <a:pt x="25909" y="10804"/>
                    <a:pt x="37802" y="16146"/>
                  </a:cubicBezTo>
                  <a:close/>
                </a:path>
              </a:pathLst>
            </a:custGeom>
            <a:solidFill>
              <a:srgbClr val="FFFFFF"/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</p:grpSp>
      <p:grpSp>
        <p:nvGrpSpPr>
          <p:cNvPr id="5314" name="Graphic 1853">
            <a:extLst>
              <a:ext uri="{FF2B5EF4-FFF2-40B4-BE49-F238E27FC236}">
                <a16:creationId xmlns:a16="http://schemas.microsoft.com/office/drawing/2014/main" id="{1EEC1E9B-D0C2-E69E-56D9-5B97364D9EB5}"/>
              </a:ext>
            </a:extLst>
          </p:cNvPr>
          <p:cNvGrpSpPr/>
          <p:nvPr/>
        </p:nvGrpSpPr>
        <p:grpSpPr>
          <a:xfrm rot="3579697">
            <a:off x="4442083" y="1670970"/>
            <a:ext cx="198584" cy="175297"/>
            <a:chOff x="5303671" y="4139642"/>
            <a:chExt cx="198584" cy="175297"/>
          </a:xfrm>
        </p:grpSpPr>
        <p:sp>
          <p:nvSpPr>
            <p:cNvPr id="5315" name="Freeform 45">
              <a:extLst>
                <a:ext uri="{FF2B5EF4-FFF2-40B4-BE49-F238E27FC236}">
                  <a16:creationId xmlns:a16="http://schemas.microsoft.com/office/drawing/2014/main" id="{185268C0-F852-2DC7-0ED2-F357963B2654}"/>
                </a:ext>
              </a:extLst>
            </p:cNvPr>
            <p:cNvSpPr/>
            <p:nvPr/>
          </p:nvSpPr>
          <p:spPr>
            <a:xfrm>
              <a:off x="5303671" y="4139642"/>
              <a:ext cx="198584" cy="175297"/>
            </a:xfrm>
            <a:custGeom>
              <a:avLst/>
              <a:gdLst>
                <a:gd name="connsiteX0" fmla="*/ 66833 w 198584"/>
                <a:gd name="connsiteY0" fmla="*/ 8214 h 175297"/>
                <a:gd name="connsiteX1" fmla="*/ 78057 w 198584"/>
                <a:gd name="connsiteY1" fmla="*/ 2008 h 175297"/>
                <a:gd name="connsiteX2" fmla="*/ 96050 w 198584"/>
                <a:gd name="connsiteY2" fmla="*/ 200 h 175297"/>
                <a:gd name="connsiteX3" fmla="*/ 154551 w 198584"/>
                <a:gd name="connsiteY3" fmla="*/ 20441 h 175297"/>
                <a:gd name="connsiteX4" fmla="*/ 183331 w 198584"/>
                <a:gd name="connsiteY4" fmla="*/ 34836 h 175297"/>
                <a:gd name="connsiteX5" fmla="*/ 195326 w 198584"/>
                <a:gd name="connsiteY5" fmla="*/ 43465 h 175297"/>
                <a:gd name="connsiteX6" fmla="*/ 198454 w 198584"/>
                <a:gd name="connsiteY6" fmla="*/ 60716 h 175297"/>
                <a:gd name="connsiteX7" fmla="*/ 195832 w 198584"/>
                <a:gd name="connsiteY7" fmla="*/ 94632 h 175297"/>
                <a:gd name="connsiteX8" fmla="*/ 187889 w 198584"/>
                <a:gd name="connsiteY8" fmla="*/ 131419 h 175297"/>
                <a:gd name="connsiteX9" fmla="*/ 162871 w 198584"/>
                <a:gd name="connsiteY9" fmla="*/ 159945 h 175297"/>
                <a:gd name="connsiteX10" fmla="*/ 134597 w 198584"/>
                <a:gd name="connsiteY10" fmla="*/ 167359 h 175297"/>
                <a:gd name="connsiteX11" fmla="*/ 100128 w 198584"/>
                <a:gd name="connsiteY11" fmla="*/ 172621 h 175297"/>
                <a:gd name="connsiteX12" fmla="*/ 50717 w 198584"/>
                <a:gd name="connsiteY12" fmla="*/ 171565 h 175297"/>
                <a:gd name="connsiteX13" fmla="*/ 20060 w 198584"/>
                <a:gd name="connsiteY13" fmla="*/ 145710 h 175297"/>
                <a:gd name="connsiteX14" fmla="*/ 157 w 198584"/>
                <a:gd name="connsiteY14" fmla="*/ 101342 h 175297"/>
                <a:gd name="connsiteX15" fmla="*/ 20960 w 198584"/>
                <a:gd name="connsiteY15" fmla="*/ 54846 h 175297"/>
                <a:gd name="connsiteX16" fmla="*/ 66833 w 198584"/>
                <a:gd name="connsiteY16" fmla="*/ 8214 h 17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8584" h="175297">
                  <a:moveTo>
                    <a:pt x="66833" y="8214"/>
                  </a:moveTo>
                  <a:cubicBezTo>
                    <a:pt x="70255" y="5679"/>
                    <a:pt x="74031" y="3591"/>
                    <a:pt x="78057" y="2008"/>
                  </a:cubicBezTo>
                  <a:cubicBezTo>
                    <a:pt x="83729" y="-24"/>
                    <a:pt x="89975" y="-263"/>
                    <a:pt x="96050" y="200"/>
                  </a:cubicBezTo>
                  <a:cubicBezTo>
                    <a:pt x="116938" y="1800"/>
                    <a:pt x="136079" y="11213"/>
                    <a:pt x="154551" y="20441"/>
                  </a:cubicBezTo>
                  <a:lnTo>
                    <a:pt x="183331" y="34836"/>
                  </a:lnTo>
                  <a:cubicBezTo>
                    <a:pt x="187829" y="37084"/>
                    <a:pt x="192525" y="39491"/>
                    <a:pt x="195326" y="43465"/>
                  </a:cubicBezTo>
                  <a:cubicBezTo>
                    <a:pt x="198831" y="48416"/>
                    <a:pt x="198753" y="54790"/>
                    <a:pt x="198454" y="60716"/>
                  </a:cubicBezTo>
                  <a:cubicBezTo>
                    <a:pt x="197882" y="72040"/>
                    <a:pt x="197008" y="83345"/>
                    <a:pt x="195832" y="94632"/>
                  </a:cubicBezTo>
                  <a:cubicBezTo>
                    <a:pt x="194504" y="107116"/>
                    <a:pt x="192764" y="119719"/>
                    <a:pt x="187889" y="131419"/>
                  </a:cubicBezTo>
                  <a:cubicBezTo>
                    <a:pt x="183014" y="143119"/>
                    <a:pt x="174678" y="153955"/>
                    <a:pt x="162871" y="159945"/>
                  </a:cubicBezTo>
                  <a:cubicBezTo>
                    <a:pt x="154217" y="164336"/>
                    <a:pt x="144296" y="165879"/>
                    <a:pt x="134597" y="167359"/>
                  </a:cubicBezTo>
                  <a:lnTo>
                    <a:pt x="100128" y="172621"/>
                  </a:lnTo>
                  <a:cubicBezTo>
                    <a:pt x="83635" y="175140"/>
                    <a:pt x="66139" y="177539"/>
                    <a:pt x="50717" y="171565"/>
                  </a:cubicBezTo>
                  <a:cubicBezTo>
                    <a:pt x="37865" y="166583"/>
                    <a:pt x="28131" y="156371"/>
                    <a:pt x="20060" y="145710"/>
                  </a:cubicBezTo>
                  <a:cubicBezTo>
                    <a:pt x="10010" y="132467"/>
                    <a:pt x="1528" y="117560"/>
                    <a:pt x="157" y="101342"/>
                  </a:cubicBezTo>
                  <a:cubicBezTo>
                    <a:pt x="-1497" y="81636"/>
                    <a:pt x="10207" y="70000"/>
                    <a:pt x="20960" y="54846"/>
                  </a:cubicBezTo>
                  <a:cubicBezTo>
                    <a:pt x="33692" y="36900"/>
                    <a:pt x="48163" y="21129"/>
                    <a:pt x="66833" y="8214"/>
                  </a:cubicBezTo>
                  <a:close/>
                </a:path>
              </a:pathLst>
            </a:custGeom>
            <a:solidFill>
              <a:srgbClr val="2F3651"/>
            </a:solidFill>
            <a:ln w="5043" cap="flat">
              <a:solidFill>
                <a:srgbClr val="58586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  <p:sp>
          <p:nvSpPr>
            <p:cNvPr id="5316" name="Freeform 46">
              <a:extLst>
                <a:ext uri="{FF2B5EF4-FFF2-40B4-BE49-F238E27FC236}">
                  <a16:creationId xmlns:a16="http://schemas.microsoft.com/office/drawing/2014/main" id="{A0F9A6F4-7590-367F-33CB-11DA2F02799A}"/>
                </a:ext>
              </a:extLst>
            </p:cNvPr>
            <p:cNvSpPr/>
            <p:nvPr/>
          </p:nvSpPr>
          <p:spPr>
            <a:xfrm>
              <a:off x="5363641" y="4195639"/>
              <a:ext cx="84822" cy="87969"/>
            </a:xfrm>
            <a:custGeom>
              <a:avLst/>
              <a:gdLst>
                <a:gd name="connsiteX0" fmla="*/ 84823 w 84822"/>
                <a:gd name="connsiteY0" fmla="*/ 43985 h 87969"/>
                <a:gd name="connsiteX1" fmla="*/ 42411 w 84822"/>
                <a:gd name="connsiteY1" fmla="*/ 87970 h 87969"/>
                <a:gd name="connsiteX2" fmla="*/ 0 w 84822"/>
                <a:gd name="connsiteY2" fmla="*/ 43985 h 87969"/>
                <a:gd name="connsiteX3" fmla="*/ 42411 w 84822"/>
                <a:gd name="connsiteY3" fmla="*/ 0 h 87969"/>
                <a:gd name="connsiteX4" fmla="*/ 84823 w 84822"/>
                <a:gd name="connsiteY4" fmla="*/ 43985 h 87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22" h="87969">
                  <a:moveTo>
                    <a:pt x="84823" y="43985"/>
                  </a:moveTo>
                  <a:cubicBezTo>
                    <a:pt x="84823" y="68277"/>
                    <a:pt x="65834" y="87970"/>
                    <a:pt x="42411" y="87970"/>
                  </a:cubicBezTo>
                  <a:cubicBezTo>
                    <a:pt x="18988" y="87970"/>
                    <a:pt x="0" y="68277"/>
                    <a:pt x="0" y="43985"/>
                  </a:cubicBezTo>
                  <a:cubicBezTo>
                    <a:pt x="0" y="19693"/>
                    <a:pt x="18988" y="0"/>
                    <a:pt x="42411" y="0"/>
                  </a:cubicBezTo>
                  <a:cubicBezTo>
                    <a:pt x="65834" y="0"/>
                    <a:pt x="84823" y="19693"/>
                    <a:pt x="84823" y="43985"/>
                  </a:cubicBezTo>
                  <a:close/>
                </a:path>
              </a:pathLst>
            </a:custGeom>
            <a:solidFill>
              <a:srgbClr val="E3E7F7">
                <a:alpha val="48000"/>
              </a:srgbClr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  <p:sp>
          <p:nvSpPr>
            <p:cNvPr id="5317" name="Freeform 48">
              <a:extLst>
                <a:ext uri="{FF2B5EF4-FFF2-40B4-BE49-F238E27FC236}">
                  <a16:creationId xmlns:a16="http://schemas.microsoft.com/office/drawing/2014/main" id="{7E849B95-005F-7C18-FA67-0916B5CE5C25}"/>
                </a:ext>
              </a:extLst>
            </p:cNvPr>
            <p:cNvSpPr/>
            <p:nvPr/>
          </p:nvSpPr>
          <p:spPr>
            <a:xfrm>
              <a:off x="5437334" y="4167129"/>
              <a:ext cx="49071" cy="76845"/>
            </a:xfrm>
            <a:custGeom>
              <a:avLst/>
              <a:gdLst>
                <a:gd name="connsiteX0" fmla="*/ 37802 w 49071"/>
                <a:gd name="connsiteY0" fmla="*/ 16146 h 76845"/>
                <a:gd name="connsiteX1" fmla="*/ 47723 w 49071"/>
                <a:gd name="connsiteY1" fmla="*/ 23640 h 76845"/>
                <a:gd name="connsiteX2" fmla="*/ 48906 w 49071"/>
                <a:gd name="connsiteY2" fmla="*/ 30653 h 76845"/>
                <a:gd name="connsiteX3" fmla="*/ 44528 w 49071"/>
                <a:gd name="connsiteY3" fmla="*/ 76846 h 76845"/>
                <a:gd name="connsiteX4" fmla="*/ 39901 w 49071"/>
                <a:gd name="connsiteY4" fmla="*/ 39562 h 76845"/>
                <a:gd name="connsiteX5" fmla="*/ 21420 w 49071"/>
                <a:gd name="connsiteY5" fmla="*/ 19137 h 76845"/>
                <a:gd name="connsiteX6" fmla="*/ 0 w 49071"/>
                <a:gd name="connsiteY6" fmla="*/ 0 h 76845"/>
                <a:gd name="connsiteX7" fmla="*/ 37802 w 49071"/>
                <a:gd name="connsiteY7" fmla="*/ 16146 h 76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071" h="76845">
                  <a:moveTo>
                    <a:pt x="37802" y="16146"/>
                  </a:moveTo>
                  <a:cubicBezTo>
                    <a:pt x="41717" y="17898"/>
                    <a:pt x="45924" y="19945"/>
                    <a:pt x="47723" y="23640"/>
                  </a:cubicBezTo>
                  <a:cubicBezTo>
                    <a:pt x="48777" y="25807"/>
                    <a:pt x="48854" y="28270"/>
                    <a:pt x="48906" y="30653"/>
                  </a:cubicBezTo>
                  <a:cubicBezTo>
                    <a:pt x="49249" y="46184"/>
                    <a:pt x="49540" y="62035"/>
                    <a:pt x="44528" y="76846"/>
                  </a:cubicBezTo>
                  <a:cubicBezTo>
                    <a:pt x="40244" y="64922"/>
                    <a:pt x="44528" y="51374"/>
                    <a:pt x="39901" y="39562"/>
                  </a:cubicBezTo>
                  <a:cubicBezTo>
                    <a:pt x="36508" y="30893"/>
                    <a:pt x="28934" y="24735"/>
                    <a:pt x="21420" y="19137"/>
                  </a:cubicBezTo>
                  <a:cubicBezTo>
                    <a:pt x="14831" y="14235"/>
                    <a:pt x="2570" y="7789"/>
                    <a:pt x="0" y="0"/>
                  </a:cubicBezTo>
                  <a:cubicBezTo>
                    <a:pt x="12732" y="2943"/>
                    <a:pt x="25909" y="10804"/>
                    <a:pt x="37802" y="16146"/>
                  </a:cubicBezTo>
                  <a:close/>
                </a:path>
              </a:pathLst>
            </a:custGeom>
            <a:solidFill>
              <a:srgbClr val="FFFFFF"/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</p:grpSp>
      <p:pic>
        <p:nvPicPr>
          <p:cNvPr id="5318" name="T-Cells infiltrate 4">
            <a:extLst>
              <a:ext uri="{FF2B5EF4-FFF2-40B4-BE49-F238E27FC236}">
                <a16:creationId xmlns:a16="http://schemas.microsoft.com/office/drawing/2014/main" id="{1794E1F0-C5DA-A073-673B-200833BF677A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3389" y="3873600"/>
            <a:ext cx="212691" cy="208963"/>
          </a:xfrm>
          <a:prstGeom prst="rect">
            <a:avLst/>
          </a:prstGeom>
        </p:spPr>
      </p:pic>
      <p:pic>
        <p:nvPicPr>
          <p:cNvPr id="5319" name="T-Cells infiltrate 4">
            <a:extLst>
              <a:ext uri="{FF2B5EF4-FFF2-40B4-BE49-F238E27FC236}">
                <a16:creationId xmlns:a16="http://schemas.microsoft.com/office/drawing/2014/main" id="{697CFB81-7275-3621-9CFE-9F3B673538B3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1806" y="2571525"/>
            <a:ext cx="212691" cy="208963"/>
          </a:xfrm>
          <a:prstGeom prst="rect">
            <a:avLst/>
          </a:prstGeom>
        </p:spPr>
      </p:pic>
      <p:pic>
        <p:nvPicPr>
          <p:cNvPr id="5320" name="T-Cells infiltrate 4">
            <a:extLst>
              <a:ext uri="{FF2B5EF4-FFF2-40B4-BE49-F238E27FC236}">
                <a16:creationId xmlns:a16="http://schemas.microsoft.com/office/drawing/2014/main" id="{69C59D51-1C24-456C-E5B0-EC2A6C029C90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5032" y="2208747"/>
            <a:ext cx="212691" cy="208963"/>
          </a:xfrm>
          <a:prstGeom prst="rect">
            <a:avLst/>
          </a:prstGeom>
        </p:spPr>
      </p:pic>
      <p:pic>
        <p:nvPicPr>
          <p:cNvPr id="5321" name="T-Cells infiltrate 4">
            <a:extLst>
              <a:ext uri="{FF2B5EF4-FFF2-40B4-BE49-F238E27FC236}">
                <a16:creationId xmlns:a16="http://schemas.microsoft.com/office/drawing/2014/main" id="{C7288C6A-06C2-B4EE-8B6F-4B1D9146B8E3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5032" y="1488160"/>
            <a:ext cx="212691" cy="208963"/>
          </a:xfrm>
          <a:prstGeom prst="rect">
            <a:avLst/>
          </a:prstGeom>
        </p:spPr>
      </p:pic>
      <p:grpSp>
        <p:nvGrpSpPr>
          <p:cNvPr id="5322" name="Graphic 1853">
            <a:extLst>
              <a:ext uri="{FF2B5EF4-FFF2-40B4-BE49-F238E27FC236}">
                <a16:creationId xmlns:a16="http://schemas.microsoft.com/office/drawing/2014/main" id="{A1B4B906-0841-CBA0-4B65-0EB3EFD5CF64}"/>
              </a:ext>
            </a:extLst>
          </p:cNvPr>
          <p:cNvGrpSpPr/>
          <p:nvPr/>
        </p:nvGrpSpPr>
        <p:grpSpPr>
          <a:xfrm>
            <a:off x="3631633" y="1904993"/>
            <a:ext cx="198584" cy="175297"/>
            <a:chOff x="5303671" y="4139642"/>
            <a:chExt cx="198584" cy="175297"/>
          </a:xfrm>
        </p:grpSpPr>
        <p:sp>
          <p:nvSpPr>
            <p:cNvPr id="5323" name="Freeform 45">
              <a:extLst>
                <a:ext uri="{FF2B5EF4-FFF2-40B4-BE49-F238E27FC236}">
                  <a16:creationId xmlns:a16="http://schemas.microsoft.com/office/drawing/2014/main" id="{D86D29CD-1BCF-2AF1-226F-6D0AC66D858B}"/>
                </a:ext>
              </a:extLst>
            </p:cNvPr>
            <p:cNvSpPr/>
            <p:nvPr/>
          </p:nvSpPr>
          <p:spPr>
            <a:xfrm>
              <a:off x="5303671" y="4139642"/>
              <a:ext cx="198584" cy="175297"/>
            </a:xfrm>
            <a:custGeom>
              <a:avLst/>
              <a:gdLst>
                <a:gd name="connsiteX0" fmla="*/ 66833 w 198584"/>
                <a:gd name="connsiteY0" fmla="*/ 8214 h 175297"/>
                <a:gd name="connsiteX1" fmla="*/ 78057 w 198584"/>
                <a:gd name="connsiteY1" fmla="*/ 2008 h 175297"/>
                <a:gd name="connsiteX2" fmla="*/ 96050 w 198584"/>
                <a:gd name="connsiteY2" fmla="*/ 200 h 175297"/>
                <a:gd name="connsiteX3" fmla="*/ 154551 w 198584"/>
                <a:gd name="connsiteY3" fmla="*/ 20441 h 175297"/>
                <a:gd name="connsiteX4" fmla="*/ 183331 w 198584"/>
                <a:gd name="connsiteY4" fmla="*/ 34836 h 175297"/>
                <a:gd name="connsiteX5" fmla="*/ 195326 w 198584"/>
                <a:gd name="connsiteY5" fmla="*/ 43465 h 175297"/>
                <a:gd name="connsiteX6" fmla="*/ 198454 w 198584"/>
                <a:gd name="connsiteY6" fmla="*/ 60716 h 175297"/>
                <a:gd name="connsiteX7" fmla="*/ 195832 w 198584"/>
                <a:gd name="connsiteY7" fmla="*/ 94632 h 175297"/>
                <a:gd name="connsiteX8" fmla="*/ 187889 w 198584"/>
                <a:gd name="connsiteY8" fmla="*/ 131419 h 175297"/>
                <a:gd name="connsiteX9" fmla="*/ 162871 w 198584"/>
                <a:gd name="connsiteY9" fmla="*/ 159945 h 175297"/>
                <a:gd name="connsiteX10" fmla="*/ 134597 w 198584"/>
                <a:gd name="connsiteY10" fmla="*/ 167359 h 175297"/>
                <a:gd name="connsiteX11" fmla="*/ 100128 w 198584"/>
                <a:gd name="connsiteY11" fmla="*/ 172621 h 175297"/>
                <a:gd name="connsiteX12" fmla="*/ 50717 w 198584"/>
                <a:gd name="connsiteY12" fmla="*/ 171565 h 175297"/>
                <a:gd name="connsiteX13" fmla="*/ 20060 w 198584"/>
                <a:gd name="connsiteY13" fmla="*/ 145710 h 175297"/>
                <a:gd name="connsiteX14" fmla="*/ 157 w 198584"/>
                <a:gd name="connsiteY14" fmla="*/ 101342 h 175297"/>
                <a:gd name="connsiteX15" fmla="*/ 20960 w 198584"/>
                <a:gd name="connsiteY15" fmla="*/ 54846 h 175297"/>
                <a:gd name="connsiteX16" fmla="*/ 66833 w 198584"/>
                <a:gd name="connsiteY16" fmla="*/ 8214 h 17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8584" h="175297">
                  <a:moveTo>
                    <a:pt x="66833" y="8214"/>
                  </a:moveTo>
                  <a:cubicBezTo>
                    <a:pt x="70255" y="5679"/>
                    <a:pt x="74031" y="3591"/>
                    <a:pt x="78057" y="2008"/>
                  </a:cubicBezTo>
                  <a:cubicBezTo>
                    <a:pt x="83729" y="-24"/>
                    <a:pt x="89975" y="-263"/>
                    <a:pt x="96050" y="200"/>
                  </a:cubicBezTo>
                  <a:cubicBezTo>
                    <a:pt x="116938" y="1800"/>
                    <a:pt x="136079" y="11213"/>
                    <a:pt x="154551" y="20441"/>
                  </a:cubicBezTo>
                  <a:lnTo>
                    <a:pt x="183331" y="34836"/>
                  </a:lnTo>
                  <a:cubicBezTo>
                    <a:pt x="187829" y="37084"/>
                    <a:pt x="192525" y="39491"/>
                    <a:pt x="195326" y="43465"/>
                  </a:cubicBezTo>
                  <a:cubicBezTo>
                    <a:pt x="198831" y="48416"/>
                    <a:pt x="198753" y="54790"/>
                    <a:pt x="198454" y="60716"/>
                  </a:cubicBezTo>
                  <a:cubicBezTo>
                    <a:pt x="197882" y="72040"/>
                    <a:pt x="197008" y="83345"/>
                    <a:pt x="195832" y="94632"/>
                  </a:cubicBezTo>
                  <a:cubicBezTo>
                    <a:pt x="194504" y="107116"/>
                    <a:pt x="192764" y="119719"/>
                    <a:pt x="187889" y="131419"/>
                  </a:cubicBezTo>
                  <a:cubicBezTo>
                    <a:pt x="183014" y="143119"/>
                    <a:pt x="174678" y="153955"/>
                    <a:pt x="162871" y="159945"/>
                  </a:cubicBezTo>
                  <a:cubicBezTo>
                    <a:pt x="154217" y="164336"/>
                    <a:pt x="144296" y="165879"/>
                    <a:pt x="134597" y="167359"/>
                  </a:cubicBezTo>
                  <a:lnTo>
                    <a:pt x="100128" y="172621"/>
                  </a:lnTo>
                  <a:cubicBezTo>
                    <a:pt x="83635" y="175140"/>
                    <a:pt x="66139" y="177539"/>
                    <a:pt x="50717" y="171565"/>
                  </a:cubicBezTo>
                  <a:cubicBezTo>
                    <a:pt x="37865" y="166583"/>
                    <a:pt x="28131" y="156371"/>
                    <a:pt x="20060" y="145710"/>
                  </a:cubicBezTo>
                  <a:cubicBezTo>
                    <a:pt x="10010" y="132467"/>
                    <a:pt x="1528" y="117560"/>
                    <a:pt x="157" y="101342"/>
                  </a:cubicBezTo>
                  <a:cubicBezTo>
                    <a:pt x="-1497" y="81636"/>
                    <a:pt x="10207" y="70000"/>
                    <a:pt x="20960" y="54846"/>
                  </a:cubicBezTo>
                  <a:cubicBezTo>
                    <a:pt x="33692" y="36900"/>
                    <a:pt x="48163" y="21129"/>
                    <a:pt x="66833" y="8214"/>
                  </a:cubicBezTo>
                  <a:close/>
                </a:path>
              </a:pathLst>
            </a:custGeom>
            <a:solidFill>
              <a:srgbClr val="2F3651"/>
            </a:solidFill>
            <a:ln w="5043" cap="flat">
              <a:solidFill>
                <a:srgbClr val="58586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  <p:sp>
          <p:nvSpPr>
            <p:cNvPr id="5324" name="Freeform 46">
              <a:extLst>
                <a:ext uri="{FF2B5EF4-FFF2-40B4-BE49-F238E27FC236}">
                  <a16:creationId xmlns:a16="http://schemas.microsoft.com/office/drawing/2014/main" id="{40452A72-C3F2-04C2-00F9-4981774F847B}"/>
                </a:ext>
              </a:extLst>
            </p:cNvPr>
            <p:cNvSpPr/>
            <p:nvPr/>
          </p:nvSpPr>
          <p:spPr>
            <a:xfrm>
              <a:off x="5363641" y="4195639"/>
              <a:ext cx="84822" cy="87969"/>
            </a:xfrm>
            <a:custGeom>
              <a:avLst/>
              <a:gdLst>
                <a:gd name="connsiteX0" fmla="*/ 84823 w 84822"/>
                <a:gd name="connsiteY0" fmla="*/ 43985 h 87969"/>
                <a:gd name="connsiteX1" fmla="*/ 42411 w 84822"/>
                <a:gd name="connsiteY1" fmla="*/ 87970 h 87969"/>
                <a:gd name="connsiteX2" fmla="*/ 0 w 84822"/>
                <a:gd name="connsiteY2" fmla="*/ 43985 h 87969"/>
                <a:gd name="connsiteX3" fmla="*/ 42411 w 84822"/>
                <a:gd name="connsiteY3" fmla="*/ 0 h 87969"/>
                <a:gd name="connsiteX4" fmla="*/ 84823 w 84822"/>
                <a:gd name="connsiteY4" fmla="*/ 43985 h 87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22" h="87969">
                  <a:moveTo>
                    <a:pt x="84823" y="43985"/>
                  </a:moveTo>
                  <a:cubicBezTo>
                    <a:pt x="84823" y="68277"/>
                    <a:pt x="65834" y="87970"/>
                    <a:pt x="42411" y="87970"/>
                  </a:cubicBezTo>
                  <a:cubicBezTo>
                    <a:pt x="18988" y="87970"/>
                    <a:pt x="0" y="68277"/>
                    <a:pt x="0" y="43985"/>
                  </a:cubicBezTo>
                  <a:cubicBezTo>
                    <a:pt x="0" y="19693"/>
                    <a:pt x="18988" y="0"/>
                    <a:pt x="42411" y="0"/>
                  </a:cubicBezTo>
                  <a:cubicBezTo>
                    <a:pt x="65834" y="0"/>
                    <a:pt x="84823" y="19693"/>
                    <a:pt x="84823" y="43985"/>
                  </a:cubicBezTo>
                  <a:close/>
                </a:path>
              </a:pathLst>
            </a:custGeom>
            <a:solidFill>
              <a:srgbClr val="E3E7F7">
                <a:alpha val="48000"/>
              </a:srgbClr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  <p:sp>
          <p:nvSpPr>
            <p:cNvPr id="5325" name="Freeform 48">
              <a:extLst>
                <a:ext uri="{FF2B5EF4-FFF2-40B4-BE49-F238E27FC236}">
                  <a16:creationId xmlns:a16="http://schemas.microsoft.com/office/drawing/2014/main" id="{BE238384-B9A0-D2B7-B740-7CA2B75E7B02}"/>
                </a:ext>
              </a:extLst>
            </p:cNvPr>
            <p:cNvSpPr/>
            <p:nvPr/>
          </p:nvSpPr>
          <p:spPr>
            <a:xfrm>
              <a:off x="5437334" y="4167129"/>
              <a:ext cx="49071" cy="76845"/>
            </a:xfrm>
            <a:custGeom>
              <a:avLst/>
              <a:gdLst>
                <a:gd name="connsiteX0" fmla="*/ 37802 w 49071"/>
                <a:gd name="connsiteY0" fmla="*/ 16146 h 76845"/>
                <a:gd name="connsiteX1" fmla="*/ 47723 w 49071"/>
                <a:gd name="connsiteY1" fmla="*/ 23640 h 76845"/>
                <a:gd name="connsiteX2" fmla="*/ 48906 w 49071"/>
                <a:gd name="connsiteY2" fmla="*/ 30653 h 76845"/>
                <a:gd name="connsiteX3" fmla="*/ 44528 w 49071"/>
                <a:gd name="connsiteY3" fmla="*/ 76846 h 76845"/>
                <a:gd name="connsiteX4" fmla="*/ 39901 w 49071"/>
                <a:gd name="connsiteY4" fmla="*/ 39562 h 76845"/>
                <a:gd name="connsiteX5" fmla="*/ 21420 w 49071"/>
                <a:gd name="connsiteY5" fmla="*/ 19137 h 76845"/>
                <a:gd name="connsiteX6" fmla="*/ 0 w 49071"/>
                <a:gd name="connsiteY6" fmla="*/ 0 h 76845"/>
                <a:gd name="connsiteX7" fmla="*/ 37802 w 49071"/>
                <a:gd name="connsiteY7" fmla="*/ 16146 h 76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071" h="76845">
                  <a:moveTo>
                    <a:pt x="37802" y="16146"/>
                  </a:moveTo>
                  <a:cubicBezTo>
                    <a:pt x="41717" y="17898"/>
                    <a:pt x="45924" y="19945"/>
                    <a:pt x="47723" y="23640"/>
                  </a:cubicBezTo>
                  <a:cubicBezTo>
                    <a:pt x="48777" y="25807"/>
                    <a:pt x="48854" y="28270"/>
                    <a:pt x="48906" y="30653"/>
                  </a:cubicBezTo>
                  <a:cubicBezTo>
                    <a:pt x="49249" y="46184"/>
                    <a:pt x="49540" y="62035"/>
                    <a:pt x="44528" y="76846"/>
                  </a:cubicBezTo>
                  <a:cubicBezTo>
                    <a:pt x="40244" y="64922"/>
                    <a:pt x="44528" y="51374"/>
                    <a:pt x="39901" y="39562"/>
                  </a:cubicBezTo>
                  <a:cubicBezTo>
                    <a:pt x="36508" y="30893"/>
                    <a:pt x="28934" y="24735"/>
                    <a:pt x="21420" y="19137"/>
                  </a:cubicBezTo>
                  <a:cubicBezTo>
                    <a:pt x="14831" y="14235"/>
                    <a:pt x="2570" y="7789"/>
                    <a:pt x="0" y="0"/>
                  </a:cubicBezTo>
                  <a:cubicBezTo>
                    <a:pt x="12732" y="2943"/>
                    <a:pt x="25909" y="10804"/>
                    <a:pt x="37802" y="16146"/>
                  </a:cubicBezTo>
                  <a:close/>
                </a:path>
              </a:pathLst>
            </a:custGeom>
            <a:solidFill>
              <a:srgbClr val="FFFFFF"/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35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/>
                <a:cs typeface="Arial"/>
              </a:endParaRPr>
            </a:p>
          </p:txBody>
        </p:sp>
      </p:grpSp>
      <p:pic>
        <p:nvPicPr>
          <p:cNvPr id="5326" name="Graphic 2652">
            <a:extLst>
              <a:ext uri="{FF2B5EF4-FFF2-40B4-BE49-F238E27FC236}">
                <a16:creationId xmlns:a16="http://schemas.microsoft.com/office/drawing/2014/main" id="{82EB3C48-E060-DEF4-DF6D-A4D143F55A0A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4308957">
            <a:off x="4848775" y="1716807"/>
            <a:ext cx="134540" cy="126766"/>
          </a:xfrm>
          <a:prstGeom prst="rect">
            <a:avLst/>
          </a:prstGeom>
        </p:spPr>
      </p:pic>
      <p:pic>
        <p:nvPicPr>
          <p:cNvPr id="5327" name="Graphic 2652">
            <a:extLst>
              <a:ext uri="{FF2B5EF4-FFF2-40B4-BE49-F238E27FC236}">
                <a16:creationId xmlns:a16="http://schemas.microsoft.com/office/drawing/2014/main" id="{3AEE0D4C-CE94-D63E-7CDC-0B8313ACDDAF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562214">
            <a:off x="3694811" y="3162885"/>
            <a:ext cx="134540" cy="126766"/>
          </a:xfrm>
          <a:prstGeom prst="rect">
            <a:avLst/>
          </a:prstGeom>
        </p:spPr>
      </p:pic>
      <p:sp>
        <p:nvSpPr>
          <p:cNvPr id="5328" name="Rectangle 1385">
            <a:extLst>
              <a:ext uri="{FF2B5EF4-FFF2-40B4-BE49-F238E27FC236}">
                <a16:creationId xmlns:a16="http://schemas.microsoft.com/office/drawing/2014/main" id="{752C3494-6101-8F9C-28F5-994AE20851D3}"/>
              </a:ext>
            </a:extLst>
          </p:cNvPr>
          <p:cNvSpPr/>
          <p:nvPr/>
        </p:nvSpPr>
        <p:spPr>
          <a:xfrm>
            <a:off x="7676680" y="3687355"/>
            <a:ext cx="744605" cy="4708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914355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" sz="900">
                <a:solidFill>
                  <a:srgbClr val="2F3651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Glukose-aufnahme in Ziel-Zellen</a:t>
            </a:r>
            <a:r>
              <a:rPr lang="de" sz="900" baseline="30000">
                <a:solidFill>
                  <a:srgbClr val="2F3651"/>
                </a:solidFill>
                <a:uFill>
                  <a:solidFill>
                    <a:prstClr val="black">
                      <a:alpha val="0"/>
                    </a:prstClr>
                  </a:solidFill>
                </a:uFill>
                <a:ea typeface="Arial"/>
                <a:cs typeface="Arial"/>
              </a:rPr>
              <a:t>6</a:t>
            </a:r>
          </a:p>
          <a:p>
            <a:pPr algn="ctr" defTabSz="914355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2F3651"/>
              </a:solidFill>
              <a:ea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5329" name="Arrow: Up 1429">
            <a:extLst>
              <a:ext uri="{FF2B5EF4-FFF2-40B4-BE49-F238E27FC236}">
                <a16:creationId xmlns:a16="http://schemas.microsoft.com/office/drawing/2014/main" id="{2C3A5E99-4977-8D78-A5ED-68CF87D532E9}"/>
              </a:ext>
            </a:extLst>
          </p:cNvPr>
          <p:cNvSpPr/>
          <p:nvPr/>
        </p:nvSpPr>
        <p:spPr>
          <a:xfrm flipV="1">
            <a:off x="8420644" y="3664872"/>
            <a:ext cx="259135" cy="333627"/>
          </a:xfrm>
          <a:prstGeom prst="upArrow">
            <a:avLst/>
          </a:prstGeom>
          <a:solidFill>
            <a:srgbClr val="2F365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Calibri" panose="020F0502020204030204"/>
              <a:cs typeface="Arial"/>
            </a:endParaRPr>
          </a:p>
        </p:txBody>
      </p:sp>
      <p:sp>
        <p:nvSpPr>
          <p:cNvPr id="5330" name="Arrow: Up 1430">
            <a:extLst>
              <a:ext uri="{FF2B5EF4-FFF2-40B4-BE49-F238E27FC236}">
                <a16:creationId xmlns:a16="http://schemas.microsoft.com/office/drawing/2014/main" id="{5A994218-C638-7540-C640-BAA181527DAA}"/>
              </a:ext>
            </a:extLst>
          </p:cNvPr>
          <p:cNvSpPr/>
          <p:nvPr/>
        </p:nvSpPr>
        <p:spPr>
          <a:xfrm flipV="1">
            <a:off x="8413532" y="2596903"/>
            <a:ext cx="259135" cy="333627"/>
          </a:xfrm>
          <a:prstGeom prst="upArrow">
            <a:avLst/>
          </a:prstGeom>
          <a:solidFill>
            <a:srgbClr val="2F365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Calibri" panose="020F0502020204030204"/>
              <a:cs typeface="Arial"/>
            </a:endParaRPr>
          </a:p>
        </p:txBody>
      </p:sp>
      <p:sp>
        <p:nvSpPr>
          <p:cNvPr id="5331" name="Arrow: Up 1433">
            <a:extLst>
              <a:ext uri="{FF2B5EF4-FFF2-40B4-BE49-F238E27FC236}">
                <a16:creationId xmlns:a16="http://schemas.microsoft.com/office/drawing/2014/main" id="{1B3AA98E-2CB8-959E-02D7-08940AB5BA36}"/>
              </a:ext>
            </a:extLst>
          </p:cNvPr>
          <p:cNvSpPr/>
          <p:nvPr/>
        </p:nvSpPr>
        <p:spPr>
          <a:xfrm>
            <a:off x="6667058" y="3676250"/>
            <a:ext cx="259135" cy="333627"/>
          </a:xfrm>
          <a:prstGeom prst="upArrow">
            <a:avLst/>
          </a:prstGeom>
          <a:solidFill>
            <a:srgbClr val="347475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Calibri" panose="020F0502020204030204"/>
              <a:cs typeface="Arial"/>
            </a:endParaRPr>
          </a:p>
        </p:txBody>
      </p:sp>
      <p:cxnSp>
        <p:nvCxnSpPr>
          <p:cNvPr id="5332" name="Straight Arrow Connector 1435">
            <a:extLst>
              <a:ext uri="{FF2B5EF4-FFF2-40B4-BE49-F238E27FC236}">
                <a16:creationId xmlns:a16="http://schemas.microsoft.com/office/drawing/2014/main" id="{8A112CB8-BD2F-28AB-CB6A-A612A1F198D1}"/>
              </a:ext>
            </a:extLst>
          </p:cNvPr>
          <p:cNvCxnSpPr/>
          <p:nvPr/>
        </p:nvCxnSpPr>
        <p:spPr>
          <a:xfrm flipH="1">
            <a:off x="8057746" y="2976423"/>
            <a:ext cx="0" cy="559309"/>
          </a:xfrm>
          <a:prstGeom prst="straightConnector1">
            <a:avLst/>
          </a:prstGeom>
          <a:noFill/>
          <a:ln w="28575" cap="flat" cmpd="sng" algn="ctr">
            <a:solidFill>
              <a:srgbClr val="347475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5333" name="Straight Arrow Connector 1437">
            <a:extLst>
              <a:ext uri="{FF2B5EF4-FFF2-40B4-BE49-F238E27FC236}">
                <a16:creationId xmlns:a16="http://schemas.microsoft.com/office/drawing/2014/main" id="{CACD8817-8C8E-9814-748D-F3D67C39AE35}"/>
              </a:ext>
            </a:extLst>
          </p:cNvPr>
          <p:cNvCxnSpPr/>
          <p:nvPr/>
        </p:nvCxnSpPr>
        <p:spPr>
          <a:xfrm flipH="1">
            <a:off x="7052983" y="3807251"/>
            <a:ext cx="499505" cy="6507"/>
          </a:xfrm>
          <a:prstGeom prst="straightConnector1">
            <a:avLst/>
          </a:prstGeom>
          <a:noFill/>
          <a:ln w="28575" cap="flat" cmpd="sng" algn="ctr">
            <a:solidFill>
              <a:srgbClr val="347475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426512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D970C9C0-0F3B-03A3-2682-1491656D8B9A}"/>
              </a:ext>
            </a:extLst>
          </p:cNvPr>
          <p:cNvSpPr txBox="1"/>
          <p:nvPr/>
        </p:nvSpPr>
        <p:spPr>
          <a:xfrm>
            <a:off x="344802" y="151433"/>
            <a:ext cx="8486775" cy="571663"/>
          </a:xfrm>
          <a:prstGeom prst="rect">
            <a:avLst/>
          </a:prstGeom>
        </p:spPr>
        <p:txBody>
          <a:bodyPr vert="horz" lIns="68580" tIns="34291" rIns="68580" bIns="34291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de" altLang="en-US" sz="2000" dirty="0">
                <a:solidFill>
                  <a:srgbClr val="7030A0"/>
                </a:solidFill>
                <a:latin typeface="+mj-lt"/>
                <a:ea typeface="Verdana" panose="020B0604030504040204" pitchFamily="34" charset="0"/>
                <a:cs typeface="+mn-cs"/>
              </a:rPr>
              <a:t>Betazellen des Pankreas spielen eine wichtige Rolle bei der Regulierung der Blutzuckerwerte</a:t>
            </a:r>
            <a:r>
              <a:rPr lang="de" altLang="en-US" sz="2000" baseline="30000" dirty="0">
                <a:solidFill>
                  <a:srgbClr val="7030A0"/>
                </a:solidFill>
                <a:latin typeface="+mj-lt"/>
                <a:ea typeface="Verdana" panose="020B0604030504040204" pitchFamily="34" charset="0"/>
                <a:cs typeface="+mn-cs"/>
              </a:rPr>
              <a:t>1</a:t>
            </a:r>
            <a:endParaRPr lang="en-US" altLang="en-US" sz="2000" baseline="30000" dirty="0">
              <a:solidFill>
                <a:srgbClr val="7030A0"/>
              </a:solidFill>
              <a:latin typeface="+mj-lt"/>
              <a:ea typeface="Verdana" panose="020B0604030504040204" pitchFamily="34" charset="0"/>
              <a:cs typeface="+mn-cs"/>
            </a:endParaRPr>
          </a:p>
        </p:txBody>
      </p:sp>
      <p:sp>
        <p:nvSpPr>
          <p:cNvPr id="9667" name="Title 32">
            <a:extLst>
              <a:ext uri="{FF2B5EF4-FFF2-40B4-BE49-F238E27FC236}">
                <a16:creationId xmlns:a16="http://schemas.microsoft.com/office/drawing/2014/main" id="{F39E6341-BAB3-571B-4187-D37C05E9AED7}"/>
              </a:ext>
            </a:extLst>
          </p:cNvPr>
          <p:cNvSpPr txBox="1"/>
          <p:nvPr/>
        </p:nvSpPr>
        <p:spPr>
          <a:xfrm>
            <a:off x="419035" y="1065184"/>
            <a:ext cx="2031449" cy="197428"/>
          </a:xfrm>
          <a:prstGeom prst="rect">
            <a:avLst/>
          </a:prstGeom>
        </p:spPr>
        <p:txBody>
          <a:bodyPr vert="horz" lIns="68580" tIns="34291" rIns="68580" bIns="34291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685766" fontAlgn="base">
              <a:spcAft>
                <a:spcPts val="900"/>
              </a:spcAft>
              <a:defRPr/>
            </a:pPr>
            <a:r>
              <a:rPr lang="de" sz="1400">
                <a:solidFill>
                  <a:schemeClr val="accent3"/>
                </a:solidFill>
                <a:latin typeface="+mn-lt"/>
                <a:ea typeface="Arial"/>
                <a:cs typeface="Arial"/>
              </a:rPr>
              <a:t>Normal</a:t>
            </a:r>
          </a:p>
        </p:txBody>
      </p:sp>
      <p:sp>
        <p:nvSpPr>
          <p:cNvPr id="1843" name="Slide Number Placeholder 2">
            <a:extLst>
              <a:ext uri="{FF2B5EF4-FFF2-40B4-BE49-F238E27FC236}">
                <a16:creationId xmlns:a16="http://schemas.microsoft.com/office/drawing/2014/main" id="{CFC2D2C8-DCD1-B34D-AAC1-AD2540A2453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66">
              <a:defRPr/>
            </a:pPr>
            <a:fld id="{4079571C-DD28-D046-9DDE-921CDB09D6DA}" type="slidenum">
              <a:rPr lang="en-US" smtClean="0"/>
              <a:pPr defTabSz="685766">
                <a:defRPr/>
              </a:pPr>
              <a:t>7</a:t>
            </a:fld>
            <a:endParaRPr lang="en-US" sz="600">
              <a:solidFill>
                <a:srgbClr val="2198DD"/>
              </a:solidFill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3BE7F44-1FBA-743C-48B5-3D0337E08EEB}"/>
              </a:ext>
            </a:extLst>
          </p:cNvPr>
          <p:cNvGrpSpPr/>
          <p:nvPr/>
        </p:nvGrpSpPr>
        <p:grpSpPr>
          <a:xfrm>
            <a:off x="472994" y="3839698"/>
            <a:ext cx="1948511" cy="431267"/>
            <a:chOff x="513330" y="4851870"/>
            <a:chExt cx="2598012" cy="575021"/>
          </a:xfrm>
        </p:grpSpPr>
        <p:grpSp>
          <p:nvGrpSpPr>
            <p:cNvPr id="2792" name="Group 2791">
              <a:extLst>
                <a:ext uri="{FF2B5EF4-FFF2-40B4-BE49-F238E27FC236}">
                  <a16:creationId xmlns:a16="http://schemas.microsoft.com/office/drawing/2014/main" id="{DFE40129-16C0-AB4A-97DF-A9E0B3C7ADC4}"/>
                </a:ext>
              </a:extLst>
            </p:cNvPr>
            <p:cNvGrpSpPr/>
            <p:nvPr/>
          </p:nvGrpSpPr>
          <p:grpSpPr>
            <a:xfrm>
              <a:off x="538730" y="4851870"/>
              <a:ext cx="2343183" cy="266739"/>
              <a:chOff x="8186296" y="5570627"/>
              <a:chExt cx="2343183" cy="266739"/>
            </a:xfrm>
          </p:grpSpPr>
          <p:pic>
            <p:nvPicPr>
              <p:cNvPr id="2796" name="Graphic 2795">
                <a:extLst>
                  <a:ext uri="{FF2B5EF4-FFF2-40B4-BE49-F238E27FC236}">
                    <a16:creationId xmlns:a16="http://schemas.microsoft.com/office/drawing/2014/main" id="{A33030E1-FC14-6814-4836-C949E9498D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186296" y="5588163"/>
                <a:ext cx="208356" cy="225431"/>
              </a:xfrm>
              <a:prstGeom prst="rect">
                <a:avLst/>
              </a:prstGeom>
            </p:spPr>
          </p:pic>
          <p:sp>
            <p:nvSpPr>
              <p:cNvPr id="2797" name="TextBox 2796">
                <a:extLst>
                  <a:ext uri="{FF2B5EF4-FFF2-40B4-BE49-F238E27FC236}">
                    <a16:creationId xmlns:a16="http://schemas.microsoft.com/office/drawing/2014/main" id="{A5985C17-159B-E47D-F9B0-23B6CE34E168}"/>
                  </a:ext>
                </a:extLst>
              </p:cNvPr>
              <p:cNvSpPr txBox="1"/>
              <p:nvPr/>
            </p:nvSpPr>
            <p:spPr>
              <a:xfrm>
                <a:off x="8391716" y="5570627"/>
                <a:ext cx="2137763" cy="26673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766">
                  <a:defRPr/>
                </a:pPr>
                <a:r>
                  <a:rPr lang="de" sz="700">
                    <a:solidFill>
                      <a:srgbClr val="404040"/>
                    </a:solidFill>
                    <a:ea typeface="Arial"/>
                    <a:cs typeface="Arial"/>
                  </a:rPr>
                  <a:t>Insulin-produzierende Betazelle</a:t>
                </a:r>
              </a:p>
            </p:txBody>
          </p:sp>
        </p:grpSp>
        <p:grpSp>
          <p:nvGrpSpPr>
            <p:cNvPr id="2793" name="Group 2792">
              <a:extLst>
                <a:ext uri="{FF2B5EF4-FFF2-40B4-BE49-F238E27FC236}">
                  <a16:creationId xmlns:a16="http://schemas.microsoft.com/office/drawing/2014/main" id="{96813C30-DCEE-36DB-C0F2-CB4A7E440CE5}"/>
                </a:ext>
              </a:extLst>
            </p:cNvPr>
            <p:cNvGrpSpPr/>
            <p:nvPr/>
          </p:nvGrpSpPr>
          <p:grpSpPr>
            <a:xfrm>
              <a:off x="513330" y="5160152"/>
              <a:ext cx="2598012" cy="266739"/>
              <a:chOff x="8167652" y="5853509"/>
              <a:chExt cx="2598012" cy="266739"/>
            </a:xfrm>
          </p:grpSpPr>
          <p:sp>
            <p:nvSpPr>
              <p:cNvPr id="2794" name="TextBox 2793">
                <a:extLst>
                  <a:ext uri="{FF2B5EF4-FFF2-40B4-BE49-F238E27FC236}">
                    <a16:creationId xmlns:a16="http://schemas.microsoft.com/office/drawing/2014/main" id="{9196B673-39B9-E90D-7420-968C75698F50}"/>
                  </a:ext>
                </a:extLst>
              </p:cNvPr>
              <p:cNvSpPr txBox="1"/>
              <p:nvPr/>
            </p:nvSpPr>
            <p:spPr>
              <a:xfrm>
                <a:off x="8401344" y="5853509"/>
                <a:ext cx="2364320" cy="26673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766">
                  <a:defRPr/>
                </a:pPr>
                <a:r>
                  <a:rPr lang="de" sz="700">
                    <a:solidFill>
                      <a:srgbClr val="404040"/>
                    </a:solidFill>
                    <a:ea typeface="Arial"/>
                    <a:cs typeface="Arial"/>
                  </a:rPr>
                  <a:t>Glukagon-produzierende Alphazelle</a:t>
                </a:r>
              </a:p>
            </p:txBody>
          </p:sp>
          <p:pic>
            <p:nvPicPr>
              <p:cNvPr id="2795" name="Graphic 2794">
                <a:extLst>
                  <a:ext uri="{FF2B5EF4-FFF2-40B4-BE49-F238E27FC236}">
                    <a16:creationId xmlns:a16="http://schemas.microsoft.com/office/drawing/2014/main" id="{FACFC8F1-AB34-C1E8-DB77-53C6341BB8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8167652" y="5893864"/>
                <a:ext cx="245643" cy="193572"/>
              </a:xfrm>
              <a:prstGeom prst="rect">
                <a:avLst/>
              </a:prstGeom>
            </p:spPr>
          </p:pic>
        </p:grpSp>
      </p:grpSp>
      <p:grpSp>
        <p:nvGrpSpPr>
          <p:cNvPr id="2798" name="Group 2797">
            <a:extLst>
              <a:ext uri="{FF2B5EF4-FFF2-40B4-BE49-F238E27FC236}">
                <a16:creationId xmlns:a16="http://schemas.microsoft.com/office/drawing/2014/main" id="{4EEB1224-5232-C250-BF34-8E9818946275}"/>
              </a:ext>
            </a:extLst>
          </p:cNvPr>
          <p:cNvGrpSpPr/>
          <p:nvPr/>
        </p:nvGrpSpPr>
        <p:grpSpPr>
          <a:xfrm>
            <a:off x="665708" y="2076718"/>
            <a:ext cx="1877607" cy="1042416"/>
            <a:chOff x="630936" y="3081528"/>
            <a:chExt cx="2503476" cy="1389888"/>
          </a:xfrm>
        </p:grpSpPr>
        <p:pic>
          <p:nvPicPr>
            <p:cNvPr id="2799" name="Picture 2798">
              <a:extLst>
                <a:ext uri="{FF2B5EF4-FFF2-40B4-BE49-F238E27FC236}">
                  <a16:creationId xmlns:a16="http://schemas.microsoft.com/office/drawing/2014/main" id="{ABA7B71A-F7EF-AAD4-0141-4A87D038BD6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936" y="3081528"/>
              <a:ext cx="2503476" cy="1389888"/>
            </a:xfrm>
            <a:prstGeom prst="rect">
              <a:avLst/>
            </a:prstGeom>
          </p:spPr>
        </p:pic>
        <p:grpSp>
          <p:nvGrpSpPr>
            <p:cNvPr id="2800" name="Group 2799">
              <a:extLst>
                <a:ext uri="{FF2B5EF4-FFF2-40B4-BE49-F238E27FC236}">
                  <a16:creationId xmlns:a16="http://schemas.microsoft.com/office/drawing/2014/main" id="{599DE829-43EE-8617-59E3-9118B349814A}"/>
                </a:ext>
              </a:extLst>
            </p:cNvPr>
            <p:cNvGrpSpPr/>
            <p:nvPr/>
          </p:nvGrpSpPr>
          <p:grpSpPr>
            <a:xfrm>
              <a:off x="1282815" y="3585161"/>
              <a:ext cx="236778" cy="236778"/>
              <a:chOff x="2898967" y="1781131"/>
              <a:chExt cx="1097280" cy="1097279"/>
            </a:xfrm>
          </p:grpSpPr>
          <p:grpSp>
            <p:nvGrpSpPr>
              <p:cNvPr id="9532" name="Group 9531">
                <a:extLst>
                  <a:ext uri="{FF2B5EF4-FFF2-40B4-BE49-F238E27FC236}">
                    <a16:creationId xmlns:a16="http://schemas.microsoft.com/office/drawing/2014/main" id="{6F1D47EA-7A7F-B7B9-4F45-B9873578A665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9544" name="Group 9543">
                  <a:extLst>
                    <a:ext uri="{FF2B5EF4-FFF2-40B4-BE49-F238E27FC236}">
                      <a16:creationId xmlns:a16="http://schemas.microsoft.com/office/drawing/2014/main" id="{A9EC27F1-00C5-FFF4-0DCC-0683B17A1C84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9560" name="Oval 9559">
                    <a:extLst>
                      <a:ext uri="{FF2B5EF4-FFF2-40B4-BE49-F238E27FC236}">
                        <a16:creationId xmlns:a16="http://schemas.microsoft.com/office/drawing/2014/main" id="{B9B0343D-40B8-877B-5C78-C6BD2BA91CAC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561" name="Group 9560">
                    <a:extLst>
                      <a:ext uri="{FF2B5EF4-FFF2-40B4-BE49-F238E27FC236}">
                        <a16:creationId xmlns:a16="http://schemas.microsoft.com/office/drawing/2014/main" id="{499FBB63-E772-C01E-9D63-CC7282A2F60E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9562" name="Graphic 9561">
                      <a:extLst>
                        <a:ext uri="{FF2B5EF4-FFF2-40B4-BE49-F238E27FC236}">
                          <a16:creationId xmlns:a16="http://schemas.microsoft.com/office/drawing/2014/main" id="{8BDD34A6-9DD3-67ED-5274-B49F6B5FB6C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63" name="Graphic 9562">
                      <a:extLst>
                        <a:ext uri="{FF2B5EF4-FFF2-40B4-BE49-F238E27FC236}">
                          <a16:creationId xmlns:a16="http://schemas.microsoft.com/office/drawing/2014/main" id="{7B31A114-0B63-1A6D-8BD3-028EB09371E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64" name="Graphic 9563">
                      <a:extLst>
                        <a:ext uri="{FF2B5EF4-FFF2-40B4-BE49-F238E27FC236}">
                          <a16:creationId xmlns:a16="http://schemas.microsoft.com/office/drawing/2014/main" id="{91DF0764-4DB9-F86E-F884-A2CEDD666F0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65" name="Graphic 9564">
                      <a:extLst>
                        <a:ext uri="{FF2B5EF4-FFF2-40B4-BE49-F238E27FC236}">
                          <a16:creationId xmlns:a16="http://schemas.microsoft.com/office/drawing/2014/main" id="{C1D28A97-1347-2DEC-C3F2-BA0CADFDCB0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66" name="Graphic 9565">
                      <a:extLst>
                        <a:ext uri="{FF2B5EF4-FFF2-40B4-BE49-F238E27FC236}">
                          <a16:creationId xmlns:a16="http://schemas.microsoft.com/office/drawing/2014/main" id="{F91B3B4F-652E-C398-DECD-D352234AD17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67" name="Graphic 9566">
                      <a:extLst>
                        <a:ext uri="{FF2B5EF4-FFF2-40B4-BE49-F238E27FC236}">
                          <a16:creationId xmlns:a16="http://schemas.microsoft.com/office/drawing/2014/main" id="{45CA618E-9256-D9BD-9EBB-9A6D3FE5E13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68" name="Graphic 9567">
                      <a:extLst>
                        <a:ext uri="{FF2B5EF4-FFF2-40B4-BE49-F238E27FC236}">
                          <a16:creationId xmlns:a16="http://schemas.microsoft.com/office/drawing/2014/main" id="{3BA49E3D-57D7-7073-740C-79EC34A6D86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69" name="Graphic 9568">
                      <a:extLst>
                        <a:ext uri="{FF2B5EF4-FFF2-40B4-BE49-F238E27FC236}">
                          <a16:creationId xmlns:a16="http://schemas.microsoft.com/office/drawing/2014/main" id="{1CECDDDC-B7A8-8245-557A-20C87187D16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70" name="Graphic 9569">
                      <a:extLst>
                        <a:ext uri="{FF2B5EF4-FFF2-40B4-BE49-F238E27FC236}">
                          <a16:creationId xmlns:a16="http://schemas.microsoft.com/office/drawing/2014/main" id="{3CDCD2E0-06C8-58D1-4B46-88588923C66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71" name="Graphic 9570">
                      <a:extLst>
                        <a:ext uri="{FF2B5EF4-FFF2-40B4-BE49-F238E27FC236}">
                          <a16:creationId xmlns:a16="http://schemas.microsoft.com/office/drawing/2014/main" id="{1A260D29-CDE1-E318-AAB9-BE4FDEB1244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72" name="Graphic 9571">
                      <a:extLst>
                        <a:ext uri="{FF2B5EF4-FFF2-40B4-BE49-F238E27FC236}">
                          <a16:creationId xmlns:a16="http://schemas.microsoft.com/office/drawing/2014/main" id="{1A179872-82F0-76CF-83BF-9A39BDC562F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73" name="Graphic 9572">
                      <a:extLst>
                        <a:ext uri="{FF2B5EF4-FFF2-40B4-BE49-F238E27FC236}">
                          <a16:creationId xmlns:a16="http://schemas.microsoft.com/office/drawing/2014/main" id="{B7FAE9E2-665D-B816-C360-54DB1C8E725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74" name="Graphic 9573">
                      <a:extLst>
                        <a:ext uri="{FF2B5EF4-FFF2-40B4-BE49-F238E27FC236}">
                          <a16:creationId xmlns:a16="http://schemas.microsoft.com/office/drawing/2014/main" id="{2016D396-C0C3-68E2-DD62-1CC4EC51084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75" name="Graphic 9574">
                      <a:extLst>
                        <a:ext uri="{FF2B5EF4-FFF2-40B4-BE49-F238E27FC236}">
                          <a16:creationId xmlns:a16="http://schemas.microsoft.com/office/drawing/2014/main" id="{8E80AC12-4818-A979-E336-81AEEE45183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76" name="Graphic 9575">
                      <a:extLst>
                        <a:ext uri="{FF2B5EF4-FFF2-40B4-BE49-F238E27FC236}">
                          <a16:creationId xmlns:a16="http://schemas.microsoft.com/office/drawing/2014/main" id="{6C65C6A5-B2D9-A4D9-DB8C-E739AC18416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77" name="Graphic 9576">
                      <a:extLst>
                        <a:ext uri="{FF2B5EF4-FFF2-40B4-BE49-F238E27FC236}">
                          <a16:creationId xmlns:a16="http://schemas.microsoft.com/office/drawing/2014/main" id="{93F19767-6625-6482-85BC-4B5009D23EE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78" name="Graphic 9577">
                      <a:extLst>
                        <a:ext uri="{FF2B5EF4-FFF2-40B4-BE49-F238E27FC236}">
                          <a16:creationId xmlns:a16="http://schemas.microsoft.com/office/drawing/2014/main" id="{239C519A-50F9-90A2-C26B-FF574EF94E7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79" name="Graphic 9578">
                      <a:extLst>
                        <a:ext uri="{FF2B5EF4-FFF2-40B4-BE49-F238E27FC236}">
                          <a16:creationId xmlns:a16="http://schemas.microsoft.com/office/drawing/2014/main" id="{7224AD4C-70A3-D827-6E7B-84D2B744FF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545" name="Graphic 9544">
                  <a:extLst>
                    <a:ext uri="{FF2B5EF4-FFF2-40B4-BE49-F238E27FC236}">
                      <a16:creationId xmlns:a16="http://schemas.microsoft.com/office/drawing/2014/main" id="{5561FE2C-CDCB-BEE1-D6A8-8F6B2E84B7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546" name="Graphic 9545">
                  <a:extLst>
                    <a:ext uri="{FF2B5EF4-FFF2-40B4-BE49-F238E27FC236}">
                      <a16:creationId xmlns:a16="http://schemas.microsoft.com/office/drawing/2014/main" id="{04F4A929-CAF4-E53D-4FE7-A4C22048200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547" name="Graphic 9546">
                  <a:extLst>
                    <a:ext uri="{FF2B5EF4-FFF2-40B4-BE49-F238E27FC236}">
                      <a16:creationId xmlns:a16="http://schemas.microsoft.com/office/drawing/2014/main" id="{8D1B04C9-8A50-EAEB-7907-FD799DA485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548" name="Graphic 9547">
                  <a:extLst>
                    <a:ext uri="{FF2B5EF4-FFF2-40B4-BE49-F238E27FC236}">
                      <a16:creationId xmlns:a16="http://schemas.microsoft.com/office/drawing/2014/main" id="{A91C743A-82BA-682F-873D-9381C61949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49" name="Graphic 9548">
                  <a:extLst>
                    <a:ext uri="{FF2B5EF4-FFF2-40B4-BE49-F238E27FC236}">
                      <a16:creationId xmlns:a16="http://schemas.microsoft.com/office/drawing/2014/main" id="{5E0B7404-061C-3C23-245A-1DECE8FC129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50" name="Graphic 9549">
                  <a:extLst>
                    <a:ext uri="{FF2B5EF4-FFF2-40B4-BE49-F238E27FC236}">
                      <a16:creationId xmlns:a16="http://schemas.microsoft.com/office/drawing/2014/main" id="{5B758ABC-4139-2CFD-93A1-9BC237E7B16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551" name="Graphic 9550">
                  <a:extLst>
                    <a:ext uri="{FF2B5EF4-FFF2-40B4-BE49-F238E27FC236}">
                      <a16:creationId xmlns:a16="http://schemas.microsoft.com/office/drawing/2014/main" id="{196B22AB-C62C-2790-E308-9AFB270EF8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52" name="Graphic 9551">
                  <a:extLst>
                    <a:ext uri="{FF2B5EF4-FFF2-40B4-BE49-F238E27FC236}">
                      <a16:creationId xmlns:a16="http://schemas.microsoft.com/office/drawing/2014/main" id="{E1F0162C-BE7F-B4AF-EF47-9B8E89E433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53" name="Graphic 9552">
                  <a:extLst>
                    <a:ext uri="{FF2B5EF4-FFF2-40B4-BE49-F238E27FC236}">
                      <a16:creationId xmlns:a16="http://schemas.microsoft.com/office/drawing/2014/main" id="{A88957F4-9635-335E-671B-6D9B975844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9554" name="Graphic 9553">
                  <a:extLst>
                    <a:ext uri="{FF2B5EF4-FFF2-40B4-BE49-F238E27FC236}">
                      <a16:creationId xmlns:a16="http://schemas.microsoft.com/office/drawing/2014/main" id="{AD3E02DD-375E-9F12-205C-C53A1E89C25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55" name="Graphic 9554">
                  <a:extLst>
                    <a:ext uri="{FF2B5EF4-FFF2-40B4-BE49-F238E27FC236}">
                      <a16:creationId xmlns:a16="http://schemas.microsoft.com/office/drawing/2014/main" id="{1D990FEE-AE0C-C2D5-74EE-965262EFE5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56" name="Graphic 9555">
                  <a:extLst>
                    <a:ext uri="{FF2B5EF4-FFF2-40B4-BE49-F238E27FC236}">
                      <a16:creationId xmlns:a16="http://schemas.microsoft.com/office/drawing/2014/main" id="{95104C31-BC1F-CC5E-081E-4101EA77E8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557" name="Graphic 9556">
                  <a:extLst>
                    <a:ext uri="{FF2B5EF4-FFF2-40B4-BE49-F238E27FC236}">
                      <a16:creationId xmlns:a16="http://schemas.microsoft.com/office/drawing/2014/main" id="{B83DBFD2-B77B-AD55-DB4F-BDFD14439E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58" name="Graphic 9557">
                  <a:extLst>
                    <a:ext uri="{FF2B5EF4-FFF2-40B4-BE49-F238E27FC236}">
                      <a16:creationId xmlns:a16="http://schemas.microsoft.com/office/drawing/2014/main" id="{046C2C9F-EABB-AD0D-74DA-58287C5CA7C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59" name="Graphic 9558">
                  <a:extLst>
                    <a:ext uri="{FF2B5EF4-FFF2-40B4-BE49-F238E27FC236}">
                      <a16:creationId xmlns:a16="http://schemas.microsoft.com/office/drawing/2014/main" id="{87004FDA-1A9F-69D9-5768-548F2FBB7B0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9533" name="Graphic 9532">
                <a:extLst>
                  <a:ext uri="{FF2B5EF4-FFF2-40B4-BE49-F238E27FC236}">
                    <a16:creationId xmlns:a16="http://schemas.microsoft.com/office/drawing/2014/main" id="{B84AB976-788D-D526-9159-0803B99F1E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34" name="Graphic 9533">
                <a:extLst>
                  <a:ext uri="{FF2B5EF4-FFF2-40B4-BE49-F238E27FC236}">
                    <a16:creationId xmlns:a16="http://schemas.microsoft.com/office/drawing/2014/main" id="{9FE0C7FF-06CA-0620-1CF3-5437F5CF2E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35" name="Graphic 9534">
                <a:extLst>
                  <a:ext uri="{FF2B5EF4-FFF2-40B4-BE49-F238E27FC236}">
                    <a16:creationId xmlns:a16="http://schemas.microsoft.com/office/drawing/2014/main" id="{49B4E00C-7614-AF08-4A40-A62FB6C722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9536" name="Graphic 9535">
                <a:extLst>
                  <a:ext uri="{FF2B5EF4-FFF2-40B4-BE49-F238E27FC236}">
                    <a16:creationId xmlns:a16="http://schemas.microsoft.com/office/drawing/2014/main" id="{ACE52590-EA2C-B50A-F01F-BAB457BFAC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9537" name="Graphic 9536">
                <a:extLst>
                  <a:ext uri="{FF2B5EF4-FFF2-40B4-BE49-F238E27FC236}">
                    <a16:creationId xmlns:a16="http://schemas.microsoft.com/office/drawing/2014/main" id="{1AD692CE-BCF9-99D6-238C-3550BEA6BE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38" name="Graphic 9537">
                <a:extLst>
                  <a:ext uri="{FF2B5EF4-FFF2-40B4-BE49-F238E27FC236}">
                    <a16:creationId xmlns:a16="http://schemas.microsoft.com/office/drawing/2014/main" id="{EE1F6A79-6095-B931-EDAE-995E7D543C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39" name="Graphic 9538">
                <a:extLst>
                  <a:ext uri="{FF2B5EF4-FFF2-40B4-BE49-F238E27FC236}">
                    <a16:creationId xmlns:a16="http://schemas.microsoft.com/office/drawing/2014/main" id="{0CF44222-AF8D-41B3-12F1-8C6D65F71E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40" name="Graphic 9539">
                <a:extLst>
                  <a:ext uri="{FF2B5EF4-FFF2-40B4-BE49-F238E27FC236}">
                    <a16:creationId xmlns:a16="http://schemas.microsoft.com/office/drawing/2014/main" id="{89CE1F81-0252-CE45-ED09-567636A12C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9541" name="Graphic 9540">
                <a:extLst>
                  <a:ext uri="{FF2B5EF4-FFF2-40B4-BE49-F238E27FC236}">
                    <a16:creationId xmlns:a16="http://schemas.microsoft.com/office/drawing/2014/main" id="{57088A77-D63A-689B-0C1F-0279D92B34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9542" name="Graphic 9541">
                <a:extLst>
                  <a:ext uri="{FF2B5EF4-FFF2-40B4-BE49-F238E27FC236}">
                    <a16:creationId xmlns:a16="http://schemas.microsoft.com/office/drawing/2014/main" id="{A0CDF97C-8388-BD8F-657A-55A2258080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43" name="Graphic 9542">
                <a:extLst>
                  <a:ext uri="{FF2B5EF4-FFF2-40B4-BE49-F238E27FC236}">
                    <a16:creationId xmlns:a16="http://schemas.microsoft.com/office/drawing/2014/main" id="{F59D2921-B985-9D91-2860-25405F0042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2801" name="Group 2800">
              <a:extLst>
                <a:ext uri="{FF2B5EF4-FFF2-40B4-BE49-F238E27FC236}">
                  <a16:creationId xmlns:a16="http://schemas.microsoft.com/office/drawing/2014/main" id="{550E1FED-AD1C-2ACF-3CE7-35C3A7E546D8}"/>
                </a:ext>
              </a:extLst>
            </p:cNvPr>
            <p:cNvGrpSpPr/>
            <p:nvPr/>
          </p:nvGrpSpPr>
          <p:grpSpPr>
            <a:xfrm>
              <a:off x="1352161" y="3294242"/>
              <a:ext cx="202093" cy="202093"/>
              <a:chOff x="2898967" y="1781131"/>
              <a:chExt cx="1097280" cy="1097279"/>
            </a:xfrm>
          </p:grpSpPr>
          <p:grpSp>
            <p:nvGrpSpPr>
              <p:cNvPr id="9484" name="Group 9483">
                <a:extLst>
                  <a:ext uri="{FF2B5EF4-FFF2-40B4-BE49-F238E27FC236}">
                    <a16:creationId xmlns:a16="http://schemas.microsoft.com/office/drawing/2014/main" id="{1759C11A-007E-5998-3696-93780DE9F5B7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9496" name="Group 9495">
                  <a:extLst>
                    <a:ext uri="{FF2B5EF4-FFF2-40B4-BE49-F238E27FC236}">
                      <a16:creationId xmlns:a16="http://schemas.microsoft.com/office/drawing/2014/main" id="{07415485-D776-8854-458B-EFABE0DC77E4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9512" name="Oval 9511">
                    <a:extLst>
                      <a:ext uri="{FF2B5EF4-FFF2-40B4-BE49-F238E27FC236}">
                        <a16:creationId xmlns:a16="http://schemas.microsoft.com/office/drawing/2014/main" id="{9A6FD853-E88A-D327-7299-1EEF3F465C75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513" name="Group 9512">
                    <a:extLst>
                      <a:ext uri="{FF2B5EF4-FFF2-40B4-BE49-F238E27FC236}">
                        <a16:creationId xmlns:a16="http://schemas.microsoft.com/office/drawing/2014/main" id="{120EA4C8-1188-055F-9609-8F49B184B13F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9514" name="Graphic 9513">
                      <a:extLst>
                        <a:ext uri="{FF2B5EF4-FFF2-40B4-BE49-F238E27FC236}">
                          <a16:creationId xmlns:a16="http://schemas.microsoft.com/office/drawing/2014/main" id="{0094B9A7-ACC1-5100-D3CA-E3C87EA75C3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15" name="Graphic 9514">
                      <a:extLst>
                        <a:ext uri="{FF2B5EF4-FFF2-40B4-BE49-F238E27FC236}">
                          <a16:creationId xmlns:a16="http://schemas.microsoft.com/office/drawing/2014/main" id="{DE2B9177-AA61-091C-211E-4F1FF648D00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16" name="Graphic 9515">
                      <a:extLst>
                        <a:ext uri="{FF2B5EF4-FFF2-40B4-BE49-F238E27FC236}">
                          <a16:creationId xmlns:a16="http://schemas.microsoft.com/office/drawing/2014/main" id="{38DD36FC-929D-63DD-7D72-A34BE170FAD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17" name="Graphic 9516">
                      <a:extLst>
                        <a:ext uri="{FF2B5EF4-FFF2-40B4-BE49-F238E27FC236}">
                          <a16:creationId xmlns:a16="http://schemas.microsoft.com/office/drawing/2014/main" id="{40447D4D-FD5B-A5AE-98ED-064BC01C29E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18" name="Graphic 9517">
                      <a:extLst>
                        <a:ext uri="{FF2B5EF4-FFF2-40B4-BE49-F238E27FC236}">
                          <a16:creationId xmlns:a16="http://schemas.microsoft.com/office/drawing/2014/main" id="{C98F8D7A-9491-FB86-AB29-FBA60174BD7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19" name="Graphic 9518">
                      <a:extLst>
                        <a:ext uri="{FF2B5EF4-FFF2-40B4-BE49-F238E27FC236}">
                          <a16:creationId xmlns:a16="http://schemas.microsoft.com/office/drawing/2014/main" id="{639AD0EA-3E47-06AE-AF80-644FE0FC7A9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20" name="Graphic 9519">
                      <a:extLst>
                        <a:ext uri="{FF2B5EF4-FFF2-40B4-BE49-F238E27FC236}">
                          <a16:creationId xmlns:a16="http://schemas.microsoft.com/office/drawing/2014/main" id="{48C7A0F5-A605-1B67-3D59-A4509A091E4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21" name="Graphic 9520">
                      <a:extLst>
                        <a:ext uri="{FF2B5EF4-FFF2-40B4-BE49-F238E27FC236}">
                          <a16:creationId xmlns:a16="http://schemas.microsoft.com/office/drawing/2014/main" id="{EC31364C-FB15-322B-8AB4-0577A9EFF8E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22" name="Graphic 9521">
                      <a:extLst>
                        <a:ext uri="{FF2B5EF4-FFF2-40B4-BE49-F238E27FC236}">
                          <a16:creationId xmlns:a16="http://schemas.microsoft.com/office/drawing/2014/main" id="{5EC77C28-E06E-6A22-E2FE-24A1E23B211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23" name="Graphic 9522">
                      <a:extLst>
                        <a:ext uri="{FF2B5EF4-FFF2-40B4-BE49-F238E27FC236}">
                          <a16:creationId xmlns:a16="http://schemas.microsoft.com/office/drawing/2014/main" id="{DF7C989D-4731-CD80-4AC4-E97DD8F5AFD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24" name="Graphic 9523">
                      <a:extLst>
                        <a:ext uri="{FF2B5EF4-FFF2-40B4-BE49-F238E27FC236}">
                          <a16:creationId xmlns:a16="http://schemas.microsoft.com/office/drawing/2014/main" id="{DD84C1D2-DE5E-C681-B244-FE09899ABA6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25" name="Graphic 9524">
                      <a:extLst>
                        <a:ext uri="{FF2B5EF4-FFF2-40B4-BE49-F238E27FC236}">
                          <a16:creationId xmlns:a16="http://schemas.microsoft.com/office/drawing/2014/main" id="{91CCDA1F-E9EA-2A8C-26E0-3EFF9602112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26" name="Graphic 9525">
                      <a:extLst>
                        <a:ext uri="{FF2B5EF4-FFF2-40B4-BE49-F238E27FC236}">
                          <a16:creationId xmlns:a16="http://schemas.microsoft.com/office/drawing/2014/main" id="{905180EC-B348-E7F8-12D1-26242EAA797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27" name="Graphic 9526">
                      <a:extLst>
                        <a:ext uri="{FF2B5EF4-FFF2-40B4-BE49-F238E27FC236}">
                          <a16:creationId xmlns:a16="http://schemas.microsoft.com/office/drawing/2014/main" id="{14DA99B5-B1D1-651D-14E8-0BB8CC2B495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28" name="Graphic 9527">
                      <a:extLst>
                        <a:ext uri="{FF2B5EF4-FFF2-40B4-BE49-F238E27FC236}">
                          <a16:creationId xmlns:a16="http://schemas.microsoft.com/office/drawing/2014/main" id="{037F390E-7D6C-370D-A99B-06FAEA23CFC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29" name="Graphic 9528">
                      <a:extLst>
                        <a:ext uri="{FF2B5EF4-FFF2-40B4-BE49-F238E27FC236}">
                          <a16:creationId xmlns:a16="http://schemas.microsoft.com/office/drawing/2014/main" id="{05799862-7A1B-50C0-D79C-C6990E9E491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30" name="Graphic 9529">
                      <a:extLst>
                        <a:ext uri="{FF2B5EF4-FFF2-40B4-BE49-F238E27FC236}">
                          <a16:creationId xmlns:a16="http://schemas.microsoft.com/office/drawing/2014/main" id="{AA32AA6D-D8F4-78A8-76E9-2C1C0D66C67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31" name="Graphic 9530">
                      <a:extLst>
                        <a:ext uri="{FF2B5EF4-FFF2-40B4-BE49-F238E27FC236}">
                          <a16:creationId xmlns:a16="http://schemas.microsoft.com/office/drawing/2014/main" id="{E54093DB-2E4E-C91A-B8BE-2A17D365ACF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497" name="Graphic 9496">
                  <a:extLst>
                    <a:ext uri="{FF2B5EF4-FFF2-40B4-BE49-F238E27FC236}">
                      <a16:creationId xmlns:a16="http://schemas.microsoft.com/office/drawing/2014/main" id="{B7BA62E9-6BCB-EDF6-0F2A-A35EA2F678C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98" name="Graphic 9497">
                  <a:extLst>
                    <a:ext uri="{FF2B5EF4-FFF2-40B4-BE49-F238E27FC236}">
                      <a16:creationId xmlns:a16="http://schemas.microsoft.com/office/drawing/2014/main" id="{0AEE6D9B-6A21-27AA-9D68-4FB6798E45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99" name="Graphic 9498">
                  <a:extLst>
                    <a:ext uri="{FF2B5EF4-FFF2-40B4-BE49-F238E27FC236}">
                      <a16:creationId xmlns:a16="http://schemas.microsoft.com/office/drawing/2014/main" id="{80BBA250-B96C-C769-2605-D09EFE3B0F7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500" name="Graphic 9499">
                  <a:extLst>
                    <a:ext uri="{FF2B5EF4-FFF2-40B4-BE49-F238E27FC236}">
                      <a16:creationId xmlns:a16="http://schemas.microsoft.com/office/drawing/2014/main" id="{46BB31BC-CDE7-9307-984F-367BD225E31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01" name="Graphic 9500">
                  <a:extLst>
                    <a:ext uri="{FF2B5EF4-FFF2-40B4-BE49-F238E27FC236}">
                      <a16:creationId xmlns:a16="http://schemas.microsoft.com/office/drawing/2014/main" id="{71CB2D60-A008-7B4F-41A0-C0937087E70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02" name="Graphic 9501">
                  <a:extLst>
                    <a:ext uri="{FF2B5EF4-FFF2-40B4-BE49-F238E27FC236}">
                      <a16:creationId xmlns:a16="http://schemas.microsoft.com/office/drawing/2014/main" id="{23116C95-96D0-3FDD-61A0-72969DDC2DE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503" name="Graphic 9502">
                  <a:extLst>
                    <a:ext uri="{FF2B5EF4-FFF2-40B4-BE49-F238E27FC236}">
                      <a16:creationId xmlns:a16="http://schemas.microsoft.com/office/drawing/2014/main" id="{2A2D52F5-D26C-521D-593D-DA0E68AAA15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04" name="Graphic 9503">
                  <a:extLst>
                    <a:ext uri="{FF2B5EF4-FFF2-40B4-BE49-F238E27FC236}">
                      <a16:creationId xmlns:a16="http://schemas.microsoft.com/office/drawing/2014/main" id="{E1766CB7-8874-18E0-E52E-51F5BE25CF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05" name="Graphic 9504">
                  <a:extLst>
                    <a:ext uri="{FF2B5EF4-FFF2-40B4-BE49-F238E27FC236}">
                      <a16:creationId xmlns:a16="http://schemas.microsoft.com/office/drawing/2014/main" id="{7BBD7E43-8E65-94B0-73D9-47F48C74CC1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9506" name="Graphic 9505">
                  <a:extLst>
                    <a:ext uri="{FF2B5EF4-FFF2-40B4-BE49-F238E27FC236}">
                      <a16:creationId xmlns:a16="http://schemas.microsoft.com/office/drawing/2014/main" id="{04731019-C4BB-DF3B-AD57-3BF53519AD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07" name="Graphic 9506">
                  <a:extLst>
                    <a:ext uri="{FF2B5EF4-FFF2-40B4-BE49-F238E27FC236}">
                      <a16:creationId xmlns:a16="http://schemas.microsoft.com/office/drawing/2014/main" id="{8566BFD7-FDF3-9403-31CA-75B58C93AC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08" name="Graphic 9507">
                  <a:extLst>
                    <a:ext uri="{FF2B5EF4-FFF2-40B4-BE49-F238E27FC236}">
                      <a16:creationId xmlns:a16="http://schemas.microsoft.com/office/drawing/2014/main" id="{386822B1-77FB-E47C-7C9A-43E8B113FD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509" name="Graphic 9508">
                  <a:extLst>
                    <a:ext uri="{FF2B5EF4-FFF2-40B4-BE49-F238E27FC236}">
                      <a16:creationId xmlns:a16="http://schemas.microsoft.com/office/drawing/2014/main" id="{E0D6FAE2-4E95-BB4F-C2A2-9D234F83DE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10" name="Graphic 9509">
                  <a:extLst>
                    <a:ext uri="{FF2B5EF4-FFF2-40B4-BE49-F238E27FC236}">
                      <a16:creationId xmlns:a16="http://schemas.microsoft.com/office/drawing/2014/main" id="{DB98BB3C-213B-2A34-01E1-9491E72854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11" name="Graphic 9510">
                  <a:extLst>
                    <a:ext uri="{FF2B5EF4-FFF2-40B4-BE49-F238E27FC236}">
                      <a16:creationId xmlns:a16="http://schemas.microsoft.com/office/drawing/2014/main" id="{54C950F5-DBA6-620F-DB1B-9DF1204EB48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9485" name="Graphic 9484">
                <a:extLst>
                  <a:ext uri="{FF2B5EF4-FFF2-40B4-BE49-F238E27FC236}">
                    <a16:creationId xmlns:a16="http://schemas.microsoft.com/office/drawing/2014/main" id="{ADECECFC-A8F6-A01D-B26B-6D0E736002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486" name="Graphic 9485">
                <a:extLst>
                  <a:ext uri="{FF2B5EF4-FFF2-40B4-BE49-F238E27FC236}">
                    <a16:creationId xmlns:a16="http://schemas.microsoft.com/office/drawing/2014/main" id="{21316894-DE2E-B2CF-BE3B-FA2E8991F2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487" name="Graphic 9486">
                <a:extLst>
                  <a:ext uri="{FF2B5EF4-FFF2-40B4-BE49-F238E27FC236}">
                    <a16:creationId xmlns:a16="http://schemas.microsoft.com/office/drawing/2014/main" id="{DBDE1643-9757-3042-4E16-05AB4AC898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9488" name="Graphic 9487">
                <a:extLst>
                  <a:ext uri="{FF2B5EF4-FFF2-40B4-BE49-F238E27FC236}">
                    <a16:creationId xmlns:a16="http://schemas.microsoft.com/office/drawing/2014/main" id="{A015221F-6DAF-9FA4-66D6-3D6A18B642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9489" name="Graphic 9488">
                <a:extLst>
                  <a:ext uri="{FF2B5EF4-FFF2-40B4-BE49-F238E27FC236}">
                    <a16:creationId xmlns:a16="http://schemas.microsoft.com/office/drawing/2014/main" id="{D0589E78-C59A-28E8-45F4-4EEB0598EB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490" name="Graphic 9489">
                <a:extLst>
                  <a:ext uri="{FF2B5EF4-FFF2-40B4-BE49-F238E27FC236}">
                    <a16:creationId xmlns:a16="http://schemas.microsoft.com/office/drawing/2014/main" id="{232657A5-C9E6-DE4F-268E-4012F59F71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491" name="Graphic 9490">
                <a:extLst>
                  <a:ext uri="{FF2B5EF4-FFF2-40B4-BE49-F238E27FC236}">
                    <a16:creationId xmlns:a16="http://schemas.microsoft.com/office/drawing/2014/main" id="{219D1712-9FEC-4995-ADD2-315737A19A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492" name="Graphic 9491">
                <a:extLst>
                  <a:ext uri="{FF2B5EF4-FFF2-40B4-BE49-F238E27FC236}">
                    <a16:creationId xmlns:a16="http://schemas.microsoft.com/office/drawing/2014/main" id="{179D1840-E3D5-D9B7-14DC-27C9F6C393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9493" name="Graphic 9492">
                <a:extLst>
                  <a:ext uri="{FF2B5EF4-FFF2-40B4-BE49-F238E27FC236}">
                    <a16:creationId xmlns:a16="http://schemas.microsoft.com/office/drawing/2014/main" id="{04EA98B7-10D1-96B6-D832-C3A9AE98EB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9494" name="Graphic 9493">
                <a:extLst>
                  <a:ext uri="{FF2B5EF4-FFF2-40B4-BE49-F238E27FC236}">
                    <a16:creationId xmlns:a16="http://schemas.microsoft.com/office/drawing/2014/main" id="{9B0182A8-C682-D91E-ED9E-9397A35CD7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495" name="Graphic 9494">
                <a:extLst>
                  <a:ext uri="{FF2B5EF4-FFF2-40B4-BE49-F238E27FC236}">
                    <a16:creationId xmlns:a16="http://schemas.microsoft.com/office/drawing/2014/main" id="{D936BFFC-6FB1-A50B-6554-0F60110676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2802" name="Group 2801">
              <a:extLst>
                <a:ext uri="{FF2B5EF4-FFF2-40B4-BE49-F238E27FC236}">
                  <a16:creationId xmlns:a16="http://schemas.microsoft.com/office/drawing/2014/main" id="{D62CC6F7-BB60-812F-EDDC-B1BA66D34F45}"/>
                </a:ext>
              </a:extLst>
            </p:cNvPr>
            <p:cNvGrpSpPr/>
            <p:nvPr/>
          </p:nvGrpSpPr>
          <p:grpSpPr>
            <a:xfrm>
              <a:off x="1902598" y="3370027"/>
              <a:ext cx="178020" cy="178020"/>
              <a:chOff x="2898967" y="1781131"/>
              <a:chExt cx="1097280" cy="1097279"/>
            </a:xfrm>
          </p:grpSpPr>
          <p:grpSp>
            <p:nvGrpSpPr>
              <p:cNvPr id="9436" name="Group 9435">
                <a:extLst>
                  <a:ext uri="{FF2B5EF4-FFF2-40B4-BE49-F238E27FC236}">
                    <a16:creationId xmlns:a16="http://schemas.microsoft.com/office/drawing/2014/main" id="{EFBEA61F-7B71-A7AB-B34A-901BDA6AF279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9448" name="Group 9447">
                  <a:extLst>
                    <a:ext uri="{FF2B5EF4-FFF2-40B4-BE49-F238E27FC236}">
                      <a16:creationId xmlns:a16="http://schemas.microsoft.com/office/drawing/2014/main" id="{E5610389-A21E-D695-2FDF-1942D5FFB2DC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9464" name="Oval 9463">
                    <a:extLst>
                      <a:ext uri="{FF2B5EF4-FFF2-40B4-BE49-F238E27FC236}">
                        <a16:creationId xmlns:a16="http://schemas.microsoft.com/office/drawing/2014/main" id="{036AFA0F-4298-D78B-820B-BE8B717E890B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465" name="Group 9464">
                    <a:extLst>
                      <a:ext uri="{FF2B5EF4-FFF2-40B4-BE49-F238E27FC236}">
                        <a16:creationId xmlns:a16="http://schemas.microsoft.com/office/drawing/2014/main" id="{A117BE47-500A-5638-8C60-2E7BF630FEB6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9466" name="Graphic 9465">
                      <a:extLst>
                        <a:ext uri="{FF2B5EF4-FFF2-40B4-BE49-F238E27FC236}">
                          <a16:creationId xmlns:a16="http://schemas.microsoft.com/office/drawing/2014/main" id="{9809719F-BEAD-10F1-B247-E1DF6BE67CB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67" name="Graphic 9466">
                      <a:extLst>
                        <a:ext uri="{FF2B5EF4-FFF2-40B4-BE49-F238E27FC236}">
                          <a16:creationId xmlns:a16="http://schemas.microsoft.com/office/drawing/2014/main" id="{F4F8D094-C051-3434-E983-675F2DC362B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68" name="Graphic 9467">
                      <a:extLst>
                        <a:ext uri="{FF2B5EF4-FFF2-40B4-BE49-F238E27FC236}">
                          <a16:creationId xmlns:a16="http://schemas.microsoft.com/office/drawing/2014/main" id="{2C435E15-7A14-4C40-F5B0-DB07D63415F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69" name="Graphic 9468">
                      <a:extLst>
                        <a:ext uri="{FF2B5EF4-FFF2-40B4-BE49-F238E27FC236}">
                          <a16:creationId xmlns:a16="http://schemas.microsoft.com/office/drawing/2014/main" id="{83C1C4FD-92F8-A5B3-233B-B707EF3CF21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70" name="Graphic 9469">
                      <a:extLst>
                        <a:ext uri="{FF2B5EF4-FFF2-40B4-BE49-F238E27FC236}">
                          <a16:creationId xmlns:a16="http://schemas.microsoft.com/office/drawing/2014/main" id="{CD863F2D-D59F-4165-A818-48F8083F128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71" name="Graphic 9470">
                      <a:extLst>
                        <a:ext uri="{FF2B5EF4-FFF2-40B4-BE49-F238E27FC236}">
                          <a16:creationId xmlns:a16="http://schemas.microsoft.com/office/drawing/2014/main" id="{D3BB37C2-BB7B-A0E1-38DF-C2EF5B7B208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72" name="Graphic 9471">
                      <a:extLst>
                        <a:ext uri="{FF2B5EF4-FFF2-40B4-BE49-F238E27FC236}">
                          <a16:creationId xmlns:a16="http://schemas.microsoft.com/office/drawing/2014/main" id="{3936CF4A-69B3-5C7C-17FB-DCA4664C702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73" name="Graphic 9472">
                      <a:extLst>
                        <a:ext uri="{FF2B5EF4-FFF2-40B4-BE49-F238E27FC236}">
                          <a16:creationId xmlns:a16="http://schemas.microsoft.com/office/drawing/2014/main" id="{6F2BF627-F7DA-0E99-5DA7-4672C3371CA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74" name="Graphic 9473">
                      <a:extLst>
                        <a:ext uri="{FF2B5EF4-FFF2-40B4-BE49-F238E27FC236}">
                          <a16:creationId xmlns:a16="http://schemas.microsoft.com/office/drawing/2014/main" id="{DDFD1859-7D3A-C229-CD3D-0A3512F9952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75" name="Graphic 9474">
                      <a:extLst>
                        <a:ext uri="{FF2B5EF4-FFF2-40B4-BE49-F238E27FC236}">
                          <a16:creationId xmlns:a16="http://schemas.microsoft.com/office/drawing/2014/main" id="{C740DFAD-DB1C-AC6B-F525-7702DA02724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76" name="Graphic 9475">
                      <a:extLst>
                        <a:ext uri="{FF2B5EF4-FFF2-40B4-BE49-F238E27FC236}">
                          <a16:creationId xmlns:a16="http://schemas.microsoft.com/office/drawing/2014/main" id="{7DB2E9CC-F0E0-EC40-BEFF-842D3EC98CD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77" name="Graphic 9476">
                      <a:extLst>
                        <a:ext uri="{FF2B5EF4-FFF2-40B4-BE49-F238E27FC236}">
                          <a16:creationId xmlns:a16="http://schemas.microsoft.com/office/drawing/2014/main" id="{E496BB2B-3AB7-88EE-CDCC-CA504998A80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78" name="Graphic 9477">
                      <a:extLst>
                        <a:ext uri="{FF2B5EF4-FFF2-40B4-BE49-F238E27FC236}">
                          <a16:creationId xmlns:a16="http://schemas.microsoft.com/office/drawing/2014/main" id="{A8DCFBF7-18F4-7775-CFEF-BC3E16C4056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79" name="Graphic 9478">
                      <a:extLst>
                        <a:ext uri="{FF2B5EF4-FFF2-40B4-BE49-F238E27FC236}">
                          <a16:creationId xmlns:a16="http://schemas.microsoft.com/office/drawing/2014/main" id="{105D2C3A-267B-DD72-7E54-B2BFDA7ED59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80" name="Graphic 9479">
                      <a:extLst>
                        <a:ext uri="{FF2B5EF4-FFF2-40B4-BE49-F238E27FC236}">
                          <a16:creationId xmlns:a16="http://schemas.microsoft.com/office/drawing/2014/main" id="{BE9C2C6B-0120-DA8D-6135-F3CFC8C639A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81" name="Graphic 9480">
                      <a:extLst>
                        <a:ext uri="{FF2B5EF4-FFF2-40B4-BE49-F238E27FC236}">
                          <a16:creationId xmlns:a16="http://schemas.microsoft.com/office/drawing/2014/main" id="{9FF9C18C-CA07-8F4B-57EE-5EA9651D603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82" name="Graphic 9481">
                      <a:extLst>
                        <a:ext uri="{FF2B5EF4-FFF2-40B4-BE49-F238E27FC236}">
                          <a16:creationId xmlns:a16="http://schemas.microsoft.com/office/drawing/2014/main" id="{153D5C22-2276-05B1-998A-2D3C1CFCEB3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83" name="Graphic 9482">
                      <a:extLst>
                        <a:ext uri="{FF2B5EF4-FFF2-40B4-BE49-F238E27FC236}">
                          <a16:creationId xmlns:a16="http://schemas.microsoft.com/office/drawing/2014/main" id="{FD9D1ECA-B7EE-BE0B-1096-37975EAD86B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449" name="Graphic 9448">
                  <a:extLst>
                    <a:ext uri="{FF2B5EF4-FFF2-40B4-BE49-F238E27FC236}">
                      <a16:creationId xmlns:a16="http://schemas.microsoft.com/office/drawing/2014/main" id="{E6757DE9-2216-B178-2520-C33749C252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50" name="Graphic 9449">
                  <a:extLst>
                    <a:ext uri="{FF2B5EF4-FFF2-40B4-BE49-F238E27FC236}">
                      <a16:creationId xmlns:a16="http://schemas.microsoft.com/office/drawing/2014/main" id="{D8CBFA0A-7969-9476-FED9-6867A86778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51" name="Graphic 9450">
                  <a:extLst>
                    <a:ext uri="{FF2B5EF4-FFF2-40B4-BE49-F238E27FC236}">
                      <a16:creationId xmlns:a16="http://schemas.microsoft.com/office/drawing/2014/main" id="{BE4BF610-DA40-3194-1506-61B3979AC40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52" name="Graphic 9451">
                  <a:extLst>
                    <a:ext uri="{FF2B5EF4-FFF2-40B4-BE49-F238E27FC236}">
                      <a16:creationId xmlns:a16="http://schemas.microsoft.com/office/drawing/2014/main" id="{CD940F78-EDC5-80B6-709E-162BEE7DDC4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453" name="Graphic 9452">
                  <a:extLst>
                    <a:ext uri="{FF2B5EF4-FFF2-40B4-BE49-F238E27FC236}">
                      <a16:creationId xmlns:a16="http://schemas.microsoft.com/office/drawing/2014/main" id="{5AD4465B-A18F-1AFD-E82C-6201E06821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454" name="Graphic 9453">
                  <a:extLst>
                    <a:ext uri="{FF2B5EF4-FFF2-40B4-BE49-F238E27FC236}">
                      <a16:creationId xmlns:a16="http://schemas.microsoft.com/office/drawing/2014/main" id="{38A2AD97-084A-7ECF-E87C-FB570D1675C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55" name="Graphic 9454">
                  <a:extLst>
                    <a:ext uri="{FF2B5EF4-FFF2-40B4-BE49-F238E27FC236}">
                      <a16:creationId xmlns:a16="http://schemas.microsoft.com/office/drawing/2014/main" id="{ADF49A6D-4B65-60DD-0D29-1F6FA8CCFD4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456" name="Graphic 9455">
                  <a:extLst>
                    <a:ext uri="{FF2B5EF4-FFF2-40B4-BE49-F238E27FC236}">
                      <a16:creationId xmlns:a16="http://schemas.microsoft.com/office/drawing/2014/main" id="{80152872-B34A-908B-B2B8-07268C698AC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457" name="Graphic 9456">
                  <a:extLst>
                    <a:ext uri="{FF2B5EF4-FFF2-40B4-BE49-F238E27FC236}">
                      <a16:creationId xmlns:a16="http://schemas.microsoft.com/office/drawing/2014/main" id="{1549DF43-80F7-F933-F947-15DEAC24E37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9458" name="Graphic 9457">
                  <a:extLst>
                    <a:ext uri="{FF2B5EF4-FFF2-40B4-BE49-F238E27FC236}">
                      <a16:creationId xmlns:a16="http://schemas.microsoft.com/office/drawing/2014/main" id="{6DDFBC2C-31BD-D592-BB6F-A8F15CC494A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459" name="Graphic 9458">
                  <a:extLst>
                    <a:ext uri="{FF2B5EF4-FFF2-40B4-BE49-F238E27FC236}">
                      <a16:creationId xmlns:a16="http://schemas.microsoft.com/office/drawing/2014/main" id="{054EEB5E-40FD-F6BF-ADA5-28027B5436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460" name="Graphic 9459">
                  <a:extLst>
                    <a:ext uri="{FF2B5EF4-FFF2-40B4-BE49-F238E27FC236}">
                      <a16:creationId xmlns:a16="http://schemas.microsoft.com/office/drawing/2014/main" id="{AB64F556-EE76-8F31-57B2-B84C1BACC7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61" name="Graphic 9460">
                  <a:extLst>
                    <a:ext uri="{FF2B5EF4-FFF2-40B4-BE49-F238E27FC236}">
                      <a16:creationId xmlns:a16="http://schemas.microsoft.com/office/drawing/2014/main" id="{0B22713E-D246-57A7-B779-0B272D4A868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462" name="Graphic 9461">
                  <a:extLst>
                    <a:ext uri="{FF2B5EF4-FFF2-40B4-BE49-F238E27FC236}">
                      <a16:creationId xmlns:a16="http://schemas.microsoft.com/office/drawing/2014/main" id="{2FE83CAD-5684-1E9E-2C61-21DD57DBC7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463" name="Graphic 9462">
                  <a:extLst>
                    <a:ext uri="{FF2B5EF4-FFF2-40B4-BE49-F238E27FC236}">
                      <a16:creationId xmlns:a16="http://schemas.microsoft.com/office/drawing/2014/main" id="{EEBD4CEC-AE4A-9220-5D14-92D1811ED0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9437" name="Graphic 9436">
                <a:extLst>
                  <a:ext uri="{FF2B5EF4-FFF2-40B4-BE49-F238E27FC236}">
                    <a16:creationId xmlns:a16="http://schemas.microsoft.com/office/drawing/2014/main" id="{C41D041A-1C5F-FFE3-9CEC-5968377729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438" name="Graphic 9437">
                <a:extLst>
                  <a:ext uri="{FF2B5EF4-FFF2-40B4-BE49-F238E27FC236}">
                    <a16:creationId xmlns:a16="http://schemas.microsoft.com/office/drawing/2014/main" id="{354A075E-A823-C0DB-68FA-06289FD0BB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439" name="Graphic 9438">
                <a:extLst>
                  <a:ext uri="{FF2B5EF4-FFF2-40B4-BE49-F238E27FC236}">
                    <a16:creationId xmlns:a16="http://schemas.microsoft.com/office/drawing/2014/main" id="{81950338-3951-DA53-3FB9-92AA6120D3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9440" name="Graphic 9439">
                <a:extLst>
                  <a:ext uri="{FF2B5EF4-FFF2-40B4-BE49-F238E27FC236}">
                    <a16:creationId xmlns:a16="http://schemas.microsoft.com/office/drawing/2014/main" id="{4F6C37B0-F08D-7B85-DA12-AE027A001B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9441" name="Graphic 9440">
                <a:extLst>
                  <a:ext uri="{FF2B5EF4-FFF2-40B4-BE49-F238E27FC236}">
                    <a16:creationId xmlns:a16="http://schemas.microsoft.com/office/drawing/2014/main" id="{17888C11-8173-CF71-AC61-D97FC9A37F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442" name="Graphic 9441">
                <a:extLst>
                  <a:ext uri="{FF2B5EF4-FFF2-40B4-BE49-F238E27FC236}">
                    <a16:creationId xmlns:a16="http://schemas.microsoft.com/office/drawing/2014/main" id="{39462262-D782-8570-D3CC-DE03B1D78B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443" name="Graphic 9442">
                <a:extLst>
                  <a:ext uri="{FF2B5EF4-FFF2-40B4-BE49-F238E27FC236}">
                    <a16:creationId xmlns:a16="http://schemas.microsoft.com/office/drawing/2014/main" id="{9EDE5587-792D-38C4-F2DD-59F86644CB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444" name="Graphic 9443">
                <a:extLst>
                  <a:ext uri="{FF2B5EF4-FFF2-40B4-BE49-F238E27FC236}">
                    <a16:creationId xmlns:a16="http://schemas.microsoft.com/office/drawing/2014/main" id="{FE7598E8-8E44-2A40-F470-A17AF02AC5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9445" name="Graphic 9444">
                <a:extLst>
                  <a:ext uri="{FF2B5EF4-FFF2-40B4-BE49-F238E27FC236}">
                    <a16:creationId xmlns:a16="http://schemas.microsoft.com/office/drawing/2014/main" id="{89BEAF6E-BFD7-4D68-3694-3CD33DEF79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9446" name="Graphic 9445">
                <a:extLst>
                  <a:ext uri="{FF2B5EF4-FFF2-40B4-BE49-F238E27FC236}">
                    <a16:creationId xmlns:a16="http://schemas.microsoft.com/office/drawing/2014/main" id="{59F6002B-3420-FB46-7C95-E371BAD0E4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447" name="Graphic 9446">
                <a:extLst>
                  <a:ext uri="{FF2B5EF4-FFF2-40B4-BE49-F238E27FC236}">
                    <a16:creationId xmlns:a16="http://schemas.microsoft.com/office/drawing/2014/main" id="{1AF7923E-0EA6-265C-AD2F-D95C9FFA2B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2803" name="Group 2802">
              <a:extLst>
                <a:ext uri="{FF2B5EF4-FFF2-40B4-BE49-F238E27FC236}">
                  <a16:creationId xmlns:a16="http://schemas.microsoft.com/office/drawing/2014/main" id="{984DE476-483F-FBD6-FECE-A06D2FB330AF}"/>
                </a:ext>
              </a:extLst>
            </p:cNvPr>
            <p:cNvGrpSpPr/>
            <p:nvPr/>
          </p:nvGrpSpPr>
          <p:grpSpPr>
            <a:xfrm>
              <a:off x="2235651" y="3437835"/>
              <a:ext cx="178020" cy="178020"/>
              <a:chOff x="2898967" y="1781131"/>
              <a:chExt cx="1097280" cy="1097279"/>
            </a:xfrm>
          </p:grpSpPr>
          <p:grpSp>
            <p:nvGrpSpPr>
              <p:cNvPr id="9388" name="Group 9387">
                <a:extLst>
                  <a:ext uri="{FF2B5EF4-FFF2-40B4-BE49-F238E27FC236}">
                    <a16:creationId xmlns:a16="http://schemas.microsoft.com/office/drawing/2014/main" id="{78DD7AC2-F72F-C00C-EBDC-445A3EE4D5AD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9400" name="Group 9399">
                  <a:extLst>
                    <a:ext uri="{FF2B5EF4-FFF2-40B4-BE49-F238E27FC236}">
                      <a16:creationId xmlns:a16="http://schemas.microsoft.com/office/drawing/2014/main" id="{8AB511A7-D2FC-C8C5-410A-33D083A954C4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9416" name="Oval 9415">
                    <a:extLst>
                      <a:ext uri="{FF2B5EF4-FFF2-40B4-BE49-F238E27FC236}">
                        <a16:creationId xmlns:a16="http://schemas.microsoft.com/office/drawing/2014/main" id="{F65B76D1-B807-7DDB-BB44-5D3C9EB433CA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417" name="Group 9416">
                    <a:extLst>
                      <a:ext uri="{FF2B5EF4-FFF2-40B4-BE49-F238E27FC236}">
                        <a16:creationId xmlns:a16="http://schemas.microsoft.com/office/drawing/2014/main" id="{12DD4439-4890-2A28-A9AF-DB1253594BDB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9418" name="Graphic 9417">
                      <a:extLst>
                        <a:ext uri="{FF2B5EF4-FFF2-40B4-BE49-F238E27FC236}">
                          <a16:creationId xmlns:a16="http://schemas.microsoft.com/office/drawing/2014/main" id="{86644664-7A87-22AB-0D65-5DAEC499216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19" name="Graphic 9418">
                      <a:extLst>
                        <a:ext uri="{FF2B5EF4-FFF2-40B4-BE49-F238E27FC236}">
                          <a16:creationId xmlns:a16="http://schemas.microsoft.com/office/drawing/2014/main" id="{A2166066-242D-205A-7C9F-4469AB817C2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20" name="Graphic 9419">
                      <a:extLst>
                        <a:ext uri="{FF2B5EF4-FFF2-40B4-BE49-F238E27FC236}">
                          <a16:creationId xmlns:a16="http://schemas.microsoft.com/office/drawing/2014/main" id="{7BF1BB31-7F83-390F-E40B-DA032A37657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21" name="Graphic 9420">
                      <a:extLst>
                        <a:ext uri="{FF2B5EF4-FFF2-40B4-BE49-F238E27FC236}">
                          <a16:creationId xmlns:a16="http://schemas.microsoft.com/office/drawing/2014/main" id="{285E45B2-A6E0-E9A8-29B3-8C317744CD5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22" name="Graphic 9421">
                      <a:extLst>
                        <a:ext uri="{FF2B5EF4-FFF2-40B4-BE49-F238E27FC236}">
                          <a16:creationId xmlns:a16="http://schemas.microsoft.com/office/drawing/2014/main" id="{9FA83D3E-6F98-4C9E-BFF4-F5AEBB4831E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23" name="Graphic 9422">
                      <a:extLst>
                        <a:ext uri="{FF2B5EF4-FFF2-40B4-BE49-F238E27FC236}">
                          <a16:creationId xmlns:a16="http://schemas.microsoft.com/office/drawing/2014/main" id="{AF74D980-3990-93DA-568E-47A4D9D5654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24" name="Graphic 9423">
                      <a:extLst>
                        <a:ext uri="{FF2B5EF4-FFF2-40B4-BE49-F238E27FC236}">
                          <a16:creationId xmlns:a16="http://schemas.microsoft.com/office/drawing/2014/main" id="{090AC95B-2E22-4296-611C-E3E4B093ADB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25" name="Graphic 9424">
                      <a:extLst>
                        <a:ext uri="{FF2B5EF4-FFF2-40B4-BE49-F238E27FC236}">
                          <a16:creationId xmlns:a16="http://schemas.microsoft.com/office/drawing/2014/main" id="{345C6D4C-9374-F041-B8B0-00D700FDE93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26" name="Graphic 9425">
                      <a:extLst>
                        <a:ext uri="{FF2B5EF4-FFF2-40B4-BE49-F238E27FC236}">
                          <a16:creationId xmlns:a16="http://schemas.microsoft.com/office/drawing/2014/main" id="{9E1BC829-BB6C-627F-4306-B92C7909F10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27" name="Graphic 9426">
                      <a:extLst>
                        <a:ext uri="{FF2B5EF4-FFF2-40B4-BE49-F238E27FC236}">
                          <a16:creationId xmlns:a16="http://schemas.microsoft.com/office/drawing/2014/main" id="{AD0BEB32-88CA-8249-9B31-5ABF167967D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28" name="Graphic 9427">
                      <a:extLst>
                        <a:ext uri="{FF2B5EF4-FFF2-40B4-BE49-F238E27FC236}">
                          <a16:creationId xmlns:a16="http://schemas.microsoft.com/office/drawing/2014/main" id="{F57B35BA-52CF-22C8-44A5-ECAE1AEBD57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29" name="Graphic 9428">
                      <a:extLst>
                        <a:ext uri="{FF2B5EF4-FFF2-40B4-BE49-F238E27FC236}">
                          <a16:creationId xmlns:a16="http://schemas.microsoft.com/office/drawing/2014/main" id="{C4FEF2CA-F328-A08A-252A-6B694425B57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30" name="Graphic 9429">
                      <a:extLst>
                        <a:ext uri="{FF2B5EF4-FFF2-40B4-BE49-F238E27FC236}">
                          <a16:creationId xmlns:a16="http://schemas.microsoft.com/office/drawing/2014/main" id="{16CE99A9-97B8-B3FD-B845-15CE1EC1D7F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31" name="Graphic 9430">
                      <a:extLst>
                        <a:ext uri="{FF2B5EF4-FFF2-40B4-BE49-F238E27FC236}">
                          <a16:creationId xmlns:a16="http://schemas.microsoft.com/office/drawing/2014/main" id="{702223D3-0D4C-3AD5-2356-A9F565F84DF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32" name="Graphic 9431">
                      <a:extLst>
                        <a:ext uri="{FF2B5EF4-FFF2-40B4-BE49-F238E27FC236}">
                          <a16:creationId xmlns:a16="http://schemas.microsoft.com/office/drawing/2014/main" id="{01CE18CC-2AE0-60E7-F940-26BCFCD251F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33" name="Graphic 9432">
                      <a:extLst>
                        <a:ext uri="{FF2B5EF4-FFF2-40B4-BE49-F238E27FC236}">
                          <a16:creationId xmlns:a16="http://schemas.microsoft.com/office/drawing/2014/main" id="{6DA6031D-810A-C248-7D25-37D51EBFE9C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34" name="Graphic 9433">
                      <a:extLst>
                        <a:ext uri="{FF2B5EF4-FFF2-40B4-BE49-F238E27FC236}">
                          <a16:creationId xmlns:a16="http://schemas.microsoft.com/office/drawing/2014/main" id="{0886445B-C2F9-15CD-892A-1B224E5BF18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35" name="Graphic 9434">
                      <a:extLst>
                        <a:ext uri="{FF2B5EF4-FFF2-40B4-BE49-F238E27FC236}">
                          <a16:creationId xmlns:a16="http://schemas.microsoft.com/office/drawing/2014/main" id="{3555D372-BBD4-829B-46ED-2FEA47C2173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401" name="Graphic 9400">
                  <a:extLst>
                    <a:ext uri="{FF2B5EF4-FFF2-40B4-BE49-F238E27FC236}">
                      <a16:creationId xmlns:a16="http://schemas.microsoft.com/office/drawing/2014/main" id="{E03D1ED8-5C2D-9EDA-EC1B-12AC8FE0B6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02" name="Graphic 9401">
                  <a:extLst>
                    <a:ext uri="{FF2B5EF4-FFF2-40B4-BE49-F238E27FC236}">
                      <a16:creationId xmlns:a16="http://schemas.microsoft.com/office/drawing/2014/main" id="{199423B4-B353-3DA8-C837-FBA1B2EAFE1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03" name="Graphic 9402">
                  <a:extLst>
                    <a:ext uri="{FF2B5EF4-FFF2-40B4-BE49-F238E27FC236}">
                      <a16:creationId xmlns:a16="http://schemas.microsoft.com/office/drawing/2014/main" id="{0CF06688-BD51-FBB1-F5CC-273F4CFC396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04" name="Graphic 9403">
                  <a:extLst>
                    <a:ext uri="{FF2B5EF4-FFF2-40B4-BE49-F238E27FC236}">
                      <a16:creationId xmlns:a16="http://schemas.microsoft.com/office/drawing/2014/main" id="{976F068F-D96E-D0A9-76D6-932FD391B3B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405" name="Graphic 9404">
                  <a:extLst>
                    <a:ext uri="{FF2B5EF4-FFF2-40B4-BE49-F238E27FC236}">
                      <a16:creationId xmlns:a16="http://schemas.microsoft.com/office/drawing/2014/main" id="{017F0B88-33C6-5CF2-838D-9430293FA23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406" name="Graphic 9405">
                  <a:extLst>
                    <a:ext uri="{FF2B5EF4-FFF2-40B4-BE49-F238E27FC236}">
                      <a16:creationId xmlns:a16="http://schemas.microsoft.com/office/drawing/2014/main" id="{6E11B20E-26DB-B63F-ACF2-620108676C2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07" name="Graphic 9406">
                  <a:extLst>
                    <a:ext uri="{FF2B5EF4-FFF2-40B4-BE49-F238E27FC236}">
                      <a16:creationId xmlns:a16="http://schemas.microsoft.com/office/drawing/2014/main" id="{B7FC2869-4607-BB0C-7226-B95AA54CD2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408" name="Graphic 9407">
                  <a:extLst>
                    <a:ext uri="{FF2B5EF4-FFF2-40B4-BE49-F238E27FC236}">
                      <a16:creationId xmlns:a16="http://schemas.microsoft.com/office/drawing/2014/main" id="{D2100C5B-5CCC-098D-07C6-0F6679C466A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409" name="Graphic 9408">
                  <a:extLst>
                    <a:ext uri="{FF2B5EF4-FFF2-40B4-BE49-F238E27FC236}">
                      <a16:creationId xmlns:a16="http://schemas.microsoft.com/office/drawing/2014/main" id="{C888F512-9D2F-9E69-6A23-4CA68129B22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9410" name="Graphic 9409">
                  <a:extLst>
                    <a:ext uri="{FF2B5EF4-FFF2-40B4-BE49-F238E27FC236}">
                      <a16:creationId xmlns:a16="http://schemas.microsoft.com/office/drawing/2014/main" id="{7FDD4BE5-8AE9-B330-7C60-5DE819F87B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411" name="Graphic 9410">
                  <a:extLst>
                    <a:ext uri="{FF2B5EF4-FFF2-40B4-BE49-F238E27FC236}">
                      <a16:creationId xmlns:a16="http://schemas.microsoft.com/office/drawing/2014/main" id="{F10FC7C5-4579-BF6B-F6F7-C813FB6A0D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412" name="Graphic 9411">
                  <a:extLst>
                    <a:ext uri="{FF2B5EF4-FFF2-40B4-BE49-F238E27FC236}">
                      <a16:creationId xmlns:a16="http://schemas.microsoft.com/office/drawing/2014/main" id="{4E22F2F6-8127-1614-CC1A-D08FF3CBB35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13" name="Graphic 9412">
                  <a:extLst>
                    <a:ext uri="{FF2B5EF4-FFF2-40B4-BE49-F238E27FC236}">
                      <a16:creationId xmlns:a16="http://schemas.microsoft.com/office/drawing/2014/main" id="{6DDF8DCF-1016-9E2E-0E0E-7322378A42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414" name="Graphic 9413">
                  <a:extLst>
                    <a:ext uri="{FF2B5EF4-FFF2-40B4-BE49-F238E27FC236}">
                      <a16:creationId xmlns:a16="http://schemas.microsoft.com/office/drawing/2014/main" id="{95E24B23-3F3E-60F5-BD1C-50AFFC7F68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415" name="Graphic 9414">
                  <a:extLst>
                    <a:ext uri="{FF2B5EF4-FFF2-40B4-BE49-F238E27FC236}">
                      <a16:creationId xmlns:a16="http://schemas.microsoft.com/office/drawing/2014/main" id="{D8E40941-5BCD-8C2D-6460-080363C7356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9389" name="Graphic 9388">
                <a:extLst>
                  <a:ext uri="{FF2B5EF4-FFF2-40B4-BE49-F238E27FC236}">
                    <a16:creationId xmlns:a16="http://schemas.microsoft.com/office/drawing/2014/main" id="{F6D4D48C-74C4-D180-1B5F-14BFD6D6AA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390" name="Graphic 9389">
                <a:extLst>
                  <a:ext uri="{FF2B5EF4-FFF2-40B4-BE49-F238E27FC236}">
                    <a16:creationId xmlns:a16="http://schemas.microsoft.com/office/drawing/2014/main" id="{3807109A-11D3-C109-867E-DBC7BE7350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391" name="Graphic 9390">
                <a:extLst>
                  <a:ext uri="{FF2B5EF4-FFF2-40B4-BE49-F238E27FC236}">
                    <a16:creationId xmlns:a16="http://schemas.microsoft.com/office/drawing/2014/main" id="{ECD5D2FE-2E26-E6A9-E2DC-1145983949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9392" name="Graphic 9391">
                <a:extLst>
                  <a:ext uri="{FF2B5EF4-FFF2-40B4-BE49-F238E27FC236}">
                    <a16:creationId xmlns:a16="http://schemas.microsoft.com/office/drawing/2014/main" id="{5F19281E-48E3-4537-A507-55F45C2317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9393" name="Graphic 9392">
                <a:extLst>
                  <a:ext uri="{FF2B5EF4-FFF2-40B4-BE49-F238E27FC236}">
                    <a16:creationId xmlns:a16="http://schemas.microsoft.com/office/drawing/2014/main" id="{27C7217A-5486-E563-56DF-BAE92910EC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394" name="Graphic 9393">
                <a:extLst>
                  <a:ext uri="{FF2B5EF4-FFF2-40B4-BE49-F238E27FC236}">
                    <a16:creationId xmlns:a16="http://schemas.microsoft.com/office/drawing/2014/main" id="{306D1D53-40C4-1A9B-3938-41B8A72829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395" name="Graphic 9394">
                <a:extLst>
                  <a:ext uri="{FF2B5EF4-FFF2-40B4-BE49-F238E27FC236}">
                    <a16:creationId xmlns:a16="http://schemas.microsoft.com/office/drawing/2014/main" id="{FAF589A8-C479-38E0-D709-C8E737DC1D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396" name="Graphic 9395">
                <a:extLst>
                  <a:ext uri="{FF2B5EF4-FFF2-40B4-BE49-F238E27FC236}">
                    <a16:creationId xmlns:a16="http://schemas.microsoft.com/office/drawing/2014/main" id="{CAFAE7BA-833E-5B1E-8B8E-AC06F9D0B8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9397" name="Graphic 9396">
                <a:extLst>
                  <a:ext uri="{FF2B5EF4-FFF2-40B4-BE49-F238E27FC236}">
                    <a16:creationId xmlns:a16="http://schemas.microsoft.com/office/drawing/2014/main" id="{8E7521F6-6A95-4D36-7226-88EB6D22F8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9398" name="Graphic 9397">
                <a:extLst>
                  <a:ext uri="{FF2B5EF4-FFF2-40B4-BE49-F238E27FC236}">
                    <a16:creationId xmlns:a16="http://schemas.microsoft.com/office/drawing/2014/main" id="{2CE76F46-86BC-88A2-39AD-8E091935FB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399" name="Graphic 9398">
                <a:extLst>
                  <a:ext uri="{FF2B5EF4-FFF2-40B4-BE49-F238E27FC236}">
                    <a16:creationId xmlns:a16="http://schemas.microsoft.com/office/drawing/2014/main" id="{BC024B2C-2A95-58C1-89E1-4879D95CB9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2804" name="Group 2803">
              <a:extLst>
                <a:ext uri="{FF2B5EF4-FFF2-40B4-BE49-F238E27FC236}">
                  <a16:creationId xmlns:a16="http://schemas.microsoft.com/office/drawing/2014/main" id="{3F147212-CA9A-67B0-0AF6-F5802A8303F3}"/>
                </a:ext>
              </a:extLst>
            </p:cNvPr>
            <p:cNvGrpSpPr/>
            <p:nvPr/>
          </p:nvGrpSpPr>
          <p:grpSpPr>
            <a:xfrm>
              <a:off x="2445056" y="3447806"/>
              <a:ext cx="178020" cy="178020"/>
              <a:chOff x="2898967" y="1781131"/>
              <a:chExt cx="1097280" cy="1097279"/>
            </a:xfrm>
          </p:grpSpPr>
          <p:grpSp>
            <p:nvGrpSpPr>
              <p:cNvPr id="9340" name="Group 9339">
                <a:extLst>
                  <a:ext uri="{FF2B5EF4-FFF2-40B4-BE49-F238E27FC236}">
                    <a16:creationId xmlns:a16="http://schemas.microsoft.com/office/drawing/2014/main" id="{F57A4BA6-33CC-E1F5-0EA7-0213BB445155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9352" name="Group 9351">
                  <a:extLst>
                    <a:ext uri="{FF2B5EF4-FFF2-40B4-BE49-F238E27FC236}">
                      <a16:creationId xmlns:a16="http://schemas.microsoft.com/office/drawing/2014/main" id="{18CB0CC0-3A8E-DB94-604F-F66FC12AA133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9368" name="Oval 9367">
                    <a:extLst>
                      <a:ext uri="{FF2B5EF4-FFF2-40B4-BE49-F238E27FC236}">
                        <a16:creationId xmlns:a16="http://schemas.microsoft.com/office/drawing/2014/main" id="{7B46408F-2EBD-1939-F93F-C6F7509ABC18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369" name="Group 9368">
                    <a:extLst>
                      <a:ext uri="{FF2B5EF4-FFF2-40B4-BE49-F238E27FC236}">
                        <a16:creationId xmlns:a16="http://schemas.microsoft.com/office/drawing/2014/main" id="{E0189A88-4000-F093-18F0-E1A5CCCE124E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9370" name="Graphic 9369">
                      <a:extLst>
                        <a:ext uri="{FF2B5EF4-FFF2-40B4-BE49-F238E27FC236}">
                          <a16:creationId xmlns:a16="http://schemas.microsoft.com/office/drawing/2014/main" id="{B8271EDD-757D-DFBA-441E-225854BE05F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71" name="Graphic 9370">
                      <a:extLst>
                        <a:ext uri="{FF2B5EF4-FFF2-40B4-BE49-F238E27FC236}">
                          <a16:creationId xmlns:a16="http://schemas.microsoft.com/office/drawing/2014/main" id="{1AAA8E35-769B-6D1C-8681-909E138F570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72" name="Graphic 9371">
                      <a:extLst>
                        <a:ext uri="{FF2B5EF4-FFF2-40B4-BE49-F238E27FC236}">
                          <a16:creationId xmlns:a16="http://schemas.microsoft.com/office/drawing/2014/main" id="{F60D10D1-BDBE-3656-1551-7328B4EBD52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73" name="Graphic 9372">
                      <a:extLst>
                        <a:ext uri="{FF2B5EF4-FFF2-40B4-BE49-F238E27FC236}">
                          <a16:creationId xmlns:a16="http://schemas.microsoft.com/office/drawing/2014/main" id="{A469A9C5-432A-C77A-7971-6C9D2247720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74" name="Graphic 9373">
                      <a:extLst>
                        <a:ext uri="{FF2B5EF4-FFF2-40B4-BE49-F238E27FC236}">
                          <a16:creationId xmlns:a16="http://schemas.microsoft.com/office/drawing/2014/main" id="{3168F4DC-4971-4A4D-6B5A-9F725E429CF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75" name="Graphic 9374">
                      <a:extLst>
                        <a:ext uri="{FF2B5EF4-FFF2-40B4-BE49-F238E27FC236}">
                          <a16:creationId xmlns:a16="http://schemas.microsoft.com/office/drawing/2014/main" id="{CBB5E59F-41F5-64E0-A084-515CB2A19A4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76" name="Graphic 9375">
                      <a:extLst>
                        <a:ext uri="{FF2B5EF4-FFF2-40B4-BE49-F238E27FC236}">
                          <a16:creationId xmlns:a16="http://schemas.microsoft.com/office/drawing/2014/main" id="{2406AAE3-DA7D-C17C-934B-96680CA0BF2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77" name="Graphic 9376">
                      <a:extLst>
                        <a:ext uri="{FF2B5EF4-FFF2-40B4-BE49-F238E27FC236}">
                          <a16:creationId xmlns:a16="http://schemas.microsoft.com/office/drawing/2014/main" id="{6D225B61-7C05-763A-56C7-3C4C62EF585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78" name="Graphic 9377">
                      <a:extLst>
                        <a:ext uri="{FF2B5EF4-FFF2-40B4-BE49-F238E27FC236}">
                          <a16:creationId xmlns:a16="http://schemas.microsoft.com/office/drawing/2014/main" id="{7AD9A9A7-4821-6D28-DB84-B92CD8E0AD9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79" name="Graphic 9378">
                      <a:extLst>
                        <a:ext uri="{FF2B5EF4-FFF2-40B4-BE49-F238E27FC236}">
                          <a16:creationId xmlns:a16="http://schemas.microsoft.com/office/drawing/2014/main" id="{1E2E9492-A9B8-292B-1947-212158C6978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80" name="Graphic 9379">
                      <a:extLst>
                        <a:ext uri="{FF2B5EF4-FFF2-40B4-BE49-F238E27FC236}">
                          <a16:creationId xmlns:a16="http://schemas.microsoft.com/office/drawing/2014/main" id="{A2EEB897-3591-59B7-609C-A75B2080412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81" name="Graphic 9380">
                      <a:extLst>
                        <a:ext uri="{FF2B5EF4-FFF2-40B4-BE49-F238E27FC236}">
                          <a16:creationId xmlns:a16="http://schemas.microsoft.com/office/drawing/2014/main" id="{102CE5FA-4DC6-6BE1-434F-CCC5DF5E2A6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82" name="Graphic 9381">
                      <a:extLst>
                        <a:ext uri="{FF2B5EF4-FFF2-40B4-BE49-F238E27FC236}">
                          <a16:creationId xmlns:a16="http://schemas.microsoft.com/office/drawing/2014/main" id="{FD90E92F-41E7-4DB4-E4EC-CC8EBC1D2BE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83" name="Graphic 9382">
                      <a:extLst>
                        <a:ext uri="{FF2B5EF4-FFF2-40B4-BE49-F238E27FC236}">
                          <a16:creationId xmlns:a16="http://schemas.microsoft.com/office/drawing/2014/main" id="{8C643539-B54D-81F7-8C29-B1B768C3EBA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84" name="Graphic 9383">
                      <a:extLst>
                        <a:ext uri="{FF2B5EF4-FFF2-40B4-BE49-F238E27FC236}">
                          <a16:creationId xmlns:a16="http://schemas.microsoft.com/office/drawing/2014/main" id="{03E16A87-57C5-48D4-E741-479136FDABC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85" name="Graphic 9384">
                      <a:extLst>
                        <a:ext uri="{FF2B5EF4-FFF2-40B4-BE49-F238E27FC236}">
                          <a16:creationId xmlns:a16="http://schemas.microsoft.com/office/drawing/2014/main" id="{4C558755-25E2-333A-CE6C-9110A45E66C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86" name="Graphic 9385">
                      <a:extLst>
                        <a:ext uri="{FF2B5EF4-FFF2-40B4-BE49-F238E27FC236}">
                          <a16:creationId xmlns:a16="http://schemas.microsoft.com/office/drawing/2014/main" id="{DF28D198-30BC-A7DC-1045-469C847DA5E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87" name="Graphic 9386">
                      <a:extLst>
                        <a:ext uri="{FF2B5EF4-FFF2-40B4-BE49-F238E27FC236}">
                          <a16:creationId xmlns:a16="http://schemas.microsoft.com/office/drawing/2014/main" id="{9C5F561A-C277-2BDE-8E53-7E0304E3B1E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353" name="Graphic 9352">
                  <a:extLst>
                    <a:ext uri="{FF2B5EF4-FFF2-40B4-BE49-F238E27FC236}">
                      <a16:creationId xmlns:a16="http://schemas.microsoft.com/office/drawing/2014/main" id="{F7DE6903-AE25-1B88-3C95-5D22D6010DE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354" name="Graphic 9353">
                  <a:extLst>
                    <a:ext uri="{FF2B5EF4-FFF2-40B4-BE49-F238E27FC236}">
                      <a16:creationId xmlns:a16="http://schemas.microsoft.com/office/drawing/2014/main" id="{7B8314FF-4B26-2ED4-180E-2CADB27A1D5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355" name="Graphic 9354">
                  <a:extLst>
                    <a:ext uri="{FF2B5EF4-FFF2-40B4-BE49-F238E27FC236}">
                      <a16:creationId xmlns:a16="http://schemas.microsoft.com/office/drawing/2014/main" id="{DE0514BE-8BED-1C08-B070-9F7FCE4B41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356" name="Graphic 9355">
                  <a:extLst>
                    <a:ext uri="{FF2B5EF4-FFF2-40B4-BE49-F238E27FC236}">
                      <a16:creationId xmlns:a16="http://schemas.microsoft.com/office/drawing/2014/main" id="{DFDF5AD4-6073-6CDD-B1F3-9EE78466A0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57" name="Graphic 9356">
                  <a:extLst>
                    <a:ext uri="{FF2B5EF4-FFF2-40B4-BE49-F238E27FC236}">
                      <a16:creationId xmlns:a16="http://schemas.microsoft.com/office/drawing/2014/main" id="{37A0F6DF-4F70-E2C1-862A-44E82CC98C9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58" name="Graphic 9357">
                  <a:extLst>
                    <a:ext uri="{FF2B5EF4-FFF2-40B4-BE49-F238E27FC236}">
                      <a16:creationId xmlns:a16="http://schemas.microsoft.com/office/drawing/2014/main" id="{6CBD5101-5882-F3BA-6805-5DBA5D3EAF5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359" name="Graphic 9358">
                  <a:extLst>
                    <a:ext uri="{FF2B5EF4-FFF2-40B4-BE49-F238E27FC236}">
                      <a16:creationId xmlns:a16="http://schemas.microsoft.com/office/drawing/2014/main" id="{21329DB2-0850-EAA4-2117-D938A4F972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60" name="Graphic 9359">
                  <a:extLst>
                    <a:ext uri="{FF2B5EF4-FFF2-40B4-BE49-F238E27FC236}">
                      <a16:creationId xmlns:a16="http://schemas.microsoft.com/office/drawing/2014/main" id="{DA3406BC-D0B5-F905-D8D7-B08552E52BB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61" name="Graphic 9360">
                  <a:extLst>
                    <a:ext uri="{FF2B5EF4-FFF2-40B4-BE49-F238E27FC236}">
                      <a16:creationId xmlns:a16="http://schemas.microsoft.com/office/drawing/2014/main" id="{C6D8253C-6C9D-DAAB-F51A-88BA3979C52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9362" name="Graphic 9361">
                  <a:extLst>
                    <a:ext uri="{FF2B5EF4-FFF2-40B4-BE49-F238E27FC236}">
                      <a16:creationId xmlns:a16="http://schemas.microsoft.com/office/drawing/2014/main" id="{8CFA7F1A-D23E-8E32-43CB-8F7ACFC54CA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63" name="Graphic 9362">
                  <a:extLst>
                    <a:ext uri="{FF2B5EF4-FFF2-40B4-BE49-F238E27FC236}">
                      <a16:creationId xmlns:a16="http://schemas.microsoft.com/office/drawing/2014/main" id="{03E5879F-85B5-34EF-2217-24E13B4D1C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64" name="Graphic 9363">
                  <a:extLst>
                    <a:ext uri="{FF2B5EF4-FFF2-40B4-BE49-F238E27FC236}">
                      <a16:creationId xmlns:a16="http://schemas.microsoft.com/office/drawing/2014/main" id="{E44A2F72-6070-A09C-AD86-D29E64DCCF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365" name="Graphic 9364">
                  <a:extLst>
                    <a:ext uri="{FF2B5EF4-FFF2-40B4-BE49-F238E27FC236}">
                      <a16:creationId xmlns:a16="http://schemas.microsoft.com/office/drawing/2014/main" id="{F56BC914-FA49-63B1-C5B1-7A299B520E5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66" name="Graphic 9365">
                  <a:extLst>
                    <a:ext uri="{FF2B5EF4-FFF2-40B4-BE49-F238E27FC236}">
                      <a16:creationId xmlns:a16="http://schemas.microsoft.com/office/drawing/2014/main" id="{73E3064A-6023-1CC0-D1C3-A6B2DE2AD85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67" name="Graphic 9366">
                  <a:extLst>
                    <a:ext uri="{FF2B5EF4-FFF2-40B4-BE49-F238E27FC236}">
                      <a16:creationId xmlns:a16="http://schemas.microsoft.com/office/drawing/2014/main" id="{E132A737-B562-2597-939A-35587113B6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9341" name="Graphic 9340">
                <a:extLst>
                  <a:ext uri="{FF2B5EF4-FFF2-40B4-BE49-F238E27FC236}">
                    <a16:creationId xmlns:a16="http://schemas.microsoft.com/office/drawing/2014/main" id="{0A91F397-CE16-CAF6-1CA5-2129CADB2B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342" name="Graphic 9341">
                <a:extLst>
                  <a:ext uri="{FF2B5EF4-FFF2-40B4-BE49-F238E27FC236}">
                    <a16:creationId xmlns:a16="http://schemas.microsoft.com/office/drawing/2014/main" id="{7653731C-4FC8-B066-3BA1-9452B3E2D0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343" name="Graphic 9342">
                <a:extLst>
                  <a:ext uri="{FF2B5EF4-FFF2-40B4-BE49-F238E27FC236}">
                    <a16:creationId xmlns:a16="http://schemas.microsoft.com/office/drawing/2014/main" id="{70BF816B-91FE-DEF6-7FEE-321C12811E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9344" name="Graphic 9343">
                <a:extLst>
                  <a:ext uri="{FF2B5EF4-FFF2-40B4-BE49-F238E27FC236}">
                    <a16:creationId xmlns:a16="http://schemas.microsoft.com/office/drawing/2014/main" id="{69C08908-8516-3565-D4E4-31757B305B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9345" name="Graphic 9344">
                <a:extLst>
                  <a:ext uri="{FF2B5EF4-FFF2-40B4-BE49-F238E27FC236}">
                    <a16:creationId xmlns:a16="http://schemas.microsoft.com/office/drawing/2014/main" id="{68D4306C-A237-65F1-AEEB-6495F827BF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346" name="Graphic 9345">
                <a:extLst>
                  <a:ext uri="{FF2B5EF4-FFF2-40B4-BE49-F238E27FC236}">
                    <a16:creationId xmlns:a16="http://schemas.microsoft.com/office/drawing/2014/main" id="{D2B46093-4A7D-B996-6B2F-974C480E30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347" name="Graphic 9346">
                <a:extLst>
                  <a:ext uri="{FF2B5EF4-FFF2-40B4-BE49-F238E27FC236}">
                    <a16:creationId xmlns:a16="http://schemas.microsoft.com/office/drawing/2014/main" id="{4091B671-32EA-0D46-EDC3-7E2E32B064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348" name="Graphic 9347">
                <a:extLst>
                  <a:ext uri="{FF2B5EF4-FFF2-40B4-BE49-F238E27FC236}">
                    <a16:creationId xmlns:a16="http://schemas.microsoft.com/office/drawing/2014/main" id="{573ED518-E0BA-2651-8EFC-40DAE7FF10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9349" name="Graphic 9348">
                <a:extLst>
                  <a:ext uri="{FF2B5EF4-FFF2-40B4-BE49-F238E27FC236}">
                    <a16:creationId xmlns:a16="http://schemas.microsoft.com/office/drawing/2014/main" id="{F2B06408-D110-FC91-E2A9-C584DFC82C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9350" name="Graphic 9349">
                <a:extLst>
                  <a:ext uri="{FF2B5EF4-FFF2-40B4-BE49-F238E27FC236}">
                    <a16:creationId xmlns:a16="http://schemas.microsoft.com/office/drawing/2014/main" id="{88E8417B-D921-5B59-2E36-F53AAC0163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351" name="Graphic 9350">
                <a:extLst>
                  <a:ext uri="{FF2B5EF4-FFF2-40B4-BE49-F238E27FC236}">
                    <a16:creationId xmlns:a16="http://schemas.microsoft.com/office/drawing/2014/main" id="{EEEBA781-0537-B0B9-B83D-04406817F2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2805" name="Group 2804">
              <a:extLst>
                <a:ext uri="{FF2B5EF4-FFF2-40B4-BE49-F238E27FC236}">
                  <a16:creationId xmlns:a16="http://schemas.microsoft.com/office/drawing/2014/main" id="{BBC3A2C9-9BDA-6142-D009-17B4072BD958}"/>
                </a:ext>
              </a:extLst>
            </p:cNvPr>
            <p:cNvGrpSpPr/>
            <p:nvPr/>
          </p:nvGrpSpPr>
          <p:grpSpPr>
            <a:xfrm>
              <a:off x="2666427" y="3226435"/>
              <a:ext cx="178020" cy="178020"/>
              <a:chOff x="2898967" y="1781131"/>
              <a:chExt cx="1097280" cy="1097279"/>
            </a:xfrm>
          </p:grpSpPr>
          <p:grpSp>
            <p:nvGrpSpPr>
              <p:cNvPr id="9292" name="Group 9291">
                <a:extLst>
                  <a:ext uri="{FF2B5EF4-FFF2-40B4-BE49-F238E27FC236}">
                    <a16:creationId xmlns:a16="http://schemas.microsoft.com/office/drawing/2014/main" id="{A41805B8-5722-91FC-286B-1075EF6ED6E4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9304" name="Group 9303">
                  <a:extLst>
                    <a:ext uri="{FF2B5EF4-FFF2-40B4-BE49-F238E27FC236}">
                      <a16:creationId xmlns:a16="http://schemas.microsoft.com/office/drawing/2014/main" id="{ADEDBE2B-6E42-2185-6C76-E5143196B0C3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9320" name="Oval 9319">
                    <a:extLst>
                      <a:ext uri="{FF2B5EF4-FFF2-40B4-BE49-F238E27FC236}">
                        <a16:creationId xmlns:a16="http://schemas.microsoft.com/office/drawing/2014/main" id="{E24CA9F8-AB74-EEBA-457F-88A2A53C5691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321" name="Group 9320">
                    <a:extLst>
                      <a:ext uri="{FF2B5EF4-FFF2-40B4-BE49-F238E27FC236}">
                        <a16:creationId xmlns:a16="http://schemas.microsoft.com/office/drawing/2014/main" id="{69E459C6-0313-8498-0B93-576934FA825B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9322" name="Graphic 9321">
                      <a:extLst>
                        <a:ext uri="{FF2B5EF4-FFF2-40B4-BE49-F238E27FC236}">
                          <a16:creationId xmlns:a16="http://schemas.microsoft.com/office/drawing/2014/main" id="{F1AA2FF8-A45B-1030-A412-B55746F0EB1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23" name="Graphic 9322">
                      <a:extLst>
                        <a:ext uri="{FF2B5EF4-FFF2-40B4-BE49-F238E27FC236}">
                          <a16:creationId xmlns:a16="http://schemas.microsoft.com/office/drawing/2014/main" id="{D441F42F-4D1B-41FD-C54A-ACEB9C2DB08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24" name="Graphic 9323">
                      <a:extLst>
                        <a:ext uri="{FF2B5EF4-FFF2-40B4-BE49-F238E27FC236}">
                          <a16:creationId xmlns:a16="http://schemas.microsoft.com/office/drawing/2014/main" id="{093464A9-6FDC-ACF1-EFFB-2FCE8E980EB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25" name="Graphic 9324">
                      <a:extLst>
                        <a:ext uri="{FF2B5EF4-FFF2-40B4-BE49-F238E27FC236}">
                          <a16:creationId xmlns:a16="http://schemas.microsoft.com/office/drawing/2014/main" id="{D34CD17A-F756-6319-6B9A-9F54133A9F7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26" name="Graphic 9325">
                      <a:extLst>
                        <a:ext uri="{FF2B5EF4-FFF2-40B4-BE49-F238E27FC236}">
                          <a16:creationId xmlns:a16="http://schemas.microsoft.com/office/drawing/2014/main" id="{D349F46D-AD67-6F96-F5E0-09F49DEB035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27" name="Graphic 9326">
                      <a:extLst>
                        <a:ext uri="{FF2B5EF4-FFF2-40B4-BE49-F238E27FC236}">
                          <a16:creationId xmlns:a16="http://schemas.microsoft.com/office/drawing/2014/main" id="{3643E86B-74E2-8E73-1C37-5FD497255DF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28" name="Graphic 9327">
                      <a:extLst>
                        <a:ext uri="{FF2B5EF4-FFF2-40B4-BE49-F238E27FC236}">
                          <a16:creationId xmlns:a16="http://schemas.microsoft.com/office/drawing/2014/main" id="{CC7AA457-7510-99A3-5562-C297D16A4CE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29" name="Graphic 9328">
                      <a:extLst>
                        <a:ext uri="{FF2B5EF4-FFF2-40B4-BE49-F238E27FC236}">
                          <a16:creationId xmlns:a16="http://schemas.microsoft.com/office/drawing/2014/main" id="{599066CA-3E35-FD9F-06F3-6F15817BA89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30" name="Graphic 9329">
                      <a:extLst>
                        <a:ext uri="{FF2B5EF4-FFF2-40B4-BE49-F238E27FC236}">
                          <a16:creationId xmlns:a16="http://schemas.microsoft.com/office/drawing/2014/main" id="{79F3FBA3-7107-8132-68D8-B1F4AD93C63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31" name="Graphic 9330">
                      <a:extLst>
                        <a:ext uri="{FF2B5EF4-FFF2-40B4-BE49-F238E27FC236}">
                          <a16:creationId xmlns:a16="http://schemas.microsoft.com/office/drawing/2014/main" id="{76689A88-9455-E755-6E35-312E0F5322C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32" name="Graphic 9331">
                      <a:extLst>
                        <a:ext uri="{FF2B5EF4-FFF2-40B4-BE49-F238E27FC236}">
                          <a16:creationId xmlns:a16="http://schemas.microsoft.com/office/drawing/2014/main" id="{C3CC2905-17C3-AC18-2FDC-2C268DA5E22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33" name="Graphic 9332">
                      <a:extLst>
                        <a:ext uri="{FF2B5EF4-FFF2-40B4-BE49-F238E27FC236}">
                          <a16:creationId xmlns:a16="http://schemas.microsoft.com/office/drawing/2014/main" id="{3AA4CE7C-DBB0-8981-4421-05A3E4EC1EB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34" name="Graphic 9333">
                      <a:extLst>
                        <a:ext uri="{FF2B5EF4-FFF2-40B4-BE49-F238E27FC236}">
                          <a16:creationId xmlns:a16="http://schemas.microsoft.com/office/drawing/2014/main" id="{7A86D750-2445-8408-A688-D77278201BE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35" name="Graphic 9334">
                      <a:extLst>
                        <a:ext uri="{FF2B5EF4-FFF2-40B4-BE49-F238E27FC236}">
                          <a16:creationId xmlns:a16="http://schemas.microsoft.com/office/drawing/2014/main" id="{D2FEFBD4-317E-0BFA-DEE2-5E5CA8226C2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36" name="Graphic 9335">
                      <a:extLst>
                        <a:ext uri="{FF2B5EF4-FFF2-40B4-BE49-F238E27FC236}">
                          <a16:creationId xmlns:a16="http://schemas.microsoft.com/office/drawing/2014/main" id="{61307B2B-4579-DF40-B302-1BB6B76144D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37" name="Graphic 9336">
                      <a:extLst>
                        <a:ext uri="{FF2B5EF4-FFF2-40B4-BE49-F238E27FC236}">
                          <a16:creationId xmlns:a16="http://schemas.microsoft.com/office/drawing/2014/main" id="{CE451C6F-E5C7-2ED9-B76A-893A92BA649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38" name="Graphic 9337">
                      <a:extLst>
                        <a:ext uri="{FF2B5EF4-FFF2-40B4-BE49-F238E27FC236}">
                          <a16:creationId xmlns:a16="http://schemas.microsoft.com/office/drawing/2014/main" id="{48D07CE9-00EC-7DA2-8FDE-93AF7EDF7FA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39" name="Graphic 9338">
                      <a:extLst>
                        <a:ext uri="{FF2B5EF4-FFF2-40B4-BE49-F238E27FC236}">
                          <a16:creationId xmlns:a16="http://schemas.microsoft.com/office/drawing/2014/main" id="{C26BF705-4D90-853B-473D-655E875DCB4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305" name="Graphic 9304">
                  <a:extLst>
                    <a:ext uri="{FF2B5EF4-FFF2-40B4-BE49-F238E27FC236}">
                      <a16:creationId xmlns:a16="http://schemas.microsoft.com/office/drawing/2014/main" id="{80CBFD37-0DD2-E7AD-6479-3DCCBE9E8E9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306" name="Graphic 9305">
                  <a:extLst>
                    <a:ext uri="{FF2B5EF4-FFF2-40B4-BE49-F238E27FC236}">
                      <a16:creationId xmlns:a16="http://schemas.microsoft.com/office/drawing/2014/main" id="{4F5311AE-B006-8650-65EB-80AC7F190F8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307" name="Graphic 9306">
                  <a:extLst>
                    <a:ext uri="{FF2B5EF4-FFF2-40B4-BE49-F238E27FC236}">
                      <a16:creationId xmlns:a16="http://schemas.microsoft.com/office/drawing/2014/main" id="{95D75D55-1387-BA68-66C7-2F6681C847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308" name="Graphic 9307">
                  <a:extLst>
                    <a:ext uri="{FF2B5EF4-FFF2-40B4-BE49-F238E27FC236}">
                      <a16:creationId xmlns:a16="http://schemas.microsoft.com/office/drawing/2014/main" id="{FBD76491-CAAE-D586-7EBC-CC8FF70C6A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09" name="Graphic 9308">
                  <a:extLst>
                    <a:ext uri="{FF2B5EF4-FFF2-40B4-BE49-F238E27FC236}">
                      <a16:creationId xmlns:a16="http://schemas.microsoft.com/office/drawing/2014/main" id="{6B50F825-8910-B27B-D24C-475AA507D5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10" name="Graphic 9309">
                  <a:extLst>
                    <a:ext uri="{FF2B5EF4-FFF2-40B4-BE49-F238E27FC236}">
                      <a16:creationId xmlns:a16="http://schemas.microsoft.com/office/drawing/2014/main" id="{107FFBF7-9A23-233D-1FFC-8D6BB864DE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311" name="Graphic 9310">
                  <a:extLst>
                    <a:ext uri="{FF2B5EF4-FFF2-40B4-BE49-F238E27FC236}">
                      <a16:creationId xmlns:a16="http://schemas.microsoft.com/office/drawing/2014/main" id="{910CEB50-EA75-C7D2-FF5A-C0DE909604A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12" name="Graphic 9311">
                  <a:extLst>
                    <a:ext uri="{FF2B5EF4-FFF2-40B4-BE49-F238E27FC236}">
                      <a16:creationId xmlns:a16="http://schemas.microsoft.com/office/drawing/2014/main" id="{C2A6583A-79ED-B080-F016-1CA4F70726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13" name="Graphic 9312">
                  <a:extLst>
                    <a:ext uri="{FF2B5EF4-FFF2-40B4-BE49-F238E27FC236}">
                      <a16:creationId xmlns:a16="http://schemas.microsoft.com/office/drawing/2014/main" id="{59119CB0-3E6E-242F-2194-E6EAC0D730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9314" name="Graphic 9313">
                  <a:extLst>
                    <a:ext uri="{FF2B5EF4-FFF2-40B4-BE49-F238E27FC236}">
                      <a16:creationId xmlns:a16="http://schemas.microsoft.com/office/drawing/2014/main" id="{DD911D2E-0D73-F59D-3463-FBBD554692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15" name="Graphic 9314">
                  <a:extLst>
                    <a:ext uri="{FF2B5EF4-FFF2-40B4-BE49-F238E27FC236}">
                      <a16:creationId xmlns:a16="http://schemas.microsoft.com/office/drawing/2014/main" id="{1821F5FC-A4CF-619C-2625-EDED35CB30F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16" name="Graphic 9315">
                  <a:extLst>
                    <a:ext uri="{FF2B5EF4-FFF2-40B4-BE49-F238E27FC236}">
                      <a16:creationId xmlns:a16="http://schemas.microsoft.com/office/drawing/2014/main" id="{E2520E37-ED4F-D782-3047-5FA7BB367A6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317" name="Graphic 9316">
                  <a:extLst>
                    <a:ext uri="{FF2B5EF4-FFF2-40B4-BE49-F238E27FC236}">
                      <a16:creationId xmlns:a16="http://schemas.microsoft.com/office/drawing/2014/main" id="{0BBB2D28-28DB-5E10-416B-5BF91F1792C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18" name="Graphic 9317">
                  <a:extLst>
                    <a:ext uri="{FF2B5EF4-FFF2-40B4-BE49-F238E27FC236}">
                      <a16:creationId xmlns:a16="http://schemas.microsoft.com/office/drawing/2014/main" id="{B7DD22E7-6E1D-24A9-F953-83303F6662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19" name="Graphic 9318">
                  <a:extLst>
                    <a:ext uri="{FF2B5EF4-FFF2-40B4-BE49-F238E27FC236}">
                      <a16:creationId xmlns:a16="http://schemas.microsoft.com/office/drawing/2014/main" id="{7C98C1C6-A78D-5151-B4A0-C8F080518E1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9293" name="Graphic 9292">
                <a:extLst>
                  <a:ext uri="{FF2B5EF4-FFF2-40B4-BE49-F238E27FC236}">
                    <a16:creationId xmlns:a16="http://schemas.microsoft.com/office/drawing/2014/main" id="{78537215-CB57-80FC-E20F-4A1DB00097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294" name="Graphic 9293">
                <a:extLst>
                  <a:ext uri="{FF2B5EF4-FFF2-40B4-BE49-F238E27FC236}">
                    <a16:creationId xmlns:a16="http://schemas.microsoft.com/office/drawing/2014/main" id="{E8A3B8E4-3041-72E6-3CF4-F1B8135192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295" name="Graphic 9294">
                <a:extLst>
                  <a:ext uri="{FF2B5EF4-FFF2-40B4-BE49-F238E27FC236}">
                    <a16:creationId xmlns:a16="http://schemas.microsoft.com/office/drawing/2014/main" id="{2395982D-A330-A048-134F-B2721B4D6C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9296" name="Graphic 9295">
                <a:extLst>
                  <a:ext uri="{FF2B5EF4-FFF2-40B4-BE49-F238E27FC236}">
                    <a16:creationId xmlns:a16="http://schemas.microsoft.com/office/drawing/2014/main" id="{6D87E7E4-FC69-D9A8-97F1-4E83A22AB0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9297" name="Graphic 9296">
                <a:extLst>
                  <a:ext uri="{FF2B5EF4-FFF2-40B4-BE49-F238E27FC236}">
                    <a16:creationId xmlns:a16="http://schemas.microsoft.com/office/drawing/2014/main" id="{F21ED19D-EC57-2CAC-6F8D-AC33C0009B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298" name="Graphic 9297">
                <a:extLst>
                  <a:ext uri="{FF2B5EF4-FFF2-40B4-BE49-F238E27FC236}">
                    <a16:creationId xmlns:a16="http://schemas.microsoft.com/office/drawing/2014/main" id="{7E364889-8523-8C73-3F6D-E9DE4EFF6F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299" name="Graphic 9298">
                <a:extLst>
                  <a:ext uri="{FF2B5EF4-FFF2-40B4-BE49-F238E27FC236}">
                    <a16:creationId xmlns:a16="http://schemas.microsoft.com/office/drawing/2014/main" id="{CE9DB8AB-6834-8E83-249A-5A6311FF0F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300" name="Graphic 9299">
                <a:extLst>
                  <a:ext uri="{FF2B5EF4-FFF2-40B4-BE49-F238E27FC236}">
                    <a16:creationId xmlns:a16="http://schemas.microsoft.com/office/drawing/2014/main" id="{09744BD5-68B8-CBF9-5F20-C307087800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9301" name="Graphic 9300">
                <a:extLst>
                  <a:ext uri="{FF2B5EF4-FFF2-40B4-BE49-F238E27FC236}">
                    <a16:creationId xmlns:a16="http://schemas.microsoft.com/office/drawing/2014/main" id="{6E75D38B-45BA-BE69-E2B6-1F807B7800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9302" name="Graphic 9301">
                <a:extLst>
                  <a:ext uri="{FF2B5EF4-FFF2-40B4-BE49-F238E27FC236}">
                    <a16:creationId xmlns:a16="http://schemas.microsoft.com/office/drawing/2014/main" id="{43C48EA6-F530-67D9-B537-7F7DD1DAEE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303" name="Graphic 9302">
                <a:extLst>
                  <a:ext uri="{FF2B5EF4-FFF2-40B4-BE49-F238E27FC236}">
                    <a16:creationId xmlns:a16="http://schemas.microsoft.com/office/drawing/2014/main" id="{677EB15C-68D0-C7A4-9F71-5D89615C44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2806" name="Group 2805">
              <a:extLst>
                <a:ext uri="{FF2B5EF4-FFF2-40B4-BE49-F238E27FC236}">
                  <a16:creationId xmlns:a16="http://schemas.microsoft.com/office/drawing/2014/main" id="{A6D0775B-B954-AB01-526C-5B198CE18207}"/>
                </a:ext>
              </a:extLst>
            </p:cNvPr>
            <p:cNvGrpSpPr/>
            <p:nvPr/>
          </p:nvGrpSpPr>
          <p:grpSpPr>
            <a:xfrm>
              <a:off x="1798892" y="3559489"/>
              <a:ext cx="178020" cy="178020"/>
              <a:chOff x="2898967" y="1781131"/>
              <a:chExt cx="1097280" cy="1097279"/>
            </a:xfrm>
          </p:grpSpPr>
          <p:grpSp>
            <p:nvGrpSpPr>
              <p:cNvPr id="9244" name="Group 9243">
                <a:extLst>
                  <a:ext uri="{FF2B5EF4-FFF2-40B4-BE49-F238E27FC236}">
                    <a16:creationId xmlns:a16="http://schemas.microsoft.com/office/drawing/2014/main" id="{70EBB6D8-8FD5-FF02-F607-EACC4A5B689A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9256" name="Group 9255">
                  <a:extLst>
                    <a:ext uri="{FF2B5EF4-FFF2-40B4-BE49-F238E27FC236}">
                      <a16:creationId xmlns:a16="http://schemas.microsoft.com/office/drawing/2014/main" id="{91C5A593-3918-70CF-CF0B-F31D6421D2B1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9272" name="Oval 9271">
                    <a:extLst>
                      <a:ext uri="{FF2B5EF4-FFF2-40B4-BE49-F238E27FC236}">
                        <a16:creationId xmlns:a16="http://schemas.microsoft.com/office/drawing/2014/main" id="{0A81787B-2B40-59B4-4DB2-C06FBF2A04C3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273" name="Group 9272">
                    <a:extLst>
                      <a:ext uri="{FF2B5EF4-FFF2-40B4-BE49-F238E27FC236}">
                        <a16:creationId xmlns:a16="http://schemas.microsoft.com/office/drawing/2014/main" id="{DB321E21-EE05-EFA4-E9AC-77B273DE0460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9274" name="Graphic 9273">
                      <a:extLst>
                        <a:ext uri="{FF2B5EF4-FFF2-40B4-BE49-F238E27FC236}">
                          <a16:creationId xmlns:a16="http://schemas.microsoft.com/office/drawing/2014/main" id="{B61B7B58-69F4-FAB1-6BDB-8A87C3F6234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75" name="Graphic 9274">
                      <a:extLst>
                        <a:ext uri="{FF2B5EF4-FFF2-40B4-BE49-F238E27FC236}">
                          <a16:creationId xmlns:a16="http://schemas.microsoft.com/office/drawing/2014/main" id="{3FF796E6-4BE2-09CA-906B-25BE9BEC5CE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76" name="Graphic 9275">
                      <a:extLst>
                        <a:ext uri="{FF2B5EF4-FFF2-40B4-BE49-F238E27FC236}">
                          <a16:creationId xmlns:a16="http://schemas.microsoft.com/office/drawing/2014/main" id="{2937CF46-6454-A0D9-42E8-E6FE8B4CDBF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77" name="Graphic 9276">
                      <a:extLst>
                        <a:ext uri="{FF2B5EF4-FFF2-40B4-BE49-F238E27FC236}">
                          <a16:creationId xmlns:a16="http://schemas.microsoft.com/office/drawing/2014/main" id="{670C7F8E-2D2F-F49F-5FF0-5E57F9F6C78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78" name="Graphic 9277">
                      <a:extLst>
                        <a:ext uri="{FF2B5EF4-FFF2-40B4-BE49-F238E27FC236}">
                          <a16:creationId xmlns:a16="http://schemas.microsoft.com/office/drawing/2014/main" id="{1212B1D3-3284-2A5E-A4E3-73A75470535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79" name="Graphic 9278">
                      <a:extLst>
                        <a:ext uri="{FF2B5EF4-FFF2-40B4-BE49-F238E27FC236}">
                          <a16:creationId xmlns:a16="http://schemas.microsoft.com/office/drawing/2014/main" id="{50DC6DA3-55D6-85EA-49B1-FBE3BF81B8E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80" name="Graphic 9279">
                      <a:extLst>
                        <a:ext uri="{FF2B5EF4-FFF2-40B4-BE49-F238E27FC236}">
                          <a16:creationId xmlns:a16="http://schemas.microsoft.com/office/drawing/2014/main" id="{58F3C385-4946-5B19-1058-667BFC79F85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81" name="Graphic 9280">
                      <a:extLst>
                        <a:ext uri="{FF2B5EF4-FFF2-40B4-BE49-F238E27FC236}">
                          <a16:creationId xmlns:a16="http://schemas.microsoft.com/office/drawing/2014/main" id="{D7B5178C-B718-300E-3DC1-FE6720CEB1D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82" name="Graphic 9281">
                      <a:extLst>
                        <a:ext uri="{FF2B5EF4-FFF2-40B4-BE49-F238E27FC236}">
                          <a16:creationId xmlns:a16="http://schemas.microsoft.com/office/drawing/2014/main" id="{3B5F0829-B042-10BD-EE61-EC31C530059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83" name="Graphic 9282">
                      <a:extLst>
                        <a:ext uri="{FF2B5EF4-FFF2-40B4-BE49-F238E27FC236}">
                          <a16:creationId xmlns:a16="http://schemas.microsoft.com/office/drawing/2014/main" id="{C008E6AB-797D-E7F3-6A75-8D373C8DFDF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84" name="Graphic 9283">
                      <a:extLst>
                        <a:ext uri="{FF2B5EF4-FFF2-40B4-BE49-F238E27FC236}">
                          <a16:creationId xmlns:a16="http://schemas.microsoft.com/office/drawing/2014/main" id="{72B2AEFA-4D8A-2016-7615-87BA3F95612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85" name="Graphic 9284">
                      <a:extLst>
                        <a:ext uri="{FF2B5EF4-FFF2-40B4-BE49-F238E27FC236}">
                          <a16:creationId xmlns:a16="http://schemas.microsoft.com/office/drawing/2014/main" id="{56341122-DDBD-293D-9283-28BCBBB5833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86" name="Graphic 9285">
                      <a:extLst>
                        <a:ext uri="{FF2B5EF4-FFF2-40B4-BE49-F238E27FC236}">
                          <a16:creationId xmlns:a16="http://schemas.microsoft.com/office/drawing/2014/main" id="{2DF58B08-23BA-6E7C-CBFE-326EE5A3419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87" name="Graphic 9286">
                      <a:extLst>
                        <a:ext uri="{FF2B5EF4-FFF2-40B4-BE49-F238E27FC236}">
                          <a16:creationId xmlns:a16="http://schemas.microsoft.com/office/drawing/2014/main" id="{E7E3C9FE-6426-EE24-9A21-D2A3D78F24F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88" name="Graphic 9287">
                      <a:extLst>
                        <a:ext uri="{FF2B5EF4-FFF2-40B4-BE49-F238E27FC236}">
                          <a16:creationId xmlns:a16="http://schemas.microsoft.com/office/drawing/2014/main" id="{3303A135-C8DE-E1F1-DA53-5DA0E3C6749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89" name="Graphic 9288">
                      <a:extLst>
                        <a:ext uri="{FF2B5EF4-FFF2-40B4-BE49-F238E27FC236}">
                          <a16:creationId xmlns:a16="http://schemas.microsoft.com/office/drawing/2014/main" id="{208748D4-FC6B-6DFD-C6D6-9D514D4533A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90" name="Graphic 9289">
                      <a:extLst>
                        <a:ext uri="{FF2B5EF4-FFF2-40B4-BE49-F238E27FC236}">
                          <a16:creationId xmlns:a16="http://schemas.microsoft.com/office/drawing/2014/main" id="{182931A9-7CF2-40F1-717D-568143F18B6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91" name="Graphic 9290">
                      <a:extLst>
                        <a:ext uri="{FF2B5EF4-FFF2-40B4-BE49-F238E27FC236}">
                          <a16:creationId xmlns:a16="http://schemas.microsoft.com/office/drawing/2014/main" id="{A489667F-712C-6D21-03BD-4655720916D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257" name="Graphic 9256">
                  <a:extLst>
                    <a:ext uri="{FF2B5EF4-FFF2-40B4-BE49-F238E27FC236}">
                      <a16:creationId xmlns:a16="http://schemas.microsoft.com/office/drawing/2014/main" id="{46872D0C-D6F0-EB8B-F410-5AE75D9D1A5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258" name="Graphic 9257">
                  <a:extLst>
                    <a:ext uri="{FF2B5EF4-FFF2-40B4-BE49-F238E27FC236}">
                      <a16:creationId xmlns:a16="http://schemas.microsoft.com/office/drawing/2014/main" id="{EB4D6797-B496-4B62-7DAE-8B721FC052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259" name="Graphic 9258">
                  <a:extLst>
                    <a:ext uri="{FF2B5EF4-FFF2-40B4-BE49-F238E27FC236}">
                      <a16:creationId xmlns:a16="http://schemas.microsoft.com/office/drawing/2014/main" id="{C9E268CA-6754-152D-9FD7-FF6CD71F04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260" name="Graphic 9259">
                  <a:extLst>
                    <a:ext uri="{FF2B5EF4-FFF2-40B4-BE49-F238E27FC236}">
                      <a16:creationId xmlns:a16="http://schemas.microsoft.com/office/drawing/2014/main" id="{250A74B8-280D-0969-AC1B-DED8A38EE15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61" name="Graphic 9260">
                  <a:extLst>
                    <a:ext uri="{FF2B5EF4-FFF2-40B4-BE49-F238E27FC236}">
                      <a16:creationId xmlns:a16="http://schemas.microsoft.com/office/drawing/2014/main" id="{1DCFABC6-DF26-983A-E07A-2367C6E08CA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62" name="Graphic 9261">
                  <a:extLst>
                    <a:ext uri="{FF2B5EF4-FFF2-40B4-BE49-F238E27FC236}">
                      <a16:creationId xmlns:a16="http://schemas.microsoft.com/office/drawing/2014/main" id="{780E94EF-1950-E205-D690-080A2995322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263" name="Graphic 9262">
                  <a:extLst>
                    <a:ext uri="{FF2B5EF4-FFF2-40B4-BE49-F238E27FC236}">
                      <a16:creationId xmlns:a16="http://schemas.microsoft.com/office/drawing/2014/main" id="{D873FCF2-114D-7AC4-FA71-52DCF612E8E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64" name="Graphic 9263">
                  <a:extLst>
                    <a:ext uri="{FF2B5EF4-FFF2-40B4-BE49-F238E27FC236}">
                      <a16:creationId xmlns:a16="http://schemas.microsoft.com/office/drawing/2014/main" id="{C823B0E9-231D-C9FB-BC21-CF395E6B2C9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65" name="Graphic 9264">
                  <a:extLst>
                    <a:ext uri="{FF2B5EF4-FFF2-40B4-BE49-F238E27FC236}">
                      <a16:creationId xmlns:a16="http://schemas.microsoft.com/office/drawing/2014/main" id="{77D93F2B-E918-8C0A-0BDE-FBB347F762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9266" name="Graphic 9265">
                  <a:extLst>
                    <a:ext uri="{FF2B5EF4-FFF2-40B4-BE49-F238E27FC236}">
                      <a16:creationId xmlns:a16="http://schemas.microsoft.com/office/drawing/2014/main" id="{1354AC98-13A5-1AC5-2B74-18B12E43DDD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67" name="Graphic 9266">
                  <a:extLst>
                    <a:ext uri="{FF2B5EF4-FFF2-40B4-BE49-F238E27FC236}">
                      <a16:creationId xmlns:a16="http://schemas.microsoft.com/office/drawing/2014/main" id="{CCFE4855-B3BE-F8BF-49D9-A94966A5D1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68" name="Graphic 9267">
                  <a:extLst>
                    <a:ext uri="{FF2B5EF4-FFF2-40B4-BE49-F238E27FC236}">
                      <a16:creationId xmlns:a16="http://schemas.microsoft.com/office/drawing/2014/main" id="{8291F76C-3555-5B55-293D-6B77EDAD6BD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269" name="Graphic 9268">
                  <a:extLst>
                    <a:ext uri="{FF2B5EF4-FFF2-40B4-BE49-F238E27FC236}">
                      <a16:creationId xmlns:a16="http://schemas.microsoft.com/office/drawing/2014/main" id="{6116A09C-AFC2-B372-290A-22D1EC579B1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70" name="Graphic 9269">
                  <a:extLst>
                    <a:ext uri="{FF2B5EF4-FFF2-40B4-BE49-F238E27FC236}">
                      <a16:creationId xmlns:a16="http://schemas.microsoft.com/office/drawing/2014/main" id="{245DE482-3C41-2E3A-C69D-18ADA21E56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71" name="Graphic 9270">
                  <a:extLst>
                    <a:ext uri="{FF2B5EF4-FFF2-40B4-BE49-F238E27FC236}">
                      <a16:creationId xmlns:a16="http://schemas.microsoft.com/office/drawing/2014/main" id="{43351E8E-26D2-703C-681D-9798D7A5A2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9245" name="Graphic 9244">
                <a:extLst>
                  <a:ext uri="{FF2B5EF4-FFF2-40B4-BE49-F238E27FC236}">
                    <a16:creationId xmlns:a16="http://schemas.microsoft.com/office/drawing/2014/main" id="{581AAAC4-3B51-14F7-C307-1FEE54D7F9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246" name="Graphic 9245">
                <a:extLst>
                  <a:ext uri="{FF2B5EF4-FFF2-40B4-BE49-F238E27FC236}">
                    <a16:creationId xmlns:a16="http://schemas.microsoft.com/office/drawing/2014/main" id="{B567068D-BECA-0764-DCD6-DBD80AD93C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247" name="Graphic 9246">
                <a:extLst>
                  <a:ext uri="{FF2B5EF4-FFF2-40B4-BE49-F238E27FC236}">
                    <a16:creationId xmlns:a16="http://schemas.microsoft.com/office/drawing/2014/main" id="{65312618-625C-049B-6D76-5EE6A15338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9248" name="Graphic 9247">
                <a:extLst>
                  <a:ext uri="{FF2B5EF4-FFF2-40B4-BE49-F238E27FC236}">
                    <a16:creationId xmlns:a16="http://schemas.microsoft.com/office/drawing/2014/main" id="{D0ADAB56-58BD-014A-702C-248F4B3504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9249" name="Graphic 9248">
                <a:extLst>
                  <a:ext uri="{FF2B5EF4-FFF2-40B4-BE49-F238E27FC236}">
                    <a16:creationId xmlns:a16="http://schemas.microsoft.com/office/drawing/2014/main" id="{33AFE663-07A8-603A-2FDD-66A548BA82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250" name="Graphic 9249">
                <a:extLst>
                  <a:ext uri="{FF2B5EF4-FFF2-40B4-BE49-F238E27FC236}">
                    <a16:creationId xmlns:a16="http://schemas.microsoft.com/office/drawing/2014/main" id="{358B1875-99FC-61F5-A062-1583AD9E52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251" name="Graphic 9250">
                <a:extLst>
                  <a:ext uri="{FF2B5EF4-FFF2-40B4-BE49-F238E27FC236}">
                    <a16:creationId xmlns:a16="http://schemas.microsoft.com/office/drawing/2014/main" id="{F62DA203-CB64-50A3-C7DC-24AE5A5D32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252" name="Graphic 9251">
                <a:extLst>
                  <a:ext uri="{FF2B5EF4-FFF2-40B4-BE49-F238E27FC236}">
                    <a16:creationId xmlns:a16="http://schemas.microsoft.com/office/drawing/2014/main" id="{C13EC90E-FA33-8A38-68CC-992BF3F2F2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9253" name="Graphic 9252">
                <a:extLst>
                  <a:ext uri="{FF2B5EF4-FFF2-40B4-BE49-F238E27FC236}">
                    <a16:creationId xmlns:a16="http://schemas.microsoft.com/office/drawing/2014/main" id="{7AE5BAB7-3197-6CAF-181F-B50B3BD37F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9254" name="Graphic 9253">
                <a:extLst>
                  <a:ext uri="{FF2B5EF4-FFF2-40B4-BE49-F238E27FC236}">
                    <a16:creationId xmlns:a16="http://schemas.microsoft.com/office/drawing/2014/main" id="{66280F7E-9D28-5E93-DD50-CDCFC0EBDE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255" name="Graphic 9254">
                <a:extLst>
                  <a:ext uri="{FF2B5EF4-FFF2-40B4-BE49-F238E27FC236}">
                    <a16:creationId xmlns:a16="http://schemas.microsoft.com/office/drawing/2014/main" id="{8D55503D-FB29-BD4B-F341-274E5AED73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2807" name="Group 2806">
              <a:extLst>
                <a:ext uri="{FF2B5EF4-FFF2-40B4-BE49-F238E27FC236}">
                  <a16:creationId xmlns:a16="http://schemas.microsoft.com/office/drawing/2014/main" id="{C4E38F2E-51A5-5B19-BB9F-639DD63F7D7E}"/>
                </a:ext>
              </a:extLst>
            </p:cNvPr>
            <p:cNvGrpSpPr/>
            <p:nvPr/>
          </p:nvGrpSpPr>
          <p:grpSpPr>
            <a:xfrm>
              <a:off x="999165" y="4165766"/>
              <a:ext cx="178020" cy="178020"/>
              <a:chOff x="2898967" y="1781131"/>
              <a:chExt cx="1097280" cy="1097279"/>
            </a:xfrm>
          </p:grpSpPr>
          <p:grpSp>
            <p:nvGrpSpPr>
              <p:cNvPr id="9196" name="Group 9195">
                <a:extLst>
                  <a:ext uri="{FF2B5EF4-FFF2-40B4-BE49-F238E27FC236}">
                    <a16:creationId xmlns:a16="http://schemas.microsoft.com/office/drawing/2014/main" id="{2D926B65-F3AC-B4BD-96B4-E937DB2BBE9A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9208" name="Group 9207">
                  <a:extLst>
                    <a:ext uri="{FF2B5EF4-FFF2-40B4-BE49-F238E27FC236}">
                      <a16:creationId xmlns:a16="http://schemas.microsoft.com/office/drawing/2014/main" id="{6B1C149B-4965-73F5-F8CD-DAFD10125AE4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9224" name="Oval 9223">
                    <a:extLst>
                      <a:ext uri="{FF2B5EF4-FFF2-40B4-BE49-F238E27FC236}">
                        <a16:creationId xmlns:a16="http://schemas.microsoft.com/office/drawing/2014/main" id="{94F27134-6279-22DC-B1D9-618D5589106C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225" name="Group 9224">
                    <a:extLst>
                      <a:ext uri="{FF2B5EF4-FFF2-40B4-BE49-F238E27FC236}">
                        <a16:creationId xmlns:a16="http://schemas.microsoft.com/office/drawing/2014/main" id="{44712C5C-4E3B-ABEA-5856-0654E5783813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9226" name="Graphic 9225">
                      <a:extLst>
                        <a:ext uri="{FF2B5EF4-FFF2-40B4-BE49-F238E27FC236}">
                          <a16:creationId xmlns:a16="http://schemas.microsoft.com/office/drawing/2014/main" id="{C7A8A624-3621-7BBD-BB6F-EC3D274B2A1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27" name="Graphic 9226">
                      <a:extLst>
                        <a:ext uri="{FF2B5EF4-FFF2-40B4-BE49-F238E27FC236}">
                          <a16:creationId xmlns:a16="http://schemas.microsoft.com/office/drawing/2014/main" id="{3C4E238B-FB4E-D70E-4AA6-BB00D30A27C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28" name="Graphic 9227">
                      <a:extLst>
                        <a:ext uri="{FF2B5EF4-FFF2-40B4-BE49-F238E27FC236}">
                          <a16:creationId xmlns:a16="http://schemas.microsoft.com/office/drawing/2014/main" id="{B7C6119E-5E4C-EE35-776E-0CAA69C2EDD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29" name="Graphic 9228">
                      <a:extLst>
                        <a:ext uri="{FF2B5EF4-FFF2-40B4-BE49-F238E27FC236}">
                          <a16:creationId xmlns:a16="http://schemas.microsoft.com/office/drawing/2014/main" id="{DC6982F6-5626-6531-341A-FDD759F4A54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30" name="Graphic 9229">
                      <a:extLst>
                        <a:ext uri="{FF2B5EF4-FFF2-40B4-BE49-F238E27FC236}">
                          <a16:creationId xmlns:a16="http://schemas.microsoft.com/office/drawing/2014/main" id="{45B3A976-7DAD-7AB6-D08E-D0BEA975D42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31" name="Graphic 9230">
                      <a:extLst>
                        <a:ext uri="{FF2B5EF4-FFF2-40B4-BE49-F238E27FC236}">
                          <a16:creationId xmlns:a16="http://schemas.microsoft.com/office/drawing/2014/main" id="{53F6945D-E0DF-12F0-E7BB-1195E15EAD9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32" name="Graphic 9231">
                      <a:extLst>
                        <a:ext uri="{FF2B5EF4-FFF2-40B4-BE49-F238E27FC236}">
                          <a16:creationId xmlns:a16="http://schemas.microsoft.com/office/drawing/2014/main" id="{ACE270D7-B2F9-0BA9-97D5-C014150209D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33" name="Graphic 9232">
                      <a:extLst>
                        <a:ext uri="{FF2B5EF4-FFF2-40B4-BE49-F238E27FC236}">
                          <a16:creationId xmlns:a16="http://schemas.microsoft.com/office/drawing/2014/main" id="{7D4D5B29-07F5-DFC5-507A-5462A4DB3C8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34" name="Graphic 9233">
                      <a:extLst>
                        <a:ext uri="{FF2B5EF4-FFF2-40B4-BE49-F238E27FC236}">
                          <a16:creationId xmlns:a16="http://schemas.microsoft.com/office/drawing/2014/main" id="{724F0781-5EEF-5FDD-80FD-486295E0969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35" name="Graphic 9234">
                      <a:extLst>
                        <a:ext uri="{FF2B5EF4-FFF2-40B4-BE49-F238E27FC236}">
                          <a16:creationId xmlns:a16="http://schemas.microsoft.com/office/drawing/2014/main" id="{2D60B6EF-EEA8-4382-471E-C40D33ED3D4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36" name="Graphic 9235">
                      <a:extLst>
                        <a:ext uri="{FF2B5EF4-FFF2-40B4-BE49-F238E27FC236}">
                          <a16:creationId xmlns:a16="http://schemas.microsoft.com/office/drawing/2014/main" id="{401738A7-BED3-1525-FE24-E389F16ECF1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37" name="Graphic 9236">
                      <a:extLst>
                        <a:ext uri="{FF2B5EF4-FFF2-40B4-BE49-F238E27FC236}">
                          <a16:creationId xmlns:a16="http://schemas.microsoft.com/office/drawing/2014/main" id="{504E9D18-AE8D-D715-0AE2-FCBC22519B8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38" name="Graphic 9237">
                      <a:extLst>
                        <a:ext uri="{FF2B5EF4-FFF2-40B4-BE49-F238E27FC236}">
                          <a16:creationId xmlns:a16="http://schemas.microsoft.com/office/drawing/2014/main" id="{F33C44A3-0338-E4CC-5CE0-07C1F1E36D3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39" name="Graphic 9238">
                      <a:extLst>
                        <a:ext uri="{FF2B5EF4-FFF2-40B4-BE49-F238E27FC236}">
                          <a16:creationId xmlns:a16="http://schemas.microsoft.com/office/drawing/2014/main" id="{1C11301C-66EA-16FC-AAAC-89E6C37F348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40" name="Graphic 9239">
                      <a:extLst>
                        <a:ext uri="{FF2B5EF4-FFF2-40B4-BE49-F238E27FC236}">
                          <a16:creationId xmlns:a16="http://schemas.microsoft.com/office/drawing/2014/main" id="{DB52112F-CB77-3A41-AD7D-612D73BAF65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41" name="Graphic 9240">
                      <a:extLst>
                        <a:ext uri="{FF2B5EF4-FFF2-40B4-BE49-F238E27FC236}">
                          <a16:creationId xmlns:a16="http://schemas.microsoft.com/office/drawing/2014/main" id="{B5B71D3C-B806-744A-3D2B-21A37A61BED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42" name="Graphic 9241">
                      <a:extLst>
                        <a:ext uri="{FF2B5EF4-FFF2-40B4-BE49-F238E27FC236}">
                          <a16:creationId xmlns:a16="http://schemas.microsoft.com/office/drawing/2014/main" id="{FFC9FCD1-A5EF-7F9D-9903-7FDE8D30275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43" name="Graphic 9242">
                      <a:extLst>
                        <a:ext uri="{FF2B5EF4-FFF2-40B4-BE49-F238E27FC236}">
                          <a16:creationId xmlns:a16="http://schemas.microsoft.com/office/drawing/2014/main" id="{DF625637-D834-E274-6561-BFABD05595E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209" name="Graphic 9208">
                  <a:extLst>
                    <a:ext uri="{FF2B5EF4-FFF2-40B4-BE49-F238E27FC236}">
                      <a16:creationId xmlns:a16="http://schemas.microsoft.com/office/drawing/2014/main" id="{B43C2C5E-07D7-F525-28DA-5F3A1F8FB4E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210" name="Graphic 9209">
                  <a:extLst>
                    <a:ext uri="{FF2B5EF4-FFF2-40B4-BE49-F238E27FC236}">
                      <a16:creationId xmlns:a16="http://schemas.microsoft.com/office/drawing/2014/main" id="{5A28EC7C-8345-9397-C2E7-30E9829CF55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211" name="Graphic 9210">
                  <a:extLst>
                    <a:ext uri="{FF2B5EF4-FFF2-40B4-BE49-F238E27FC236}">
                      <a16:creationId xmlns:a16="http://schemas.microsoft.com/office/drawing/2014/main" id="{C075EF0A-AC9A-13F2-28FC-B7F59AD9121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212" name="Graphic 9211">
                  <a:extLst>
                    <a:ext uri="{FF2B5EF4-FFF2-40B4-BE49-F238E27FC236}">
                      <a16:creationId xmlns:a16="http://schemas.microsoft.com/office/drawing/2014/main" id="{4D4B10C5-ECA6-3828-E4EC-B1DC682E183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13" name="Graphic 9212">
                  <a:extLst>
                    <a:ext uri="{FF2B5EF4-FFF2-40B4-BE49-F238E27FC236}">
                      <a16:creationId xmlns:a16="http://schemas.microsoft.com/office/drawing/2014/main" id="{8120332E-0E98-0304-81E2-1C012BBDC0B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14" name="Graphic 9213">
                  <a:extLst>
                    <a:ext uri="{FF2B5EF4-FFF2-40B4-BE49-F238E27FC236}">
                      <a16:creationId xmlns:a16="http://schemas.microsoft.com/office/drawing/2014/main" id="{680D5046-7E42-F9BD-D13F-7D11FAF6F19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215" name="Graphic 9214">
                  <a:extLst>
                    <a:ext uri="{FF2B5EF4-FFF2-40B4-BE49-F238E27FC236}">
                      <a16:creationId xmlns:a16="http://schemas.microsoft.com/office/drawing/2014/main" id="{23B3E340-B3FA-0B83-D6C6-FDC852C3F5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16" name="Graphic 9215">
                  <a:extLst>
                    <a:ext uri="{FF2B5EF4-FFF2-40B4-BE49-F238E27FC236}">
                      <a16:creationId xmlns:a16="http://schemas.microsoft.com/office/drawing/2014/main" id="{442E10B5-819C-35A5-8DDC-7AA8CA2DE9D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17" name="Graphic 9216">
                  <a:extLst>
                    <a:ext uri="{FF2B5EF4-FFF2-40B4-BE49-F238E27FC236}">
                      <a16:creationId xmlns:a16="http://schemas.microsoft.com/office/drawing/2014/main" id="{30C56CA6-3F4C-1F01-CF98-7D09E7EAB34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9218" name="Graphic 9217">
                  <a:extLst>
                    <a:ext uri="{FF2B5EF4-FFF2-40B4-BE49-F238E27FC236}">
                      <a16:creationId xmlns:a16="http://schemas.microsoft.com/office/drawing/2014/main" id="{6F707826-DC6B-4A71-9F4E-6BA602FD75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19" name="Graphic 9218">
                  <a:extLst>
                    <a:ext uri="{FF2B5EF4-FFF2-40B4-BE49-F238E27FC236}">
                      <a16:creationId xmlns:a16="http://schemas.microsoft.com/office/drawing/2014/main" id="{03FEA348-E128-C0E1-58C2-D29D3CAD3CF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20" name="Graphic 9219">
                  <a:extLst>
                    <a:ext uri="{FF2B5EF4-FFF2-40B4-BE49-F238E27FC236}">
                      <a16:creationId xmlns:a16="http://schemas.microsoft.com/office/drawing/2014/main" id="{5FEED6AC-9EEA-8090-BF99-C11CB81A90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221" name="Graphic 9220">
                  <a:extLst>
                    <a:ext uri="{FF2B5EF4-FFF2-40B4-BE49-F238E27FC236}">
                      <a16:creationId xmlns:a16="http://schemas.microsoft.com/office/drawing/2014/main" id="{CD1C12BB-BAF6-742A-9FF7-128FF80813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22" name="Graphic 9221">
                  <a:extLst>
                    <a:ext uri="{FF2B5EF4-FFF2-40B4-BE49-F238E27FC236}">
                      <a16:creationId xmlns:a16="http://schemas.microsoft.com/office/drawing/2014/main" id="{CA2BF9C7-3465-2CF4-D7B4-939B7C38D3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23" name="Graphic 9222">
                  <a:extLst>
                    <a:ext uri="{FF2B5EF4-FFF2-40B4-BE49-F238E27FC236}">
                      <a16:creationId xmlns:a16="http://schemas.microsoft.com/office/drawing/2014/main" id="{557AB5DD-4768-84E1-7E77-DF5ABA84892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9197" name="Graphic 9196">
                <a:extLst>
                  <a:ext uri="{FF2B5EF4-FFF2-40B4-BE49-F238E27FC236}">
                    <a16:creationId xmlns:a16="http://schemas.microsoft.com/office/drawing/2014/main" id="{AC6709E1-67E6-4C33-F6F9-28A315BA9A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98" name="Graphic 9197">
                <a:extLst>
                  <a:ext uri="{FF2B5EF4-FFF2-40B4-BE49-F238E27FC236}">
                    <a16:creationId xmlns:a16="http://schemas.microsoft.com/office/drawing/2014/main" id="{4993155A-EF4C-7736-FFAF-4AED78E6B9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99" name="Graphic 9198">
                <a:extLst>
                  <a:ext uri="{FF2B5EF4-FFF2-40B4-BE49-F238E27FC236}">
                    <a16:creationId xmlns:a16="http://schemas.microsoft.com/office/drawing/2014/main" id="{7CD2741F-649B-C31F-C668-1122904408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9200" name="Graphic 9199">
                <a:extLst>
                  <a:ext uri="{FF2B5EF4-FFF2-40B4-BE49-F238E27FC236}">
                    <a16:creationId xmlns:a16="http://schemas.microsoft.com/office/drawing/2014/main" id="{C84906A7-4B1E-CAA8-02AF-384471735E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9201" name="Graphic 9200">
                <a:extLst>
                  <a:ext uri="{FF2B5EF4-FFF2-40B4-BE49-F238E27FC236}">
                    <a16:creationId xmlns:a16="http://schemas.microsoft.com/office/drawing/2014/main" id="{344CBAF7-6325-048B-22F0-56F4EF81F4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202" name="Graphic 9201">
                <a:extLst>
                  <a:ext uri="{FF2B5EF4-FFF2-40B4-BE49-F238E27FC236}">
                    <a16:creationId xmlns:a16="http://schemas.microsoft.com/office/drawing/2014/main" id="{2637D5B3-544A-58DD-3FCF-12C9A88805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203" name="Graphic 9202">
                <a:extLst>
                  <a:ext uri="{FF2B5EF4-FFF2-40B4-BE49-F238E27FC236}">
                    <a16:creationId xmlns:a16="http://schemas.microsoft.com/office/drawing/2014/main" id="{861798DE-AE22-CB45-59A3-F49CBAECDF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204" name="Graphic 9203">
                <a:extLst>
                  <a:ext uri="{FF2B5EF4-FFF2-40B4-BE49-F238E27FC236}">
                    <a16:creationId xmlns:a16="http://schemas.microsoft.com/office/drawing/2014/main" id="{44640414-307E-D677-54ED-74D2237020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9205" name="Graphic 9204">
                <a:extLst>
                  <a:ext uri="{FF2B5EF4-FFF2-40B4-BE49-F238E27FC236}">
                    <a16:creationId xmlns:a16="http://schemas.microsoft.com/office/drawing/2014/main" id="{1F515671-C1BB-D6C4-2BAA-4F7CA3A6EA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9206" name="Graphic 9205">
                <a:extLst>
                  <a:ext uri="{FF2B5EF4-FFF2-40B4-BE49-F238E27FC236}">
                    <a16:creationId xmlns:a16="http://schemas.microsoft.com/office/drawing/2014/main" id="{1C629031-D97C-78B7-DB84-E807C33B49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207" name="Graphic 9206">
                <a:extLst>
                  <a:ext uri="{FF2B5EF4-FFF2-40B4-BE49-F238E27FC236}">
                    <a16:creationId xmlns:a16="http://schemas.microsoft.com/office/drawing/2014/main" id="{F5D967DB-0E72-4F0D-86EA-4C4FC6B58B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2808" name="Group 2807">
              <a:extLst>
                <a:ext uri="{FF2B5EF4-FFF2-40B4-BE49-F238E27FC236}">
                  <a16:creationId xmlns:a16="http://schemas.microsoft.com/office/drawing/2014/main" id="{616D4999-568C-738D-0A07-ADF5F10AF6EF}"/>
                </a:ext>
              </a:extLst>
            </p:cNvPr>
            <p:cNvGrpSpPr/>
            <p:nvPr/>
          </p:nvGrpSpPr>
          <p:grpSpPr>
            <a:xfrm>
              <a:off x="757851" y="3972316"/>
              <a:ext cx="178020" cy="178020"/>
              <a:chOff x="2898967" y="1781131"/>
              <a:chExt cx="1097280" cy="1097279"/>
            </a:xfrm>
          </p:grpSpPr>
          <p:grpSp>
            <p:nvGrpSpPr>
              <p:cNvPr id="9148" name="Group 9147">
                <a:extLst>
                  <a:ext uri="{FF2B5EF4-FFF2-40B4-BE49-F238E27FC236}">
                    <a16:creationId xmlns:a16="http://schemas.microsoft.com/office/drawing/2014/main" id="{988ABB80-953B-54B6-4115-DA3CB10110B2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9160" name="Group 9159">
                  <a:extLst>
                    <a:ext uri="{FF2B5EF4-FFF2-40B4-BE49-F238E27FC236}">
                      <a16:creationId xmlns:a16="http://schemas.microsoft.com/office/drawing/2014/main" id="{3E13FA84-6AB6-648E-2E92-70517AE958FE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9176" name="Oval 9175">
                    <a:extLst>
                      <a:ext uri="{FF2B5EF4-FFF2-40B4-BE49-F238E27FC236}">
                        <a16:creationId xmlns:a16="http://schemas.microsoft.com/office/drawing/2014/main" id="{5456025B-740B-D84C-F4D7-E887AE06E0D8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177" name="Group 9176">
                    <a:extLst>
                      <a:ext uri="{FF2B5EF4-FFF2-40B4-BE49-F238E27FC236}">
                        <a16:creationId xmlns:a16="http://schemas.microsoft.com/office/drawing/2014/main" id="{A8653738-18D3-C0D8-AB1E-1766E19BB3A6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9178" name="Graphic 9177">
                      <a:extLst>
                        <a:ext uri="{FF2B5EF4-FFF2-40B4-BE49-F238E27FC236}">
                          <a16:creationId xmlns:a16="http://schemas.microsoft.com/office/drawing/2014/main" id="{62C3895C-1EC9-957E-9245-4DC85DB3A7C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79" name="Graphic 9178">
                      <a:extLst>
                        <a:ext uri="{FF2B5EF4-FFF2-40B4-BE49-F238E27FC236}">
                          <a16:creationId xmlns:a16="http://schemas.microsoft.com/office/drawing/2014/main" id="{3DD9C24B-6471-AA6A-EC56-97CD64E1487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80" name="Graphic 9179">
                      <a:extLst>
                        <a:ext uri="{FF2B5EF4-FFF2-40B4-BE49-F238E27FC236}">
                          <a16:creationId xmlns:a16="http://schemas.microsoft.com/office/drawing/2014/main" id="{4D84CE6B-F797-7A90-D90E-1E0370FFBFB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81" name="Graphic 9180">
                      <a:extLst>
                        <a:ext uri="{FF2B5EF4-FFF2-40B4-BE49-F238E27FC236}">
                          <a16:creationId xmlns:a16="http://schemas.microsoft.com/office/drawing/2014/main" id="{ACDAAF48-2029-EBCF-81C4-E62D89CC671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82" name="Graphic 9181">
                      <a:extLst>
                        <a:ext uri="{FF2B5EF4-FFF2-40B4-BE49-F238E27FC236}">
                          <a16:creationId xmlns:a16="http://schemas.microsoft.com/office/drawing/2014/main" id="{B35FE658-7FFB-1B95-3E3E-4ADCD7DCF93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83" name="Graphic 9182">
                      <a:extLst>
                        <a:ext uri="{FF2B5EF4-FFF2-40B4-BE49-F238E27FC236}">
                          <a16:creationId xmlns:a16="http://schemas.microsoft.com/office/drawing/2014/main" id="{25B6CAD9-6693-0166-DA89-DBA15AFBECC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84" name="Graphic 9183">
                      <a:extLst>
                        <a:ext uri="{FF2B5EF4-FFF2-40B4-BE49-F238E27FC236}">
                          <a16:creationId xmlns:a16="http://schemas.microsoft.com/office/drawing/2014/main" id="{3EE1487B-0679-0096-5ABC-006F3590588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85" name="Graphic 9184">
                      <a:extLst>
                        <a:ext uri="{FF2B5EF4-FFF2-40B4-BE49-F238E27FC236}">
                          <a16:creationId xmlns:a16="http://schemas.microsoft.com/office/drawing/2014/main" id="{CD770740-EFED-BAC4-89C4-012C84D9195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86" name="Graphic 9185">
                      <a:extLst>
                        <a:ext uri="{FF2B5EF4-FFF2-40B4-BE49-F238E27FC236}">
                          <a16:creationId xmlns:a16="http://schemas.microsoft.com/office/drawing/2014/main" id="{A48CE478-9EFA-87A2-A5CD-FF4BD7E6508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87" name="Graphic 9186">
                      <a:extLst>
                        <a:ext uri="{FF2B5EF4-FFF2-40B4-BE49-F238E27FC236}">
                          <a16:creationId xmlns:a16="http://schemas.microsoft.com/office/drawing/2014/main" id="{32C04684-9503-EB6C-3C58-BBB428157A3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88" name="Graphic 9187">
                      <a:extLst>
                        <a:ext uri="{FF2B5EF4-FFF2-40B4-BE49-F238E27FC236}">
                          <a16:creationId xmlns:a16="http://schemas.microsoft.com/office/drawing/2014/main" id="{C1E039EA-5FEC-1DC7-ED85-830EBE18D1E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89" name="Graphic 9188">
                      <a:extLst>
                        <a:ext uri="{FF2B5EF4-FFF2-40B4-BE49-F238E27FC236}">
                          <a16:creationId xmlns:a16="http://schemas.microsoft.com/office/drawing/2014/main" id="{8700A56A-4515-2409-A2C4-17FA91A3AA5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90" name="Graphic 9189">
                      <a:extLst>
                        <a:ext uri="{FF2B5EF4-FFF2-40B4-BE49-F238E27FC236}">
                          <a16:creationId xmlns:a16="http://schemas.microsoft.com/office/drawing/2014/main" id="{9D81A855-C7C5-6A33-6791-A267D6D6DE5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91" name="Graphic 9190">
                      <a:extLst>
                        <a:ext uri="{FF2B5EF4-FFF2-40B4-BE49-F238E27FC236}">
                          <a16:creationId xmlns:a16="http://schemas.microsoft.com/office/drawing/2014/main" id="{32662E44-336A-94B7-DD0B-DE81C73EC33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92" name="Graphic 9191">
                      <a:extLst>
                        <a:ext uri="{FF2B5EF4-FFF2-40B4-BE49-F238E27FC236}">
                          <a16:creationId xmlns:a16="http://schemas.microsoft.com/office/drawing/2014/main" id="{054F4B1D-7F94-725E-11EB-0E762C732A7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93" name="Graphic 9192">
                      <a:extLst>
                        <a:ext uri="{FF2B5EF4-FFF2-40B4-BE49-F238E27FC236}">
                          <a16:creationId xmlns:a16="http://schemas.microsoft.com/office/drawing/2014/main" id="{F39414CD-D95C-4C6D-B75B-0D8379A1B5C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94" name="Graphic 9193">
                      <a:extLst>
                        <a:ext uri="{FF2B5EF4-FFF2-40B4-BE49-F238E27FC236}">
                          <a16:creationId xmlns:a16="http://schemas.microsoft.com/office/drawing/2014/main" id="{B5E90842-F984-5409-33A1-C88A2E9D72C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95" name="Graphic 9194">
                      <a:extLst>
                        <a:ext uri="{FF2B5EF4-FFF2-40B4-BE49-F238E27FC236}">
                          <a16:creationId xmlns:a16="http://schemas.microsoft.com/office/drawing/2014/main" id="{BF1E219B-AF4E-A68F-D9C9-FF3FA348963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161" name="Graphic 9160">
                  <a:extLst>
                    <a:ext uri="{FF2B5EF4-FFF2-40B4-BE49-F238E27FC236}">
                      <a16:creationId xmlns:a16="http://schemas.microsoft.com/office/drawing/2014/main" id="{0796498E-35F7-414E-C475-465478CBB4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62" name="Graphic 9161">
                  <a:extLst>
                    <a:ext uri="{FF2B5EF4-FFF2-40B4-BE49-F238E27FC236}">
                      <a16:creationId xmlns:a16="http://schemas.microsoft.com/office/drawing/2014/main" id="{663E6E82-0F33-5576-06A2-C3721DA8CA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63" name="Graphic 9162">
                  <a:extLst>
                    <a:ext uri="{FF2B5EF4-FFF2-40B4-BE49-F238E27FC236}">
                      <a16:creationId xmlns:a16="http://schemas.microsoft.com/office/drawing/2014/main" id="{A0E9A239-E226-72A0-2471-7197CF8019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64" name="Graphic 9163">
                  <a:extLst>
                    <a:ext uri="{FF2B5EF4-FFF2-40B4-BE49-F238E27FC236}">
                      <a16:creationId xmlns:a16="http://schemas.microsoft.com/office/drawing/2014/main" id="{D3A4882D-E562-8D53-8DC6-D7CCE5C701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165" name="Graphic 9164">
                  <a:extLst>
                    <a:ext uri="{FF2B5EF4-FFF2-40B4-BE49-F238E27FC236}">
                      <a16:creationId xmlns:a16="http://schemas.microsoft.com/office/drawing/2014/main" id="{BAD5F27D-CAEB-0A5D-5025-94F3D2D810B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166" name="Graphic 9165">
                  <a:extLst>
                    <a:ext uri="{FF2B5EF4-FFF2-40B4-BE49-F238E27FC236}">
                      <a16:creationId xmlns:a16="http://schemas.microsoft.com/office/drawing/2014/main" id="{8A1124F2-5403-F7CB-EC9A-B5DF8DD460E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67" name="Graphic 9166">
                  <a:extLst>
                    <a:ext uri="{FF2B5EF4-FFF2-40B4-BE49-F238E27FC236}">
                      <a16:creationId xmlns:a16="http://schemas.microsoft.com/office/drawing/2014/main" id="{C7BA843D-0EB8-68CA-58AA-BB3B6F48BD3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168" name="Graphic 9167">
                  <a:extLst>
                    <a:ext uri="{FF2B5EF4-FFF2-40B4-BE49-F238E27FC236}">
                      <a16:creationId xmlns:a16="http://schemas.microsoft.com/office/drawing/2014/main" id="{CF59A465-24C5-2F43-3688-2D35BC0B91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169" name="Graphic 9168">
                  <a:extLst>
                    <a:ext uri="{FF2B5EF4-FFF2-40B4-BE49-F238E27FC236}">
                      <a16:creationId xmlns:a16="http://schemas.microsoft.com/office/drawing/2014/main" id="{6E425F73-9C5F-5D9D-7A3F-51100D5B742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9170" name="Graphic 9169">
                  <a:extLst>
                    <a:ext uri="{FF2B5EF4-FFF2-40B4-BE49-F238E27FC236}">
                      <a16:creationId xmlns:a16="http://schemas.microsoft.com/office/drawing/2014/main" id="{41897173-9589-135E-C311-30D39B6441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171" name="Graphic 9170">
                  <a:extLst>
                    <a:ext uri="{FF2B5EF4-FFF2-40B4-BE49-F238E27FC236}">
                      <a16:creationId xmlns:a16="http://schemas.microsoft.com/office/drawing/2014/main" id="{857C7A29-C39D-7F8D-5510-922E1CB7D5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172" name="Graphic 9171">
                  <a:extLst>
                    <a:ext uri="{FF2B5EF4-FFF2-40B4-BE49-F238E27FC236}">
                      <a16:creationId xmlns:a16="http://schemas.microsoft.com/office/drawing/2014/main" id="{C2FC280A-A0CB-6A83-D3E8-DF4BA49897B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73" name="Graphic 9172">
                  <a:extLst>
                    <a:ext uri="{FF2B5EF4-FFF2-40B4-BE49-F238E27FC236}">
                      <a16:creationId xmlns:a16="http://schemas.microsoft.com/office/drawing/2014/main" id="{0055E625-5C4C-4636-E4F0-7FEF77B09D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174" name="Graphic 9173">
                  <a:extLst>
                    <a:ext uri="{FF2B5EF4-FFF2-40B4-BE49-F238E27FC236}">
                      <a16:creationId xmlns:a16="http://schemas.microsoft.com/office/drawing/2014/main" id="{F53F045D-2788-F10E-7637-7060A91895D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175" name="Graphic 9174">
                  <a:extLst>
                    <a:ext uri="{FF2B5EF4-FFF2-40B4-BE49-F238E27FC236}">
                      <a16:creationId xmlns:a16="http://schemas.microsoft.com/office/drawing/2014/main" id="{C36E5525-2FE0-E8BE-9B1D-FDF09701FF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9149" name="Graphic 9148">
                <a:extLst>
                  <a:ext uri="{FF2B5EF4-FFF2-40B4-BE49-F238E27FC236}">
                    <a16:creationId xmlns:a16="http://schemas.microsoft.com/office/drawing/2014/main" id="{6E437FE1-6D9E-E831-0411-4C8E5FE315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50" name="Graphic 9149">
                <a:extLst>
                  <a:ext uri="{FF2B5EF4-FFF2-40B4-BE49-F238E27FC236}">
                    <a16:creationId xmlns:a16="http://schemas.microsoft.com/office/drawing/2014/main" id="{7053AC91-ABC2-2218-09A3-2441E1B8C9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51" name="Graphic 9150">
                <a:extLst>
                  <a:ext uri="{FF2B5EF4-FFF2-40B4-BE49-F238E27FC236}">
                    <a16:creationId xmlns:a16="http://schemas.microsoft.com/office/drawing/2014/main" id="{65B43EC7-1AAF-FDE2-5B1C-B76F70CE1D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9152" name="Graphic 9151">
                <a:extLst>
                  <a:ext uri="{FF2B5EF4-FFF2-40B4-BE49-F238E27FC236}">
                    <a16:creationId xmlns:a16="http://schemas.microsoft.com/office/drawing/2014/main" id="{17338620-6843-6988-68C4-896A57C51C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9153" name="Graphic 9152">
                <a:extLst>
                  <a:ext uri="{FF2B5EF4-FFF2-40B4-BE49-F238E27FC236}">
                    <a16:creationId xmlns:a16="http://schemas.microsoft.com/office/drawing/2014/main" id="{5636AE5C-A6A5-1DD2-9D9C-E97B0FF4B6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54" name="Graphic 9153">
                <a:extLst>
                  <a:ext uri="{FF2B5EF4-FFF2-40B4-BE49-F238E27FC236}">
                    <a16:creationId xmlns:a16="http://schemas.microsoft.com/office/drawing/2014/main" id="{4E4C51CC-6C12-CD99-8930-6534F979BE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55" name="Graphic 9154">
                <a:extLst>
                  <a:ext uri="{FF2B5EF4-FFF2-40B4-BE49-F238E27FC236}">
                    <a16:creationId xmlns:a16="http://schemas.microsoft.com/office/drawing/2014/main" id="{E4C4E037-A7D2-F408-1B18-125A3CC1B8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56" name="Graphic 9155">
                <a:extLst>
                  <a:ext uri="{FF2B5EF4-FFF2-40B4-BE49-F238E27FC236}">
                    <a16:creationId xmlns:a16="http://schemas.microsoft.com/office/drawing/2014/main" id="{2BD9F74E-B7BD-8416-D9CC-7BE95D38CD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9157" name="Graphic 9156">
                <a:extLst>
                  <a:ext uri="{FF2B5EF4-FFF2-40B4-BE49-F238E27FC236}">
                    <a16:creationId xmlns:a16="http://schemas.microsoft.com/office/drawing/2014/main" id="{ACF8E322-0FD6-BC24-1BF5-C3A5EF3153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9158" name="Graphic 9157">
                <a:extLst>
                  <a:ext uri="{FF2B5EF4-FFF2-40B4-BE49-F238E27FC236}">
                    <a16:creationId xmlns:a16="http://schemas.microsoft.com/office/drawing/2014/main" id="{892C21BB-2C78-A006-CD8E-F2026080A5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59" name="Graphic 9158">
                <a:extLst>
                  <a:ext uri="{FF2B5EF4-FFF2-40B4-BE49-F238E27FC236}">
                    <a16:creationId xmlns:a16="http://schemas.microsoft.com/office/drawing/2014/main" id="{D0E48437-31BB-0E29-A23D-91BA849303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2809" name="Group 2808">
              <a:extLst>
                <a:ext uri="{FF2B5EF4-FFF2-40B4-BE49-F238E27FC236}">
                  <a16:creationId xmlns:a16="http://schemas.microsoft.com/office/drawing/2014/main" id="{A0025A92-64CF-64EB-E7D0-DD00CBE380B3}"/>
                </a:ext>
              </a:extLst>
            </p:cNvPr>
            <p:cNvGrpSpPr/>
            <p:nvPr/>
          </p:nvGrpSpPr>
          <p:grpSpPr>
            <a:xfrm>
              <a:off x="905432" y="3723024"/>
              <a:ext cx="178020" cy="178020"/>
              <a:chOff x="2898967" y="1781131"/>
              <a:chExt cx="1097280" cy="1097279"/>
            </a:xfrm>
          </p:grpSpPr>
          <p:grpSp>
            <p:nvGrpSpPr>
              <p:cNvPr id="9100" name="Group 9099">
                <a:extLst>
                  <a:ext uri="{FF2B5EF4-FFF2-40B4-BE49-F238E27FC236}">
                    <a16:creationId xmlns:a16="http://schemas.microsoft.com/office/drawing/2014/main" id="{C3CEEA0C-AAE9-119B-98AF-845FABA93061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9112" name="Group 9111">
                  <a:extLst>
                    <a:ext uri="{FF2B5EF4-FFF2-40B4-BE49-F238E27FC236}">
                      <a16:creationId xmlns:a16="http://schemas.microsoft.com/office/drawing/2014/main" id="{8CBE306E-87B2-42B8-81C1-0F5749034F28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9128" name="Oval 9127">
                    <a:extLst>
                      <a:ext uri="{FF2B5EF4-FFF2-40B4-BE49-F238E27FC236}">
                        <a16:creationId xmlns:a16="http://schemas.microsoft.com/office/drawing/2014/main" id="{BD6D1E9C-D91F-DCF2-8021-2E53EDA96F54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129" name="Group 9128">
                    <a:extLst>
                      <a:ext uri="{FF2B5EF4-FFF2-40B4-BE49-F238E27FC236}">
                        <a16:creationId xmlns:a16="http://schemas.microsoft.com/office/drawing/2014/main" id="{7DE02A48-0671-9B04-12FD-B23C9B430D63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9130" name="Graphic 9129">
                      <a:extLst>
                        <a:ext uri="{FF2B5EF4-FFF2-40B4-BE49-F238E27FC236}">
                          <a16:creationId xmlns:a16="http://schemas.microsoft.com/office/drawing/2014/main" id="{550574C9-9AF9-AB08-2C86-31115BAD13E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31" name="Graphic 9130">
                      <a:extLst>
                        <a:ext uri="{FF2B5EF4-FFF2-40B4-BE49-F238E27FC236}">
                          <a16:creationId xmlns:a16="http://schemas.microsoft.com/office/drawing/2014/main" id="{748F9958-1E6D-DF5F-EA35-6798952DC82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32" name="Graphic 9131">
                      <a:extLst>
                        <a:ext uri="{FF2B5EF4-FFF2-40B4-BE49-F238E27FC236}">
                          <a16:creationId xmlns:a16="http://schemas.microsoft.com/office/drawing/2014/main" id="{AC469171-793E-6D1E-5EAB-480E8214F27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33" name="Graphic 9132">
                      <a:extLst>
                        <a:ext uri="{FF2B5EF4-FFF2-40B4-BE49-F238E27FC236}">
                          <a16:creationId xmlns:a16="http://schemas.microsoft.com/office/drawing/2014/main" id="{C18B3159-D064-A4B8-A9CA-2F698F4D65A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34" name="Graphic 9133">
                      <a:extLst>
                        <a:ext uri="{FF2B5EF4-FFF2-40B4-BE49-F238E27FC236}">
                          <a16:creationId xmlns:a16="http://schemas.microsoft.com/office/drawing/2014/main" id="{FD6E2537-47DA-87F6-4273-5EE9F819F29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35" name="Graphic 9134">
                      <a:extLst>
                        <a:ext uri="{FF2B5EF4-FFF2-40B4-BE49-F238E27FC236}">
                          <a16:creationId xmlns:a16="http://schemas.microsoft.com/office/drawing/2014/main" id="{7E32BFAF-B0E4-4AC4-2B39-A31B3E0F73F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36" name="Graphic 9135">
                      <a:extLst>
                        <a:ext uri="{FF2B5EF4-FFF2-40B4-BE49-F238E27FC236}">
                          <a16:creationId xmlns:a16="http://schemas.microsoft.com/office/drawing/2014/main" id="{9DD4CF68-CD85-98B8-A051-88EEEB359FC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37" name="Graphic 9136">
                      <a:extLst>
                        <a:ext uri="{FF2B5EF4-FFF2-40B4-BE49-F238E27FC236}">
                          <a16:creationId xmlns:a16="http://schemas.microsoft.com/office/drawing/2014/main" id="{D185B899-1E13-2C31-C2FE-FE1EE4227EB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38" name="Graphic 9137">
                      <a:extLst>
                        <a:ext uri="{FF2B5EF4-FFF2-40B4-BE49-F238E27FC236}">
                          <a16:creationId xmlns:a16="http://schemas.microsoft.com/office/drawing/2014/main" id="{E97D69BE-FA77-3BAA-A9D4-BF039F91187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39" name="Graphic 9138">
                      <a:extLst>
                        <a:ext uri="{FF2B5EF4-FFF2-40B4-BE49-F238E27FC236}">
                          <a16:creationId xmlns:a16="http://schemas.microsoft.com/office/drawing/2014/main" id="{E8A17E19-A8DE-5EA0-C3B5-0F9ED530A8B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40" name="Graphic 9139">
                      <a:extLst>
                        <a:ext uri="{FF2B5EF4-FFF2-40B4-BE49-F238E27FC236}">
                          <a16:creationId xmlns:a16="http://schemas.microsoft.com/office/drawing/2014/main" id="{4B8F4EFD-597E-4042-2B26-339306985A7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41" name="Graphic 9140">
                      <a:extLst>
                        <a:ext uri="{FF2B5EF4-FFF2-40B4-BE49-F238E27FC236}">
                          <a16:creationId xmlns:a16="http://schemas.microsoft.com/office/drawing/2014/main" id="{D4AD5286-CA1C-62B4-A2FD-EACF5100B6D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42" name="Graphic 9141">
                      <a:extLst>
                        <a:ext uri="{FF2B5EF4-FFF2-40B4-BE49-F238E27FC236}">
                          <a16:creationId xmlns:a16="http://schemas.microsoft.com/office/drawing/2014/main" id="{BC717438-EC54-55B8-A742-2667F99A3CC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43" name="Graphic 9142">
                      <a:extLst>
                        <a:ext uri="{FF2B5EF4-FFF2-40B4-BE49-F238E27FC236}">
                          <a16:creationId xmlns:a16="http://schemas.microsoft.com/office/drawing/2014/main" id="{CDB92159-EAB3-E0C4-D5D6-4D9D1B6C6CA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44" name="Graphic 9143">
                      <a:extLst>
                        <a:ext uri="{FF2B5EF4-FFF2-40B4-BE49-F238E27FC236}">
                          <a16:creationId xmlns:a16="http://schemas.microsoft.com/office/drawing/2014/main" id="{963D4A50-E7D8-7DDE-B72B-5F47DF25257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45" name="Graphic 9144">
                      <a:extLst>
                        <a:ext uri="{FF2B5EF4-FFF2-40B4-BE49-F238E27FC236}">
                          <a16:creationId xmlns:a16="http://schemas.microsoft.com/office/drawing/2014/main" id="{01D2BE4D-8482-23B4-0774-65F45C8051A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46" name="Graphic 9145">
                      <a:extLst>
                        <a:ext uri="{FF2B5EF4-FFF2-40B4-BE49-F238E27FC236}">
                          <a16:creationId xmlns:a16="http://schemas.microsoft.com/office/drawing/2014/main" id="{D50DD473-B8C4-E477-EDAD-D7832F96F21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47" name="Graphic 9146">
                      <a:extLst>
                        <a:ext uri="{FF2B5EF4-FFF2-40B4-BE49-F238E27FC236}">
                          <a16:creationId xmlns:a16="http://schemas.microsoft.com/office/drawing/2014/main" id="{28C90B13-0BF4-C5DA-8008-B79002C19F0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113" name="Graphic 9112">
                  <a:extLst>
                    <a:ext uri="{FF2B5EF4-FFF2-40B4-BE49-F238E27FC236}">
                      <a16:creationId xmlns:a16="http://schemas.microsoft.com/office/drawing/2014/main" id="{94E0D2E7-8546-F3A8-26D7-8ED7B8A827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14" name="Graphic 9113">
                  <a:extLst>
                    <a:ext uri="{FF2B5EF4-FFF2-40B4-BE49-F238E27FC236}">
                      <a16:creationId xmlns:a16="http://schemas.microsoft.com/office/drawing/2014/main" id="{E2780D28-FFE8-69A0-78EB-4733CF9A69C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15" name="Graphic 9114">
                  <a:extLst>
                    <a:ext uri="{FF2B5EF4-FFF2-40B4-BE49-F238E27FC236}">
                      <a16:creationId xmlns:a16="http://schemas.microsoft.com/office/drawing/2014/main" id="{44C1D039-3AAF-B626-5473-DCFF17CD20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16" name="Graphic 9115">
                  <a:extLst>
                    <a:ext uri="{FF2B5EF4-FFF2-40B4-BE49-F238E27FC236}">
                      <a16:creationId xmlns:a16="http://schemas.microsoft.com/office/drawing/2014/main" id="{7DB65768-B7BE-964E-7978-374C2EFADA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117" name="Graphic 9116">
                  <a:extLst>
                    <a:ext uri="{FF2B5EF4-FFF2-40B4-BE49-F238E27FC236}">
                      <a16:creationId xmlns:a16="http://schemas.microsoft.com/office/drawing/2014/main" id="{4366CF23-7B27-43CC-73DE-36A81F6E94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118" name="Graphic 9117">
                  <a:extLst>
                    <a:ext uri="{FF2B5EF4-FFF2-40B4-BE49-F238E27FC236}">
                      <a16:creationId xmlns:a16="http://schemas.microsoft.com/office/drawing/2014/main" id="{AD093EFC-3A03-7A0F-BA1E-D5EA02B372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19" name="Graphic 9118">
                  <a:extLst>
                    <a:ext uri="{FF2B5EF4-FFF2-40B4-BE49-F238E27FC236}">
                      <a16:creationId xmlns:a16="http://schemas.microsoft.com/office/drawing/2014/main" id="{4F7A7D23-D93B-5638-A41E-4B5A426A031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120" name="Graphic 9119">
                  <a:extLst>
                    <a:ext uri="{FF2B5EF4-FFF2-40B4-BE49-F238E27FC236}">
                      <a16:creationId xmlns:a16="http://schemas.microsoft.com/office/drawing/2014/main" id="{515C32C2-E1E8-9476-0DD9-3009070114C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121" name="Graphic 9120">
                  <a:extLst>
                    <a:ext uri="{FF2B5EF4-FFF2-40B4-BE49-F238E27FC236}">
                      <a16:creationId xmlns:a16="http://schemas.microsoft.com/office/drawing/2014/main" id="{9FC29BFB-81B8-4819-085B-A8AEE85AC3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9122" name="Graphic 9121">
                  <a:extLst>
                    <a:ext uri="{FF2B5EF4-FFF2-40B4-BE49-F238E27FC236}">
                      <a16:creationId xmlns:a16="http://schemas.microsoft.com/office/drawing/2014/main" id="{D4794815-62BC-1608-BF77-7BED569947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123" name="Graphic 9122">
                  <a:extLst>
                    <a:ext uri="{FF2B5EF4-FFF2-40B4-BE49-F238E27FC236}">
                      <a16:creationId xmlns:a16="http://schemas.microsoft.com/office/drawing/2014/main" id="{CA2BA559-7C20-A6E1-8DA0-BDA246B2BDB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124" name="Graphic 9123">
                  <a:extLst>
                    <a:ext uri="{FF2B5EF4-FFF2-40B4-BE49-F238E27FC236}">
                      <a16:creationId xmlns:a16="http://schemas.microsoft.com/office/drawing/2014/main" id="{E8AD4CB9-8A28-0DA1-F287-DC4FC01D21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25" name="Graphic 9124">
                  <a:extLst>
                    <a:ext uri="{FF2B5EF4-FFF2-40B4-BE49-F238E27FC236}">
                      <a16:creationId xmlns:a16="http://schemas.microsoft.com/office/drawing/2014/main" id="{6A7D8101-79BE-4AF3-9C60-1BFC35749C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126" name="Graphic 9125">
                  <a:extLst>
                    <a:ext uri="{FF2B5EF4-FFF2-40B4-BE49-F238E27FC236}">
                      <a16:creationId xmlns:a16="http://schemas.microsoft.com/office/drawing/2014/main" id="{7BA213C4-4489-70F2-50F4-7F8845DCC4E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127" name="Graphic 9126">
                  <a:extLst>
                    <a:ext uri="{FF2B5EF4-FFF2-40B4-BE49-F238E27FC236}">
                      <a16:creationId xmlns:a16="http://schemas.microsoft.com/office/drawing/2014/main" id="{5477B5B4-D4A8-AB06-A4BB-DFE30A77EE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9101" name="Graphic 9100">
                <a:extLst>
                  <a:ext uri="{FF2B5EF4-FFF2-40B4-BE49-F238E27FC236}">
                    <a16:creationId xmlns:a16="http://schemas.microsoft.com/office/drawing/2014/main" id="{15CC2DA5-D7CA-F7AB-36D4-E4EDE7B16B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02" name="Graphic 9101">
                <a:extLst>
                  <a:ext uri="{FF2B5EF4-FFF2-40B4-BE49-F238E27FC236}">
                    <a16:creationId xmlns:a16="http://schemas.microsoft.com/office/drawing/2014/main" id="{DDD9DC76-93C6-AA07-C20C-460A8282B6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03" name="Graphic 9102">
                <a:extLst>
                  <a:ext uri="{FF2B5EF4-FFF2-40B4-BE49-F238E27FC236}">
                    <a16:creationId xmlns:a16="http://schemas.microsoft.com/office/drawing/2014/main" id="{076E48C9-925B-1502-9799-FC807A86E8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9104" name="Graphic 9103">
                <a:extLst>
                  <a:ext uri="{FF2B5EF4-FFF2-40B4-BE49-F238E27FC236}">
                    <a16:creationId xmlns:a16="http://schemas.microsoft.com/office/drawing/2014/main" id="{C315B778-4B32-A817-9060-77E9135069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9105" name="Graphic 9104">
                <a:extLst>
                  <a:ext uri="{FF2B5EF4-FFF2-40B4-BE49-F238E27FC236}">
                    <a16:creationId xmlns:a16="http://schemas.microsoft.com/office/drawing/2014/main" id="{BC3D6E93-8035-14DE-E86F-0010A8F2B2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06" name="Graphic 9105">
                <a:extLst>
                  <a:ext uri="{FF2B5EF4-FFF2-40B4-BE49-F238E27FC236}">
                    <a16:creationId xmlns:a16="http://schemas.microsoft.com/office/drawing/2014/main" id="{B326DB5E-E8C7-A666-4C2E-74C1107530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07" name="Graphic 9106">
                <a:extLst>
                  <a:ext uri="{FF2B5EF4-FFF2-40B4-BE49-F238E27FC236}">
                    <a16:creationId xmlns:a16="http://schemas.microsoft.com/office/drawing/2014/main" id="{6C77EB8C-2205-1CFF-94B3-D9AB6BA54B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08" name="Graphic 9107">
                <a:extLst>
                  <a:ext uri="{FF2B5EF4-FFF2-40B4-BE49-F238E27FC236}">
                    <a16:creationId xmlns:a16="http://schemas.microsoft.com/office/drawing/2014/main" id="{8275A679-C9E5-1E7B-E8FC-311EB16201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9109" name="Graphic 9108">
                <a:extLst>
                  <a:ext uri="{FF2B5EF4-FFF2-40B4-BE49-F238E27FC236}">
                    <a16:creationId xmlns:a16="http://schemas.microsoft.com/office/drawing/2014/main" id="{2A175FB3-7EF7-ACD4-A599-72EE2E7F42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9110" name="Graphic 9109">
                <a:extLst>
                  <a:ext uri="{FF2B5EF4-FFF2-40B4-BE49-F238E27FC236}">
                    <a16:creationId xmlns:a16="http://schemas.microsoft.com/office/drawing/2014/main" id="{98D412DE-87FC-DEE0-F67B-4BA80F55D5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11" name="Graphic 9110">
                <a:extLst>
                  <a:ext uri="{FF2B5EF4-FFF2-40B4-BE49-F238E27FC236}">
                    <a16:creationId xmlns:a16="http://schemas.microsoft.com/office/drawing/2014/main" id="{7415720B-42F2-CB66-63F3-2FFD7CA829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2810" name="Group 2809">
              <a:extLst>
                <a:ext uri="{FF2B5EF4-FFF2-40B4-BE49-F238E27FC236}">
                  <a16:creationId xmlns:a16="http://schemas.microsoft.com/office/drawing/2014/main" id="{4D74FE67-051A-E7E1-32EB-3DCD83A2C148}"/>
                </a:ext>
              </a:extLst>
            </p:cNvPr>
            <p:cNvGrpSpPr/>
            <p:nvPr/>
          </p:nvGrpSpPr>
          <p:grpSpPr>
            <a:xfrm>
              <a:off x="1561567" y="3705075"/>
              <a:ext cx="178020" cy="178020"/>
              <a:chOff x="2898967" y="1781131"/>
              <a:chExt cx="1097280" cy="1097279"/>
            </a:xfrm>
          </p:grpSpPr>
          <p:grpSp>
            <p:nvGrpSpPr>
              <p:cNvPr id="9052" name="Group 9051">
                <a:extLst>
                  <a:ext uri="{FF2B5EF4-FFF2-40B4-BE49-F238E27FC236}">
                    <a16:creationId xmlns:a16="http://schemas.microsoft.com/office/drawing/2014/main" id="{36C4E1A0-1B92-7196-A3C3-EDDF50EAC670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9064" name="Group 9063">
                  <a:extLst>
                    <a:ext uri="{FF2B5EF4-FFF2-40B4-BE49-F238E27FC236}">
                      <a16:creationId xmlns:a16="http://schemas.microsoft.com/office/drawing/2014/main" id="{4CAB25B8-ABFE-87BF-F607-7C8A36DC5756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9080" name="Oval 9079">
                    <a:extLst>
                      <a:ext uri="{FF2B5EF4-FFF2-40B4-BE49-F238E27FC236}">
                        <a16:creationId xmlns:a16="http://schemas.microsoft.com/office/drawing/2014/main" id="{D78AC6D0-F7A3-8521-FACC-03C094AAEE66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081" name="Group 9080">
                    <a:extLst>
                      <a:ext uri="{FF2B5EF4-FFF2-40B4-BE49-F238E27FC236}">
                        <a16:creationId xmlns:a16="http://schemas.microsoft.com/office/drawing/2014/main" id="{33168E8E-FB6E-89F0-9E81-4ADCC7C9DF87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9082" name="Graphic 9081">
                      <a:extLst>
                        <a:ext uri="{FF2B5EF4-FFF2-40B4-BE49-F238E27FC236}">
                          <a16:creationId xmlns:a16="http://schemas.microsoft.com/office/drawing/2014/main" id="{915D6528-E635-774E-60A0-FA552FF4F70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83" name="Graphic 9082">
                      <a:extLst>
                        <a:ext uri="{FF2B5EF4-FFF2-40B4-BE49-F238E27FC236}">
                          <a16:creationId xmlns:a16="http://schemas.microsoft.com/office/drawing/2014/main" id="{6E0EB77B-76FF-4D96-495D-4DFC98A7E22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84" name="Graphic 9083">
                      <a:extLst>
                        <a:ext uri="{FF2B5EF4-FFF2-40B4-BE49-F238E27FC236}">
                          <a16:creationId xmlns:a16="http://schemas.microsoft.com/office/drawing/2014/main" id="{0103BE5E-B084-5161-43AD-8A061503418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85" name="Graphic 9084">
                      <a:extLst>
                        <a:ext uri="{FF2B5EF4-FFF2-40B4-BE49-F238E27FC236}">
                          <a16:creationId xmlns:a16="http://schemas.microsoft.com/office/drawing/2014/main" id="{ECC35F8E-A842-08B1-AF13-CA3D55CEF9B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86" name="Graphic 9085">
                      <a:extLst>
                        <a:ext uri="{FF2B5EF4-FFF2-40B4-BE49-F238E27FC236}">
                          <a16:creationId xmlns:a16="http://schemas.microsoft.com/office/drawing/2014/main" id="{C2DD9333-F9A8-9726-7113-40F6803272E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87" name="Graphic 9086">
                      <a:extLst>
                        <a:ext uri="{FF2B5EF4-FFF2-40B4-BE49-F238E27FC236}">
                          <a16:creationId xmlns:a16="http://schemas.microsoft.com/office/drawing/2014/main" id="{49612463-A554-605F-FF8E-75C71C116DA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88" name="Graphic 9087">
                      <a:extLst>
                        <a:ext uri="{FF2B5EF4-FFF2-40B4-BE49-F238E27FC236}">
                          <a16:creationId xmlns:a16="http://schemas.microsoft.com/office/drawing/2014/main" id="{16CAFAE0-0779-117C-A440-EAABD09BCFC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89" name="Graphic 9088">
                      <a:extLst>
                        <a:ext uri="{FF2B5EF4-FFF2-40B4-BE49-F238E27FC236}">
                          <a16:creationId xmlns:a16="http://schemas.microsoft.com/office/drawing/2014/main" id="{BDB1C261-9D83-6106-1DA9-1D10CF637A9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90" name="Graphic 9089">
                      <a:extLst>
                        <a:ext uri="{FF2B5EF4-FFF2-40B4-BE49-F238E27FC236}">
                          <a16:creationId xmlns:a16="http://schemas.microsoft.com/office/drawing/2014/main" id="{8BA7897C-38E1-0D61-9DB6-546B745EB96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91" name="Graphic 9090">
                      <a:extLst>
                        <a:ext uri="{FF2B5EF4-FFF2-40B4-BE49-F238E27FC236}">
                          <a16:creationId xmlns:a16="http://schemas.microsoft.com/office/drawing/2014/main" id="{48C47264-DB79-732B-3C35-E826259C14C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92" name="Graphic 9091">
                      <a:extLst>
                        <a:ext uri="{FF2B5EF4-FFF2-40B4-BE49-F238E27FC236}">
                          <a16:creationId xmlns:a16="http://schemas.microsoft.com/office/drawing/2014/main" id="{908670EF-3A19-B921-8060-538DAAB4E06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93" name="Graphic 9092">
                      <a:extLst>
                        <a:ext uri="{FF2B5EF4-FFF2-40B4-BE49-F238E27FC236}">
                          <a16:creationId xmlns:a16="http://schemas.microsoft.com/office/drawing/2014/main" id="{D750BB27-E4BA-B3CD-57E3-50256164270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94" name="Graphic 9093">
                      <a:extLst>
                        <a:ext uri="{FF2B5EF4-FFF2-40B4-BE49-F238E27FC236}">
                          <a16:creationId xmlns:a16="http://schemas.microsoft.com/office/drawing/2014/main" id="{762F5361-E441-5F18-6493-7B4982F0BE1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95" name="Graphic 9094">
                      <a:extLst>
                        <a:ext uri="{FF2B5EF4-FFF2-40B4-BE49-F238E27FC236}">
                          <a16:creationId xmlns:a16="http://schemas.microsoft.com/office/drawing/2014/main" id="{D2A1319D-0DDB-59FC-7EBF-A3E1D3C9780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96" name="Graphic 9095">
                      <a:extLst>
                        <a:ext uri="{FF2B5EF4-FFF2-40B4-BE49-F238E27FC236}">
                          <a16:creationId xmlns:a16="http://schemas.microsoft.com/office/drawing/2014/main" id="{05B94D68-5ADD-49A2-669F-788DE0B767D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97" name="Graphic 9096">
                      <a:extLst>
                        <a:ext uri="{FF2B5EF4-FFF2-40B4-BE49-F238E27FC236}">
                          <a16:creationId xmlns:a16="http://schemas.microsoft.com/office/drawing/2014/main" id="{43B71F5C-85A1-BD1F-144D-4BF27767360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98" name="Graphic 9097">
                      <a:extLst>
                        <a:ext uri="{FF2B5EF4-FFF2-40B4-BE49-F238E27FC236}">
                          <a16:creationId xmlns:a16="http://schemas.microsoft.com/office/drawing/2014/main" id="{1AB0EAB3-9D5F-689D-419C-30AF7BF5326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99" name="Graphic 9098">
                      <a:extLst>
                        <a:ext uri="{FF2B5EF4-FFF2-40B4-BE49-F238E27FC236}">
                          <a16:creationId xmlns:a16="http://schemas.microsoft.com/office/drawing/2014/main" id="{5419FC58-86AD-F584-8DB3-C3EC38C192D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065" name="Graphic 9064">
                  <a:extLst>
                    <a:ext uri="{FF2B5EF4-FFF2-40B4-BE49-F238E27FC236}">
                      <a16:creationId xmlns:a16="http://schemas.microsoft.com/office/drawing/2014/main" id="{6F9BEC92-CD66-28CE-6B3A-680F9672A80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066" name="Graphic 9065">
                  <a:extLst>
                    <a:ext uri="{FF2B5EF4-FFF2-40B4-BE49-F238E27FC236}">
                      <a16:creationId xmlns:a16="http://schemas.microsoft.com/office/drawing/2014/main" id="{584EB25B-A3C2-455B-7F09-0399FAA2680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067" name="Graphic 9066">
                  <a:extLst>
                    <a:ext uri="{FF2B5EF4-FFF2-40B4-BE49-F238E27FC236}">
                      <a16:creationId xmlns:a16="http://schemas.microsoft.com/office/drawing/2014/main" id="{1E99B1B2-3AFB-EE57-6542-DB3B492B8E1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068" name="Graphic 9067">
                  <a:extLst>
                    <a:ext uri="{FF2B5EF4-FFF2-40B4-BE49-F238E27FC236}">
                      <a16:creationId xmlns:a16="http://schemas.microsoft.com/office/drawing/2014/main" id="{9072B465-4E61-AC29-6EC0-1D21829FC5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069" name="Graphic 9068">
                  <a:extLst>
                    <a:ext uri="{FF2B5EF4-FFF2-40B4-BE49-F238E27FC236}">
                      <a16:creationId xmlns:a16="http://schemas.microsoft.com/office/drawing/2014/main" id="{E32D644D-9A7C-DE3A-129F-60D6C8A3A40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070" name="Graphic 9069">
                  <a:extLst>
                    <a:ext uri="{FF2B5EF4-FFF2-40B4-BE49-F238E27FC236}">
                      <a16:creationId xmlns:a16="http://schemas.microsoft.com/office/drawing/2014/main" id="{2ED463FA-4A14-7DF5-C55B-10246C7AA7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071" name="Graphic 9070">
                  <a:extLst>
                    <a:ext uri="{FF2B5EF4-FFF2-40B4-BE49-F238E27FC236}">
                      <a16:creationId xmlns:a16="http://schemas.microsoft.com/office/drawing/2014/main" id="{CBA55348-E2BD-B73A-677B-E157E86519F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072" name="Graphic 9071">
                  <a:extLst>
                    <a:ext uri="{FF2B5EF4-FFF2-40B4-BE49-F238E27FC236}">
                      <a16:creationId xmlns:a16="http://schemas.microsoft.com/office/drawing/2014/main" id="{D0227632-8648-4FDD-87B2-C290889D0B0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073" name="Graphic 9072">
                  <a:extLst>
                    <a:ext uri="{FF2B5EF4-FFF2-40B4-BE49-F238E27FC236}">
                      <a16:creationId xmlns:a16="http://schemas.microsoft.com/office/drawing/2014/main" id="{2052AEE5-C66E-3A2E-5A05-EE6D9FBDBD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9074" name="Graphic 9073">
                  <a:extLst>
                    <a:ext uri="{FF2B5EF4-FFF2-40B4-BE49-F238E27FC236}">
                      <a16:creationId xmlns:a16="http://schemas.microsoft.com/office/drawing/2014/main" id="{8A2BA548-3ACF-25C4-9D5D-655A29575B9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075" name="Graphic 9074">
                  <a:extLst>
                    <a:ext uri="{FF2B5EF4-FFF2-40B4-BE49-F238E27FC236}">
                      <a16:creationId xmlns:a16="http://schemas.microsoft.com/office/drawing/2014/main" id="{2557A74C-7381-E9B1-A358-EE94281C24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076" name="Graphic 9075">
                  <a:extLst>
                    <a:ext uri="{FF2B5EF4-FFF2-40B4-BE49-F238E27FC236}">
                      <a16:creationId xmlns:a16="http://schemas.microsoft.com/office/drawing/2014/main" id="{3C1C762B-E774-FCD7-91C3-ED8A496384E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077" name="Graphic 9076">
                  <a:extLst>
                    <a:ext uri="{FF2B5EF4-FFF2-40B4-BE49-F238E27FC236}">
                      <a16:creationId xmlns:a16="http://schemas.microsoft.com/office/drawing/2014/main" id="{E748E30B-E988-AAAF-82E4-A28563C6DDB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078" name="Graphic 9077">
                  <a:extLst>
                    <a:ext uri="{FF2B5EF4-FFF2-40B4-BE49-F238E27FC236}">
                      <a16:creationId xmlns:a16="http://schemas.microsoft.com/office/drawing/2014/main" id="{3375E2DC-81AB-0D22-AB63-95512BEC5C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079" name="Graphic 9078">
                  <a:extLst>
                    <a:ext uri="{FF2B5EF4-FFF2-40B4-BE49-F238E27FC236}">
                      <a16:creationId xmlns:a16="http://schemas.microsoft.com/office/drawing/2014/main" id="{B20C3332-88E4-D2C5-2CC6-D1A100E5C5B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9053" name="Graphic 9052">
                <a:extLst>
                  <a:ext uri="{FF2B5EF4-FFF2-40B4-BE49-F238E27FC236}">
                    <a16:creationId xmlns:a16="http://schemas.microsoft.com/office/drawing/2014/main" id="{A976446F-8A4D-8F24-48B4-D154C054B4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054" name="Graphic 9053">
                <a:extLst>
                  <a:ext uri="{FF2B5EF4-FFF2-40B4-BE49-F238E27FC236}">
                    <a16:creationId xmlns:a16="http://schemas.microsoft.com/office/drawing/2014/main" id="{05E3C69A-E050-06EA-3B24-9C7B8807ED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055" name="Graphic 9054">
                <a:extLst>
                  <a:ext uri="{FF2B5EF4-FFF2-40B4-BE49-F238E27FC236}">
                    <a16:creationId xmlns:a16="http://schemas.microsoft.com/office/drawing/2014/main" id="{7C05AE6E-AFD9-A63F-C1F6-0F171D741D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9056" name="Graphic 9055">
                <a:extLst>
                  <a:ext uri="{FF2B5EF4-FFF2-40B4-BE49-F238E27FC236}">
                    <a16:creationId xmlns:a16="http://schemas.microsoft.com/office/drawing/2014/main" id="{5F352A90-D646-A211-3EAC-00DDFB1FD7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9057" name="Graphic 9056">
                <a:extLst>
                  <a:ext uri="{FF2B5EF4-FFF2-40B4-BE49-F238E27FC236}">
                    <a16:creationId xmlns:a16="http://schemas.microsoft.com/office/drawing/2014/main" id="{2D6C092F-F440-9408-FAAE-2441A71BC1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058" name="Graphic 9057">
                <a:extLst>
                  <a:ext uri="{FF2B5EF4-FFF2-40B4-BE49-F238E27FC236}">
                    <a16:creationId xmlns:a16="http://schemas.microsoft.com/office/drawing/2014/main" id="{C6CB4DAE-62EE-9C54-1008-748382E6A8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059" name="Graphic 9058">
                <a:extLst>
                  <a:ext uri="{FF2B5EF4-FFF2-40B4-BE49-F238E27FC236}">
                    <a16:creationId xmlns:a16="http://schemas.microsoft.com/office/drawing/2014/main" id="{66C928A8-C189-55B9-CD4F-56AD2DA9AC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060" name="Graphic 9059">
                <a:extLst>
                  <a:ext uri="{FF2B5EF4-FFF2-40B4-BE49-F238E27FC236}">
                    <a16:creationId xmlns:a16="http://schemas.microsoft.com/office/drawing/2014/main" id="{A5B09D6E-29CE-C5D4-58EE-1BDCBA51D8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9061" name="Graphic 9060">
                <a:extLst>
                  <a:ext uri="{FF2B5EF4-FFF2-40B4-BE49-F238E27FC236}">
                    <a16:creationId xmlns:a16="http://schemas.microsoft.com/office/drawing/2014/main" id="{14E31E52-E07E-6D51-6FEC-ED4E2E62CD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9062" name="Graphic 9061">
                <a:extLst>
                  <a:ext uri="{FF2B5EF4-FFF2-40B4-BE49-F238E27FC236}">
                    <a16:creationId xmlns:a16="http://schemas.microsoft.com/office/drawing/2014/main" id="{ACDE6C86-87ED-80D6-642D-6D0B7323E2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063" name="Graphic 9062">
                <a:extLst>
                  <a:ext uri="{FF2B5EF4-FFF2-40B4-BE49-F238E27FC236}">
                    <a16:creationId xmlns:a16="http://schemas.microsoft.com/office/drawing/2014/main" id="{C6A4C944-04BF-23F6-8FB8-20CCDFE07D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2811" name="Group 2810">
              <a:extLst>
                <a:ext uri="{FF2B5EF4-FFF2-40B4-BE49-F238E27FC236}">
                  <a16:creationId xmlns:a16="http://schemas.microsoft.com/office/drawing/2014/main" id="{C7A9C976-29C5-C9DD-3C18-327DE7BCA19C}"/>
                </a:ext>
              </a:extLst>
            </p:cNvPr>
            <p:cNvGrpSpPr/>
            <p:nvPr/>
          </p:nvGrpSpPr>
          <p:grpSpPr>
            <a:xfrm>
              <a:off x="925277" y="3325992"/>
              <a:ext cx="154130" cy="154130"/>
              <a:chOff x="2898967" y="1781131"/>
              <a:chExt cx="1097280" cy="1097279"/>
            </a:xfrm>
          </p:grpSpPr>
          <p:grpSp>
            <p:nvGrpSpPr>
              <p:cNvPr id="9004" name="Group 9003">
                <a:extLst>
                  <a:ext uri="{FF2B5EF4-FFF2-40B4-BE49-F238E27FC236}">
                    <a16:creationId xmlns:a16="http://schemas.microsoft.com/office/drawing/2014/main" id="{CFED7137-4F11-3421-F178-E6FECDDABDB6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9016" name="Group 9015">
                  <a:extLst>
                    <a:ext uri="{FF2B5EF4-FFF2-40B4-BE49-F238E27FC236}">
                      <a16:creationId xmlns:a16="http://schemas.microsoft.com/office/drawing/2014/main" id="{6A9B3030-EED5-3DAA-D300-EACBF1B64D18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9032" name="Oval 9031">
                    <a:extLst>
                      <a:ext uri="{FF2B5EF4-FFF2-40B4-BE49-F238E27FC236}">
                        <a16:creationId xmlns:a16="http://schemas.microsoft.com/office/drawing/2014/main" id="{DDA96CBF-5A58-78DE-3C12-B98B228F35B0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033" name="Group 9032">
                    <a:extLst>
                      <a:ext uri="{FF2B5EF4-FFF2-40B4-BE49-F238E27FC236}">
                        <a16:creationId xmlns:a16="http://schemas.microsoft.com/office/drawing/2014/main" id="{B2A05D17-EBF4-AD1F-8DA3-11195955C457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9034" name="Graphic 9033">
                      <a:extLst>
                        <a:ext uri="{FF2B5EF4-FFF2-40B4-BE49-F238E27FC236}">
                          <a16:creationId xmlns:a16="http://schemas.microsoft.com/office/drawing/2014/main" id="{BAD2BAB1-EB37-1DE4-C860-BD6C71C0516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35" name="Graphic 9034">
                      <a:extLst>
                        <a:ext uri="{FF2B5EF4-FFF2-40B4-BE49-F238E27FC236}">
                          <a16:creationId xmlns:a16="http://schemas.microsoft.com/office/drawing/2014/main" id="{E1515E1C-E884-0855-8DA7-F916750ACD4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36" name="Graphic 9035">
                      <a:extLst>
                        <a:ext uri="{FF2B5EF4-FFF2-40B4-BE49-F238E27FC236}">
                          <a16:creationId xmlns:a16="http://schemas.microsoft.com/office/drawing/2014/main" id="{E88F457C-B5BC-8454-8277-8708F4283F4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37" name="Graphic 9036">
                      <a:extLst>
                        <a:ext uri="{FF2B5EF4-FFF2-40B4-BE49-F238E27FC236}">
                          <a16:creationId xmlns:a16="http://schemas.microsoft.com/office/drawing/2014/main" id="{5C6021DE-9DDB-8CAB-D79F-55DD825631F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38" name="Graphic 9037">
                      <a:extLst>
                        <a:ext uri="{FF2B5EF4-FFF2-40B4-BE49-F238E27FC236}">
                          <a16:creationId xmlns:a16="http://schemas.microsoft.com/office/drawing/2014/main" id="{EE2E09A5-0FE2-5184-92CB-2F1F33A0C4D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39" name="Graphic 9038">
                      <a:extLst>
                        <a:ext uri="{FF2B5EF4-FFF2-40B4-BE49-F238E27FC236}">
                          <a16:creationId xmlns:a16="http://schemas.microsoft.com/office/drawing/2014/main" id="{444641D4-CF85-4299-8028-D3AA1FB76C2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40" name="Graphic 9039">
                      <a:extLst>
                        <a:ext uri="{FF2B5EF4-FFF2-40B4-BE49-F238E27FC236}">
                          <a16:creationId xmlns:a16="http://schemas.microsoft.com/office/drawing/2014/main" id="{D3B3694D-15E6-1DDB-91F1-F3AD18B3B51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41" name="Graphic 9040">
                      <a:extLst>
                        <a:ext uri="{FF2B5EF4-FFF2-40B4-BE49-F238E27FC236}">
                          <a16:creationId xmlns:a16="http://schemas.microsoft.com/office/drawing/2014/main" id="{C2561C17-FF10-A8D9-AA2B-E6E2594CE58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42" name="Graphic 9041">
                      <a:extLst>
                        <a:ext uri="{FF2B5EF4-FFF2-40B4-BE49-F238E27FC236}">
                          <a16:creationId xmlns:a16="http://schemas.microsoft.com/office/drawing/2014/main" id="{D07E4C55-2917-7311-4453-A5C886E0C2D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43" name="Graphic 9042">
                      <a:extLst>
                        <a:ext uri="{FF2B5EF4-FFF2-40B4-BE49-F238E27FC236}">
                          <a16:creationId xmlns:a16="http://schemas.microsoft.com/office/drawing/2014/main" id="{1A05DD5E-5E0D-079C-6F55-96E2A4CB6C2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44" name="Graphic 9043">
                      <a:extLst>
                        <a:ext uri="{FF2B5EF4-FFF2-40B4-BE49-F238E27FC236}">
                          <a16:creationId xmlns:a16="http://schemas.microsoft.com/office/drawing/2014/main" id="{E9FD6725-3AEB-06B8-868C-18F8A5129D6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45" name="Graphic 9044">
                      <a:extLst>
                        <a:ext uri="{FF2B5EF4-FFF2-40B4-BE49-F238E27FC236}">
                          <a16:creationId xmlns:a16="http://schemas.microsoft.com/office/drawing/2014/main" id="{D82F31DF-C48A-147F-4390-76774144BE8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46" name="Graphic 9045">
                      <a:extLst>
                        <a:ext uri="{FF2B5EF4-FFF2-40B4-BE49-F238E27FC236}">
                          <a16:creationId xmlns:a16="http://schemas.microsoft.com/office/drawing/2014/main" id="{C2D798B2-55C7-2F2E-93AA-1EE2C28599A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47" name="Graphic 9046">
                      <a:extLst>
                        <a:ext uri="{FF2B5EF4-FFF2-40B4-BE49-F238E27FC236}">
                          <a16:creationId xmlns:a16="http://schemas.microsoft.com/office/drawing/2014/main" id="{86D4B250-84AF-5DE9-55B3-EA78EE331D4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48" name="Graphic 9047">
                      <a:extLst>
                        <a:ext uri="{FF2B5EF4-FFF2-40B4-BE49-F238E27FC236}">
                          <a16:creationId xmlns:a16="http://schemas.microsoft.com/office/drawing/2014/main" id="{2BDCD8DA-A7F2-B6BA-0E0C-40493E32479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49" name="Graphic 9048">
                      <a:extLst>
                        <a:ext uri="{FF2B5EF4-FFF2-40B4-BE49-F238E27FC236}">
                          <a16:creationId xmlns:a16="http://schemas.microsoft.com/office/drawing/2014/main" id="{F8BBA4F8-D17A-75C8-31A1-A43337FF6FC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50" name="Graphic 9049">
                      <a:extLst>
                        <a:ext uri="{FF2B5EF4-FFF2-40B4-BE49-F238E27FC236}">
                          <a16:creationId xmlns:a16="http://schemas.microsoft.com/office/drawing/2014/main" id="{1E6FE8B3-10F4-7197-1C05-542B09EBCA1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51" name="Graphic 9050">
                      <a:extLst>
                        <a:ext uri="{FF2B5EF4-FFF2-40B4-BE49-F238E27FC236}">
                          <a16:creationId xmlns:a16="http://schemas.microsoft.com/office/drawing/2014/main" id="{C018B136-A68E-6336-7F2E-FEF46834385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017" name="Graphic 9016">
                  <a:extLst>
                    <a:ext uri="{FF2B5EF4-FFF2-40B4-BE49-F238E27FC236}">
                      <a16:creationId xmlns:a16="http://schemas.microsoft.com/office/drawing/2014/main" id="{F5F3F182-A65E-DA30-C8BE-74C6A91ADC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018" name="Graphic 9017">
                  <a:extLst>
                    <a:ext uri="{FF2B5EF4-FFF2-40B4-BE49-F238E27FC236}">
                      <a16:creationId xmlns:a16="http://schemas.microsoft.com/office/drawing/2014/main" id="{0B982688-77E6-A2E7-8CF2-49EF24D618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019" name="Graphic 9018">
                  <a:extLst>
                    <a:ext uri="{FF2B5EF4-FFF2-40B4-BE49-F238E27FC236}">
                      <a16:creationId xmlns:a16="http://schemas.microsoft.com/office/drawing/2014/main" id="{17186F0D-0B1E-4699-EE41-A2DDC576733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020" name="Graphic 9019">
                  <a:extLst>
                    <a:ext uri="{FF2B5EF4-FFF2-40B4-BE49-F238E27FC236}">
                      <a16:creationId xmlns:a16="http://schemas.microsoft.com/office/drawing/2014/main" id="{D894FAEE-499F-2241-5BC9-E8856C41F8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021" name="Graphic 9020">
                  <a:extLst>
                    <a:ext uri="{FF2B5EF4-FFF2-40B4-BE49-F238E27FC236}">
                      <a16:creationId xmlns:a16="http://schemas.microsoft.com/office/drawing/2014/main" id="{BBF57368-1652-FB41-F1D4-9251D479373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022" name="Graphic 9021">
                  <a:extLst>
                    <a:ext uri="{FF2B5EF4-FFF2-40B4-BE49-F238E27FC236}">
                      <a16:creationId xmlns:a16="http://schemas.microsoft.com/office/drawing/2014/main" id="{AC24C3B6-23E6-DFA2-BF2B-B5EFEE3E185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023" name="Graphic 9022">
                  <a:extLst>
                    <a:ext uri="{FF2B5EF4-FFF2-40B4-BE49-F238E27FC236}">
                      <a16:creationId xmlns:a16="http://schemas.microsoft.com/office/drawing/2014/main" id="{0A0A2ABA-DC8B-CD9C-FBAE-6F704F81B2B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024" name="Graphic 9023">
                  <a:extLst>
                    <a:ext uri="{FF2B5EF4-FFF2-40B4-BE49-F238E27FC236}">
                      <a16:creationId xmlns:a16="http://schemas.microsoft.com/office/drawing/2014/main" id="{E42B9FEA-5E05-584A-30A4-D76B9263E64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025" name="Graphic 9024">
                  <a:extLst>
                    <a:ext uri="{FF2B5EF4-FFF2-40B4-BE49-F238E27FC236}">
                      <a16:creationId xmlns:a16="http://schemas.microsoft.com/office/drawing/2014/main" id="{15C5BD96-FDD2-EAC3-B5C5-66B7DAF2CA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9026" name="Graphic 9025">
                  <a:extLst>
                    <a:ext uri="{FF2B5EF4-FFF2-40B4-BE49-F238E27FC236}">
                      <a16:creationId xmlns:a16="http://schemas.microsoft.com/office/drawing/2014/main" id="{54500C93-F618-48B8-CB86-2BE0924D785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027" name="Graphic 9026">
                  <a:extLst>
                    <a:ext uri="{FF2B5EF4-FFF2-40B4-BE49-F238E27FC236}">
                      <a16:creationId xmlns:a16="http://schemas.microsoft.com/office/drawing/2014/main" id="{ACA60E86-D638-8FFF-EC04-1DC997BC7D9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028" name="Graphic 9027">
                  <a:extLst>
                    <a:ext uri="{FF2B5EF4-FFF2-40B4-BE49-F238E27FC236}">
                      <a16:creationId xmlns:a16="http://schemas.microsoft.com/office/drawing/2014/main" id="{11FD6F83-1BF1-B6B7-1C55-E9D7D31184D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029" name="Graphic 9028">
                  <a:extLst>
                    <a:ext uri="{FF2B5EF4-FFF2-40B4-BE49-F238E27FC236}">
                      <a16:creationId xmlns:a16="http://schemas.microsoft.com/office/drawing/2014/main" id="{8D86DAE3-C60F-7B8F-88DD-84FD84C136A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030" name="Graphic 9029">
                  <a:extLst>
                    <a:ext uri="{FF2B5EF4-FFF2-40B4-BE49-F238E27FC236}">
                      <a16:creationId xmlns:a16="http://schemas.microsoft.com/office/drawing/2014/main" id="{57A3A0B4-0CBC-59BC-74B2-1287F36115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031" name="Graphic 9030">
                  <a:extLst>
                    <a:ext uri="{FF2B5EF4-FFF2-40B4-BE49-F238E27FC236}">
                      <a16:creationId xmlns:a16="http://schemas.microsoft.com/office/drawing/2014/main" id="{C5018747-4B28-1BC0-8A79-0228EB5211F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9005" name="Graphic 9004">
                <a:extLst>
                  <a:ext uri="{FF2B5EF4-FFF2-40B4-BE49-F238E27FC236}">
                    <a16:creationId xmlns:a16="http://schemas.microsoft.com/office/drawing/2014/main" id="{DF1FCEA3-8B7F-F73F-7836-447CD10FBB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006" name="Graphic 9005">
                <a:extLst>
                  <a:ext uri="{FF2B5EF4-FFF2-40B4-BE49-F238E27FC236}">
                    <a16:creationId xmlns:a16="http://schemas.microsoft.com/office/drawing/2014/main" id="{78C61645-9FE1-1BDC-E9D9-D25FB78C1F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007" name="Graphic 9006">
                <a:extLst>
                  <a:ext uri="{FF2B5EF4-FFF2-40B4-BE49-F238E27FC236}">
                    <a16:creationId xmlns:a16="http://schemas.microsoft.com/office/drawing/2014/main" id="{6FBC3FAA-7EC8-4001-5269-736DF973A0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9008" name="Graphic 9007">
                <a:extLst>
                  <a:ext uri="{FF2B5EF4-FFF2-40B4-BE49-F238E27FC236}">
                    <a16:creationId xmlns:a16="http://schemas.microsoft.com/office/drawing/2014/main" id="{B4A6B11E-1755-91E2-65CE-8F6FE1F748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9009" name="Graphic 9008">
                <a:extLst>
                  <a:ext uri="{FF2B5EF4-FFF2-40B4-BE49-F238E27FC236}">
                    <a16:creationId xmlns:a16="http://schemas.microsoft.com/office/drawing/2014/main" id="{0EED8397-5EFC-96C4-EC73-29F28BD9AB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010" name="Graphic 9009">
                <a:extLst>
                  <a:ext uri="{FF2B5EF4-FFF2-40B4-BE49-F238E27FC236}">
                    <a16:creationId xmlns:a16="http://schemas.microsoft.com/office/drawing/2014/main" id="{B9CA06A3-152D-1F78-81E8-FCF6E696D8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011" name="Graphic 9010">
                <a:extLst>
                  <a:ext uri="{FF2B5EF4-FFF2-40B4-BE49-F238E27FC236}">
                    <a16:creationId xmlns:a16="http://schemas.microsoft.com/office/drawing/2014/main" id="{C530714E-A83A-5B70-3551-7C5239E0C6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012" name="Graphic 9011">
                <a:extLst>
                  <a:ext uri="{FF2B5EF4-FFF2-40B4-BE49-F238E27FC236}">
                    <a16:creationId xmlns:a16="http://schemas.microsoft.com/office/drawing/2014/main" id="{B54C62BE-CE57-1E3C-2A53-E384BE27E5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9013" name="Graphic 9012">
                <a:extLst>
                  <a:ext uri="{FF2B5EF4-FFF2-40B4-BE49-F238E27FC236}">
                    <a16:creationId xmlns:a16="http://schemas.microsoft.com/office/drawing/2014/main" id="{CC4E1FA8-EF9E-6903-658A-8670682D65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9014" name="Graphic 9013">
                <a:extLst>
                  <a:ext uri="{FF2B5EF4-FFF2-40B4-BE49-F238E27FC236}">
                    <a16:creationId xmlns:a16="http://schemas.microsoft.com/office/drawing/2014/main" id="{C5A502A6-4D35-C2B1-9BD1-1B65B61013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015" name="Graphic 9014">
                <a:extLst>
                  <a:ext uri="{FF2B5EF4-FFF2-40B4-BE49-F238E27FC236}">
                    <a16:creationId xmlns:a16="http://schemas.microsoft.com/office/drawing/2014/main" id="{1A3545FC-79AC-CF76-CF57-40C28714BB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2812" name="Group 2811">
              <a:extLst>
                <a:ext uri="{FF2B5EF4-FFF2-40B4-BE49-F238E27FC236}">
                  <a16:creationId xmlns:a16="http://schemas.microsoft.com/office/drawing/2014/main" id="{D465CAC4-EE66-300A-7FFF-9886DD76BD9B}"/>
                </a:ext>
              </a:extLst>
            </p:cNvPr>
            <p:cNvGrpSpPr/>
            <p:nvPr/>
          </p:nvGrpSpPr>
          <p:grpSpPr>
            <a:xfrm>
              <a:off x="759747" y="3599216"/>
              <a:ext cx="154130" cy="154130"/>
              <a:chOff x="2898967" y="1781131"/>
              <a:chExt cx="1097280" cy="1097279"/>
            </a:xfrm>
          </p:grpSpPr>
          <p:grpSp>
            <p:nvGrpSpPr>
              <p:cNvPr id="8956" name="Group 8955">
                <a:extLst>
                  <a:ext uri="{FF2B5EF4-FFF2-40B4-BE49-F238E27FC236}">
                    <a16:creationId xmlns:a16="http://schemas.microsoft.com/office/drawing/2014/main" id="{57C8F510-CD22-C130-5A21-0356754773B4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8968" name="Group 8967">
                  <a:extLst>
                    <a:ext uri="{FF2B5EF4-FFF2-40B4-BE49-F238E27FC236}">
                      <a16:creationId xmlns:a16="http://schemas.microsoft.com/office/drawing/2014/main" id="{2D538919-4B59-CDB3-15E2-A4A8950FBAA1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8984" name="Oval 8983">
                    <a:extLst>
                      <a:ext uri="{FF2B5EF4-FFF2-40B4-BE49-F238E27FC236}">
                        <a16:creationId xmlns:a16="http://schemas.microsoft.com/office/drawing/2014/main" id="{8980567B-A460-D916-E3B8-292059540FC8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8985" name="Group 8984">
                    <a:extLst>
                      <a:ext uri="{FF2B5EF4-FFF2-40B4-BE49-F238E27FC236}">
                        <a16:creationId xmlns:a16="http://schemas.microsoft.com/office/drawing/2014/main" id="{8884F93C-195B-CA94-B956-0A4D40B0DB32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8986" name="Graphic 8985">
                      <a:extLst>
                        <a:ext uri="{FF2B5EF4-FFF2-40B4-BE49-F238E27FC236}">
                          <a16:creationId xmlns:a16="http://schemas.microsoft.com/office/drawing/2014/main" id="{488D40F0-8900-26D9-E245-7462492AEF4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87" name="Graphic 8986">
                      <a:extLst>
                        <a:ext uri="{FF2B5EF4-FFF2-40B4-BE49-F238E27FC236}">
                          <a16:creationId xmlns:a16="http://schemas.microsoft.com/office/drawing/2014/main" id="{B0A224C2-2223-527F-A808-B8448C0AAA8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88" name="Graphic 8987">
                      <a:extLst>
                        <a:ext uri="{FF2B5EF4-FFF2-40B4-BE49-F238E27FC236}">
                          <a16:creationId xmlns:a16="http://schemas.microsoft.com/office/drawing/2014/main" id="{D720DDAC-D378-5D6C-1568-A9291F32E41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89" name="Graphic 8988">
                      <a:extLst>
                        <a:ext uri="{FF2B5EF4-FFF2-40B4-BE49-F238E27FC236}">
                          <a16:creationId xmlns:a16="http://schemas.microsoft.com/office/drawing/2014/main" id="{CF8B8B22-AF3E-6ABB-73DD-CE5615C3373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90" name="Graphic 8989">
                      <a:extLst>
                        <a:ext uri="{FF2B5EF4-FFF2-40B4-BE49-F238E27FC236}">
                          <a16:creationId xmlns:a16="http://schemas.microsoft.com/office/drawing/2014/main" id="{8806154E-1C3F-22F6-B6DD-69E09DB4001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91" name="Graphic 8990">
                      <a:extLst>
                        <a:ext uri="{FF2B5EF4-FFF2-40B4-BE49-F238E27FC236}">
                          <a16:creationId xmlns:a16="http://schemas.microsoft.com/office/drawing/2014/main" id="{C29F1560-29B2-E852-ED4B-9DE3C8E02DF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92" name="Graphic 8991">
                      <a:extLst>
                        <a:ext uri="{FF2B5EF4-FFF2-40B4-BE49-F238E27FC236}">
                          <a16:creationId xmlns:a16="http://schemas.microsoft.com/office/drawing/2014/main" id="{AFB34E71-6E50-10AD-36B5-4BFD5D73D8D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93" name="Graphic 8992">
                      <a:extLst>
                        <a:ext uri="{FF2B5EF4-FFF2-40B4-BE49-F238E27FC236}">
                          <a16:creationId xmlns:a16="http://schemas.microsoft.com/office/drawing/2014/main" id="{89986690-A93F-E1B2-8315-753F9A2C1E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94" name="Graphic 8993">
                      <a:extLst>
                        <a:ext uri="{FF2B5EF4-FFF2-40B4-BE49-F238E27FC236}">
                          <a16:creationId xmlns:a16="http://schemas.microsoft.com/office/drawing/2014/main" id="{6AEFA111-ABE7-77AA-1D47-D95D847D7E4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95" name="Graphic 8994">
                      <a:extLst>
                        <a:ext uri="{FF2B5EF4-FFF2-40B4-BE49-F238E27FC236}">
                          <a16:creationId xmlns:a16="http://schemas.microsoft.com/office/drawing/2014/main" id="{CE5ABED2-32BD-2647-9D6D-7952ECEA6EE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96" name="Graphic 8995">
                      <a:extLst>
                        <a:ext uri="{FF2B5EF4-FFF2-40B4-BE49-F238E27FC236}">
                          <a16:creationId xmlns:a16="http://schemas.microsoft.com/office/drawing/2014/main" id="{2D057203-1AC8-AFFD-5745-ECC71BF2D3E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97" name="Graphic 8996">
                      <a:extLst>
                        <a:ext uri="{FF2B5EF4-FFF2-40B4-BE49-F238E27FC236}">
                          <a16:creationId xmlns:a16="http://schemas.microsoft.com/office/drawing/2014/main" id="{214C06ED-BF1F-6D4B-76DA-5679C0131FC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98" name="Graphic 8997">
                      <a:extLst>
                        <a:ext uri="{FF2B5EF4-FFF2-40B4-BE49-F238E27FC236}">
                          <a16:creationId xmlns:a16="http://schemas.microsoft.com/office/drawing/2014/main" id="{5B2D2AAA-C2D2-5B01-B120-1339533AEF0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99" name="Graphic 8998">
                      <a:extLst>
                        <a:ext uri="{FF2B5EF4-FFF2-40B4-BE49-F238E27FC236}">
                          <a16:creationId xmlns:a16="http://schemas.microsoft.com/office/drawing/2014/main" id="{A9335800-2CDB-D6C3-F8C9-17424F465B0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00" name="Graphic 8999">
                      <a:extLst>
                        <a:ext uri="{FF2B5EF4-FFF2-40B4-BE49-F238E27FC236}">
                          <a16:creationId xmlns:a16="http://schemas.microsoft.com/office/drawing/2014/main" id="{00F32EFC-C15E-215C-844B-D15E54BB2BC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01" name="Graphic 9000">
                      <a:extLst>
                        <a:ext uri="{FF2B5EF4-FFF2-40B4-BE49-F238E27FC236}">
                          <a16:creationId xmlns:a16="http://schemas.microsoft.com/office/drawing/2014/main" id="{844FD71E-90B1-2A97-81FD-F86FCE7D737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02" name="Graphic 9001">
                      <a:extLst>
                        <a:ext uri="{FF2B5EF4-FFF2-40B4-BE49-F238E27FC236}">
                          <a16:creationId xmlns:a16="http://schemas.microsoft.com/office/drawing/2014/main" id="{F708B839-1A12-2588-ECF8-C1098B607F4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03" name="Graphic 9002">
                      <a:extLst>
                        <a:ext uri="{FF2B5EF4-FFF2-40B4-BE49-F238E27FC236}">
                          <a16:creationId xmlns:a16="http://schemas.microsoft.com/office/drawing/2014/main" id="{B1DD1DB0-B7F4-51BE-A149-CA4CCAA0AB6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8969" name="Graphic 8968">
                  <a:extLst>
                    <a:ext uri="{FF2B5EF4-FFF2-40B4-BE49-F238E27FC236}">
                      <a16:creationId xmlns:a16="http://schemas.microsoft.com/office/drawing/2014/main" id="{7BED4274-6433-F492-7B25-6876E04F85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970" name="Graphic 8969">
                  <a:extLst>
                    <a:ext uri="{FF2B5EF4-FFF2-40B4-BE49-F238E27FC236}">
                      <a16:creationId xmlns:a16="http://schemas.microsoft.com/office/drawing/2014/main" id="{741F2E59-80CF-0BD1-93AA-12927D799A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971" name="Graphic 8970">
                  <a:extLst>
                    <a:ext uri="{FF2B5EF4-FFF2-40B4-BE49-F238E27FC236}">
                      <a16:creationId xmlns:a16="http://schemas.microsoft.com/office/drawing/2014/main" id="{44C32A89-5B68-EF29-59F0-44D5172F65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972" name="Graphic 8971">
                  <a:extLst>
                    <a:ext uri="{FF2B5EF4-FFF2-40B4-BE49-F238E27FC236}">
                      <a16:creationId xmlns:a16="http://schemas.microsoft.com/office/drawing/2014/main" id="{30233B6A-5581-4E2A-3E32-7FE7D91696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973" name="Graphic 8972">
                  <a:extLst>
                    <a:ext uri="{FF2B5EF4-FFF2-40B4-BE49-F238E27FC236}">
                      <a16:creationId xmlns:a16="http://schemas.microsoft.com/office/drawing/2014/main" id="{2E16000F-A57C-BDDB-5A45-9BB114B918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974" name="Graphic 8973">
                  <a:extLst>
                    <a:ext uri="{FF2B5EF4-FFF2-40B4-BE49-F238E27FC236}">
                      <a16:creationId xmlns:a16="http://schemas.microsoft.com/office/drawing/2014/main" id="{C2350E84-A386-7A3D-CEFD-A257002C72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975" name="Graphic 8974">
                  <a:extLst>
                    <a:ext uri="{FF2B5EF4-FFF2-40B4-BE49-F238E27FC236}">
                      <a16:creationId xmlns:a16="http://schemas.microsoft.com/office/drawing/2014/main" id="{7320EC04-44FA-89E1-231F-9D6B6D8757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976" name="Graphic 8975">
                  <a:extLst>
                    <a:ext uri="{FF2B5EF4-FFF2-40B4-BE49-F238E27FC236}">
                      <a16:creationId xmlns:a16="http://schemas.microsoft.com/office/drawing/2014/main" id="{D3CCD766-974D-BC2F-C502-CA0865EBED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977" name="Graphic 8976">
                  <a:extLst>
                    <a:ext uri="{FF2B5EF4-FFF2-40B4-BE49-F238E27FC236}">
                      <a16:creationId xmlns:a16="http://schemas.microsoft.com/office/drawing/2014/main" id="{F58B5874-41EC-8D8F-F2B3-BC8333DF92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8978" name="Graphic 8977">
                  <a:extLst>
                    <a:ext uri="{FF2B5EF4-FFF2-40B4-BE49-F238E27FC236}">
                      <a16:creationId xmlns:a16="http://schemas.microsoft.com/office/drawing/2014/main" id="{953ADB67-A61E-C242-9267-D396477529F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979" name="Graphic 8978">
                  <a:extLst>
                    <a:ext uri="{FF2B5EF4-FFF2-40B4-BE49-F238E27FC236}">
                      <a16:creationId xmlns:a16="http://schemas.microsoft.com/office/drawing/2014/main" id="{22693DDE-9EBF-0F21-E31E-73EC26ACB6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980" name="Graphic 8979">
                  <a:extLst>
                    <a:ext uri="{FF2B5EF4-FFF2-40B4-BE49-F238E27FC236}">
                      <a16:creationId xmlns:a16="http://schemas.microsoft.com/office/drawing/2014/main" id="{B2A53138-D4EB-4F5E-B866-3AE9DC6314E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981" name="Graphic 8980">
                  <a:extLst>
                    <a:ext uri="{FF2B5EF4-FFF2-40B4-BE49-F238E27FC236}">
                      <a16:creationId xmlns:a16="http://schemas.microsoft.com/office/drawing/2014/main" id="{65C0BD6B-FA70-9C6A-A5C9-DA16B6A919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982" name="Graphic 8981">
                  <a:extLst>
                    <a:ext uri="{FF2B5EF4-FFF2-40B4-BE49-F238E27FC236}">
                      <a16:creationId xmlns:a16="http://schemas.microsoft.com/office/drawing/2014/main" id="{9FEDE107-3FA4-FDE9-1AD7-B9B20146405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983" name="Graphic 8982">
                  <a:extLst>
                    <a:ext uri="{FF2B5EF4-FFF2-40B4-BE49-F238E27FC236}">
                      <a16:creationId xmlns:a16="http://schemas.microsoft.com/office/drawing/2014/main" id="{ADC8DF1E-40F7-1E3B-B445-50663B520FB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8957" name="Graphic 8956">
                <a:extLst>
                  <a:ext uri="{FF2B5EF4-FFF2-40B4-BE49-F238E27FC236}">
                    <a16:creationId xmlns:a16="http://schemas.microsoft.com/office/drawing/2014/main" id="{65AAB79A-84F1-55A7-17BD-7B85C25CED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958" name="Graphic 8957">
                <a:extLst>
                  <a:ext uri="{FF2B5EF4-FFF2-40B4-BE49-F238E27FC236}">
                    <a16:creationId xmlns:a16="http://schemas.microsoft.com/office/drawing/2014/main" id="{9844E8FC-CF55-99E0-3B5F-88598B02D9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959" name="Graphic 8958">
                <a:extLst>
                  <a:ext uri="{FF2B5EF4-FFF2-40B4-BE49-F238E27FC236}">
                    <a16:creationId xmlns:a16="http://schemas.microsoft.com/office/drawing/2014/main" id="{B91F13F4-EC45-B0C5-368D-F786A5EE4D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8960" name="Graphic 8959">
                <a:extLst>
                  <a:ext uri="{FF2B5EF4-FFF2-40B4-BE49-F238E27FC236}">
                    <a16:creationId xmlns:a16="http://schemas.microsoft.com/office/drawing/2014/main" id="{A80B805E-EDA7-3509-7B71-98D5752247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8961" name="Graphic 8960">
                <a:extLst>
                  <a:ext uri="{FF2B5EF4-FFF2-40B4-BE49-F238E27FC236}">
                    <a16:creationId xmlns:a16="http://schemas.microsoft.com/office/drawing/2014/main" id="{26235A71-BA79-FCAD-287C-8B4DA7D87D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962" name="Graphic 8961">
                <a:extLst>
                  <a:ext uri="{FF2B5EF4-FFF2-40B4-BE49-F238E27FC236}">
                    <a16:creationId xmlns:a16="http://schemas.microsoft.com/office/drawing/2014/main" id="{41C83A94-59E5-468B-141E-93E53B1B63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963" name="Graphic 8962">
                <a:extLst>
                  <a:ext uri="{FF2B5EF4-FFF2-40B4-BE49-F238E27FC236}">
                    <a16:creationId xmlns:a16="http://schemas.microsoft.com/office/drawing/2014/main" id="{61BED6A2-7BC8-214B-A5B7-D4B471BC20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964" name="Graphic 8963">
                <a:extLst>
                  <a:ext uri="{FF2B5EF4-FFF2-40B4-BE49-F238E27FC236}">
                    <a16:creationId xmlns:a16="http://schemas.microsoft.com/office/drawing/2014/main" id="{3671ED0C-1A29-3B34-B606-943986CF41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8965" name="Graphic 8964">
                <a:extLst>
                  <a:ext uri="{FF2B5EF4-FFF2-40B4-BE49-F238E27FC236}">
                    <a16:creationId xmlns:a16="http://schemas.microsoft.com/office/drawing/2014/main" id="{43E5BFDB-BB98-C4DA-5F1E-891C646D85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8966" name="Graphic 8965">
                <a:extLst>
                  <a:ext uri="{FF2B5EF4-FFF2-40B4-BE49-F238E27FC236}">
                    <a16:creationId xmlns:a16="http://schemas.microsoft.com/office/drawing/2014/main" id="{7B03283E-91CE-15E0-6343-992A005439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967" name="Graphic 8966">
                <a:extLst>
                  <a:ext uri="{FF2B5EF4-FFF2-40B4-BE49-F238E27FC236}">
                    <a16:creationId xmlns:a16="http://schemas.microsoft.com/office/drawing/2014/main" id="{93D4DEF2-A249-9943-B3EF-0AAF108C29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2813" name="Group 2812">
              <a:extLst>
                <a:ext uri="{FF2B5EF4-FFF2-40B4-BE49-F238E27FC236}">
                  <a16:creationId xmlns:a16="http://schemas.microsoft.com/office/drawing/2014/main" id="{2797CF71-EF10-F0ED-4E43-D3477C2C8408}"/>
                </a:ext>
              </a:extLst>
            </p:cNvPr>
            <p:cNvGrpSpPr/>
            <p:nvPr/>
          </p:nvGrpSpPr>
          <p:grpSpPr>
            <a:xfrm>
              <a:off x="1606108" y="3483229"/>
              <a:ext cx="175847" cy="175847"/>
              <a:chOff x="2898967" y="1781131"/>
              <a:chExt cx="1097280" cy="1097279"/>
            </a:xfrm>
          </p:grpSpPr>
          <p:grpSp>
            <p:nvGrpSpPr>
              <p:cNvPr id="8908" name="Group 8907">
                <a:extLst>
                  <a:ext uri="{FF2B5EF4-FFF2-40B4-BE49-F238E27FC236}">
                    <a16:creationId xmlns:a16="http://schemas.microsoft.com/office/drawing/2014/main" id="{742F4C86-E482-8A59-64F2-2F689E08F12F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8920" name="Group 8919">
                  <a:extLst>
                    <a:ext uri="{FF2B5EF4-FFF2-40B4-BE49-F238E27FC236}">
                      <a16:creationId xmlns:a16="http://schemas.microsoft.com/office/drawing/2014/main" id="{D78E68C9-CD06-AF68-989B-CFE38D752E9E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8936" name="Oval 8935">
                    <a:extLst>
                      <a:ext uri="{FF2B5EF4-FFF2-40B4-BE49-F238E27FC236}">
                        <a16:creationId xmlns:a16="http://schemas.microsoft.com/office/drawing/2014/main" id="{94464138-EFC0-D5A3-7C45-32CB2E644E4E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8937" name="Group 8936">
                    <a:extLst>
                      <a:ext uri="{FF2B5EF4-FFF2-40B4-BE49-F238E27FC236}">
                        <a16:creationId xmlns:a16="http://schemas.microsoft.com/office/drawing/2014/main" id="{7ECE583E-D42E-2C44-49C6-F1013C9D4739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8938" name="Graphic 8937">
                      <a:extLst>
                        <a:ext uri="{FF2B5EF4-FFF2-40B4-BE49-F238E27FC236}">
                          <a16:creationId xmlns:a16="http://schemas.microsoft.com/office/drawing/2014/main" id="{B6724F3F-1D47-774C-E1B9-540C7504E97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39" name="Graphic 8938">
                      <a:extLst>
                        <a:ext uri="{FF2B5EF4-FFF2-40B4-BE49-F238E27FC236}">
                          <a16:creationId xmlns:a16="http://schemas.microsoft.com/office/drawing/2014/main" id="{4B279F08-1D70-A22F-30DB-6692D783D94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40" name="Graphic 8939">
                      <a:extLst>
                        <a:ext uri="{FF2B5EF4-FFF2-40B4-BE49-F238E27FC236}">
                          <a16:creationId xmlns:a16="http://schemas.microsoft.com/office/drawing/2014/main" id="{F2C74F6F-300C-59D5-6D0C-DCE4969A2A0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41" name="Graphic 8940">
                      <a:extLst>
                        <a:ext uri="{FF2B5EF4-FFF2-40B4-BE49-F238E27FC236}">
                          <a16:creationId xmlns:a16="http://schemas.microsoft.com/office/drawing/2014/main" id="{02CFB933-9386-7080-9032-2637CB336E2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42" name="Graphic 8941">
                      <a:extLst>
                        <a:ext uri="{FF2B5EF4-FFF2-40B4-BE49-F238E27FC236}">
                          <a16:creationId xmlns:a16="http://schemas.microsoft.com/office/drawing/2014/main" id="{1FD0D026-8646-41FE-D4A7-DFAD32A0407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43" name="Graphic 8942">
                      <a:extLst>
                        <a:ext uri="{FF2B5EF4-FFF2-40B4-BE49-F238E27FC236}">
                          <a16:creationId xmlns:a16="http://schemas.microsoft.com/office/drawing/2014/main" id="{167E9101-3455-1AF8-3DCA-EC9F15D936D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44" name="Graphic 8943">
                      <a:extLst>
                        <a:ext uri="{FF2B5EF4-FFF2-40B4-BE49-F238E27FC236}">
                          <a16:creationId xmlns:a16="http://schemas.microsoft.com/office/drawing/2014/main" id="{2A2DCD4C-1044-EAD7-D86E-6A8BFA0E25E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45" name="Graphic 8944">
                      <a:extLst>
                        <a:ext uri="{FF2B5EF4-FFF2-40B4-BE49-F238E27FC236}">
                          <a16:creationId xmlns:a16="http://schemas.microsoft.com/office/drawing/2014/main" id="{4F617635-9F8C-C0A5-A1D6-A7D0D915EA1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46" name="Graphic 8945">
                      <a:extLst>
                        <a:ext uri="{FF2B5EF4-FFF2-40B4-BE49-F238E27FC236}">
                          <a16:creationId xmlns:a16="http://schemas.microsoft.com/office/drawing/2014/main" id="{C048AFB7-B930-EFC1-8956-BD4EC40D08C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47" name="Graphic 8946">
                      <a:extLst>
                        <a:ext uri="{FF2B5EF4-FFF2-40B4-BE49-F238E27FC236}">
                          <a16:creationId xmlns:a16="http://schemas.microsoft.com/office/drawing/2014/main" id="{7E73D805-825E-EBA2-AE3B-723413FBF41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48" name="Graphic 8947">
                      <a:extLst>
                        <a:ext uri="{FF2B5EF4-FFF2-40B4-BE49-F238E27FC236}">
                          <a16:creationId xmlns:a16="http://schemas.microsoft.com/office/drawing/2014/main" id="{206E9B7E-DA8C-0941-7DBB-A88DAA62A0B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49" name="Graphic 8948">
                      <a:extLst>
                        <a:ext uri="{FF2B5EF4-FFF2-40B4-BE49-F238E27FC236}">
                          <a16:creationId xmlns:a16="http://schemas.microsoft.com/office/drawing/2014/main" id="{761D514E-4132-6CCB-1013-63D99FCD7A5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50" name="Graphic 8949">
                      <a:extLst>
                        <a:ext uri="{FF2B5EF4-FFF2-40B4-BE49-F238E27FC236}">
                          <a16:creationId xmlns:a16="http://schemas.microsoft.com/office/drawing/2014/main" id="{7358BE83-6731-8308-679E-A459C8F2676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51" name="Graphic 8950">
                      <a:extLst>
                        <a:ext uri="{FF2B5EF4-FFF2-40B4-BE49-F238E27FC236}">
                          <a16:creationId xmlns:a16="http://schemas.microsoft.com/office/drawing/2014/main" id="{9004194C-5BB3-422B-D973-1EF33A5E5A8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52" name="Graphic 8951">
                      <a:extLst>
                        <a:ext uri="{FF2B5EF4-FFF2-40B4-BE49-F238E27FC236}">
                          <a16:creationId xmlns:a16="http://schemas.microsoft.com/office/drawing/2014/main" id="{EC5AF014-8B68-3252-242F-A0AC3F2BAA2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53" name="Graphic 8952">
                      <a:extLst>
                        <a:ext uri="{FF2B5EF4-FFF2-40B4-BE49-F238E27FC236}">
                          <a16:creationId xmlns:a16="http://schemas.microsoft.com/office/drawing/2014/main" id="{D7840B12-3FE6-65AD-58AD-EAF838C0210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54" name="Graphic 8953">
                      <a:extLst>
                        <a:ext uri="{FF2B5EF4-FFF2-40B4-BE49-F238E27FC236}">
                          <a16:creationId xmlns:a16="http://schemas.microsoft.com/office/drawing/2014/main" id="{4BDD8479-54BD-C121-9912-43C195A9493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55" name="Graphic 8954">
                      <a:extLst>
                        <a:ext uri="{FF2B5EF4-FFF2-40B4-BE49-F238E27FC236}">
                          <a16:creationId xmlns:a16="http://schemas.microsoft.com/office/drawing/2014/main" id="{6FC54C0C-F2E4-D90B-CB34-14F61AFEC9E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8921" name="Graphic 8920">
                  <a:extLst>
                    <a:ext uri="{FF2B5EF4-FFF2-40B4-BE49-F238E27FC236}">
                      <a16:creationId xmlns:a16="http://schemas.microsoft.com/office/drawing/2014/main" id="{C5A37172-CCCA-A815-68D7-D342671256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922" name="Graphic 8921">
                  <a:extLst>
                    <a:ext uri="{FF2B5EF4-FFF2-40B4-BE49-F238E27FC236}">
                      <a16:creationId xmlns:a16="http://schemas.microsoft.com/office/drawing/2014/main" id="{91E29065-3121-522E-0F50-30D6F36B497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923" name="Graphic 8922">
                  <a:extLst>
                    <a:ext uri="{FF2B5EF4-FFF2-40B4-BE49-F238E27FC236}">
                      <a16:creationId xmlns:a16="http://schemas.microsoft.com/office/drawing/2014/main" id="{2CBD83C7-53B9-63FF-2460-23A133259B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924" name="Graphic 8923">
                  <a:extLst>
                    <a:ext uri="{FF2B5EF4-FFF2-40B4-BE49-F238E27FC236}">
                      <a16:creationId xmlns:a16="http://schemas.microsoft.com/office/drawing/2014/main" id="{78DBD4D5-4732-442C-8C55-34BA9F9F168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925" name="Graphic 8924">
                  <a:extLst>
                    <a:ext uri="{FF2B5EF4-FFF2-40B4-BE49-F238E27FC236}">
                      <a16:creationId xmlns:a16="http://schemas.microsoft.com/office/drawing/2014/main" id="{75C300F8-7C3D-66AB-B1A9-339421EB7AE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926" name="Graphic 8925">
                  <a:extLst>
                    <a:ext uri="{FF2B5EF4-FFF2-40B4-BE49-F238E27FC236}">
                      <a16:creationId xmlns:a16="http://schemas.microsoft.com/office/drawing/2014/main" id="{371306BD-B8DE-7116-D203-FD46BB28DA3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927" name="Graphic 8926">
                  <a:extLst>
                    <a:ext uri="{FF2B5EF4-FFF2-40B4-BE49-F238E27FC236}">
                      <a16:creationId xmlns:a16="http://schemas.microsoft.com/office/drawing/2014/main" id="{72545FEF-56BF-09C0-627F-B5B19B214A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928" name="Graphic 8927">
                  <a:extLst>
                    <a:ext uri="{FF2B5EF4-FFF2-40B4-BE49-F238E27FC236}">
                      <a16:creationId xmlns:a16="http://schemas.microsoft.com/office/drawing/2014/main" id="{A19BBBC8-B4C8-8E3A-C541-DFC1EFDB0F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929" name="Graphic 8928">
                  <a:extLst>
                    <a:ext uri="{FF2B5EF4-FFF2-40B4-BE49-F238E27FC236}">
                      <a16:creationId xmlns:a16="http://schemas.microsoft.com/office/drawing/2014/main" id="{638DDB8A-73F8-BC65-DD54-1EB772F87CB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8930" name="Graphic 8929">
                  <a:extLst>
                    <a:ext uri="{FF2B5EF4-FFF2-40B4-BE49-F238E27FC236}">
                      <a16:creationId xmlns:a16="http://schemas.microsoft.com/office/drawing/2014/main" id="{E9B13CF3-FAA0-373F-B341-300ACBC1A67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931" name="Graphic 8930">
                  <a:extLst>
                    <a:ext uri="{FF2B5EF4-FFF2-40B4-BE49-F238E27FC236}">
                      <a16:creationId xmlns:a16="http://schemas.microsoft.com/office/drawing/2014/main" id="{61D439A1-443B-2F51-ECE0-EEAEF65F83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932" name="Graphic 8931">
                  <a:extLst>
                    <a:ext uri="{FF2B5EF4-FFF2-40B4-BE49-F238E27FC236}">
                      <a16:creationId xmlns:a16="http://schemas.microsoft.com/office/drawing/2014/main" id="{FAE4A5B4-BAA0-DBAF-EE91-E8926CBCFE0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933" name="Graphic 8932">
                  <a:extLst>
                    <a:ext uri="{FF2B5EF4-FFF2-40B4-BE49-F238E27FC236}">
                      <a16:creationId xmlns:a16="http://schemas.microsoft.com/office/drawing/2014/main" id="{9A19648B-9131-BDE4-94AE-A9BD7A8A86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934" name="Graphic 8933">
                  <a:extLst>
                    <a:ext uri="{FF2B5EF4-FFF2-40B4-BE49-F238E27FC236}">
                      <a16:creationId xmlns:a16="http://schemas.microsoft.com/office/drawing/2014/main" id="{F5DFA896-C64A-2CFF-45A1-250DDF97589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935" name="Graphic 8934">
                  <a:extLst>
                    <a:ext uri="{FF2B5EF4-FFF2-40B4-BE49-F238E27FC236}">
                      <a16:creationId xmlns:a16="http://schemas.microsoft.com/office/drawing/2014/main" id="{98F5443E-495E-30C4-C0B6-A0EC6537FC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8909" name="Graphic 8908">
                <a:extLst>
                  <a:ext uri="{FF2B5EF4-FFF2-40B4-BE49-F238E27FC236}">
                    <a16:creationId xmlns:a16="http://schemas.microsoft.com/office/drawing/2014/main" id="{4F7189BF-B8E9-6B62-A6B2-276B40A9E5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910" name="Graphic 8909">
                <a:extLst>
                  <a:ext uri="{FF2B5EF4-FFF2-40B4-BE49-F238E27FC236}">
                    <a16:creationId xmlns:a16="http://schemas.microsoft.com/office/drawing/2014/main" id="{F228EB01-422C-A13B-2418-66B958C0E6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911" name="Graphic 8910">
                <a:extLst>
                  <a:ext uri="{FF2B5EF4-FFF2-40B4-BE49-F238E27FC236}">
                    <a16:creationId xmlns:a16="http://schemas.microsoft.com/office/drawing/2014/main" id="{B01F571F-88F2-F74B-A7C4-72438FF3AC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8912" name="Graphic 8911">
                <a:extLst>
                  <a:ext uri="{FF2B5EF4-FFF2-40B4-BE49-F238E27FC236}">
                    <a16:creationId xmlns:a16="http://schemas.microsoft.com/office/drawing/2014/main" id="{B1AAB60E-6DD7-54D1-0E64-54757EDE0B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8913" name="Graphic 8912">
                <a:extLst>
                  <a:ext uri="{FF2B5EF4-FFF2-40B4-BE49-F238E27FC236}">
                    <a16:creationId xmlns:a16="http://schemas.microsoft.com/office/drawing/2014/main" id="{11D59547-E723-2F45-0659-576D105015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914" name="Graphic 8913">
                <a:extLst>
                  <a:ext uri="{FF2B5EF4-FFF2-40B4-BE49-F238E27FC236}">
                    <a16:creationId xmlns:a16="http://schemas.microsoft.com/office/drawing/2014/main" id="{FF898580-67E9-73F6-4C5E-D8CB9DE1C4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915" name="Graphic 8914">
                <a:extLst>
                  <a:ext uri="{FF2B5EF4-FFF2-40B4-BE49-F238E27FC236}">
                    <a16:creationId xmlns:a16="http://schemas.microsoft.com/office/drawing/2014/main" id="{A71716EC-0A61-987E-60E8-FACB7DB4ED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916" name="Graphic 8915">
                <a:extLst>
                  <a:ext uri="{FF2B5EF4-FFF2-40B4-BE49-F238E27FC236}">
                    <a16:creationId xmlns:a16="http://schemas.microsoft.com/office/drawing/2014/main" id="{C3AAE956-8873-B3A7-AEE8-F2383E2925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8917" name="Graphic 8916">
                <a:extLst>
                  <a:ext uri="{FF2B5EF4-FFF2-40B4-BE49-F238E27FC236}">
                    <a16:creationId xmlns:a16="http://schemas.microsoft.com/office/drawing/2014/main" id="{C0FA93CC-B5B6-36EC-4516-6C5B634ED0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8918" name="Graphic 8917">
                <a:extLst>
                  <a:ext uri="{FF2B5EF4-FFF2-40B4-BE49-F238E27FC236}">
                    <a16:creationId xmlns:a16="http://schemas.microsoft.com/office/drawing/2014/main" id="{00696C14-66CF-3BD5-20FA-4B3A9A2873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919" name="Graphic 8918">
                <a:extLst>
                  <a:ext uri="{FF2B5EF4-FFF2-40B4-BE49-F238E27FC236}">
                    <a16:creationId xmlns:a16="http://schemas.microsoft.com/office/drawing/2014/main" id="{8B92DCBA-9A93-7131-505A-1962683654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2814" name="Group 2813">
              <a:extLst>
                <a:ext uri="{FF2B5EF4-FFF2-40B4-BE49-F238E27FC236}">
                  <a16:creationId xmlns:a16="http://schemas.microsoft.com/office/drawing/2014/main" id="{902EADA0-9802-0741-A6DD-00E49BD0BAC2}"/>
                </a:ext>
              </a:extLst>
            </p:cNvPr>
            <p:cNvGrpSpPr/>
            <p:nvPr/>
          </p:nvGrpSpPr>
          <p:grpSpPr>
            <a:xfrm>
              <a:off x="1791970" y="3258098"/>
              <a:ext cx="110646" cy="110646"/>
              <a:chOff x="2898967" y="1781131"/>
              <a:chExt cx="1097280" cy="1097279"/>
            </a:xfrm>
          </p:grpSpPr>
          <p:grpSp>
            <p:nvGrpSpPr>
              <p:cNvPr id="1895" name="Group 1894">
                <a:extLst>
                  <a:ext uri="{FF2B5EF4-FFF2-40B4-BE49-F238E27FC236}">
                    <a16:creationId xmlns:a16="http://schemas.microsoft.com/office/drawing/2014/main" id="{088546FF-D7F0-1182-A455-A90DF9C06ED5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1907" name="Group 1906">
                  <a:extLst>
                    <a:ext uri="{FF2B5EF4-FFF2-40B4-BE49-F238E27FC236}">
                      <a16:creationId xmlns:a16="http://schemas.microsoft.com/office/drawing/2014/main" id="{0F49054A-FF35-FE35-DA21-511FE1BF04E6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5251" name="Oval 5250">
                    <a:extLst>
                      <a:ext uri="{FF2B5EF4-FFF2-40B4-BE49-F238E27FC236}">
                        <a16:creationId xmlns:a16="http://schemas.microsoft.com/office/drawing/2014/main" id="{F89B2DD3-BAE0-A1E2-0805-42D704ACCDC2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5252" name="Group 5251">
                    <a:extLst>
                      <a:ext uri="{FF2B5EF4-FFF2-40B4-BE49-F238E27FC236}">
                        <a16:creationId xmlns:a16="http://schemas.microsoft.com/office/drawing/2014/main" id="{52669DAA-4F19-09CD-48F5-511B6C0E750E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2688" name="Graphic 2687">
                      <a:extLst>
                        <a:ext uri="{FF2B5EF4-FFF2-40B4-BE49-F238E27FC236}">
                          <a16:creationId xmlns:a16="http://schemas.microsoft.com/office/drawing/2014/main" id="{279C4E98-DA47-104F-26CC-9CD32AB26CD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89" name="Graphic 2688">
                      <a:extLst>
                        <a:ext uri="{FF2B5EF4-FFF2-40B4-BE49-F238E27FC236}">
                          <a16:creationId xmlns:a16="http://schemas.microsoft.com/office/drawing/2014/main" id="{79EE05D3-A2A7-29D6-6DF3-5A37B7E0C19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90" name="Graphic 2689">
                      <a:extLst>
                        <a:ext uri="{FF2B5EF4-FFF2-40B4-BE49-F238E27FC236}">
                          <a16:creationId xmlns:a16="http://schemas.microsoft.com/office/drawing/2014/main" id="{D4DE2714-A6F4-96BB-902D-A9C50AC212B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91" name="Graphic 2690">
                      <a:extLst>
                        <a:ext uri="{FF2B5EF4-FFF2-40B4-BE49-F238E27FC236}">
                          <a16:creationId xmlns:a16="http://schemas.microsoft.com/office/drawing/2014/main" id="{11E987BB-3A4A-8F1B-B973-0B860DF9BFA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92" name="Graphic 2691">
                      <a:extLst>
                        <a:ext uri="{FF2B5EF4-FFF2-40B4-BE49-F238E27FC236}">
                          <a16:creationId xmlns:a16="http://schemas.microsoft.com/office/drawing/2014/main" id="{026DC34D-AAB0-23DB-B66A-6780749F780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93" name="Graphic 2692">
                      <a:extLst>
                        <a:ext uri="{FF2B5EF4-FFF2-40B4-BE49-F238E27FC236}">
                          <a16:creationId xmlns:a16="http://schemas.microsoft.com/office/drawing/2014/main" id="{607DF971-FEF5-7FEE-4E8A-B33EEE23DBF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896" name="Graphic 8895">
                      <a:extLst>
                        <a:ext uri="{FF2B5EF4-FFF2-40B4-BE49-F238E27FC236}">
                          <a16:creationId xmlns:a16="http://schemas.microsoft.com/office/drawing/2014/main" id="{F18A27A8-F7C5-0D7C-8439-155E2307F9C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897" name="Graphic 8896">
                      <a:extLst>
                        <a:ext uri="{FF2B5EF4-FFF2-40B4-BE49-F238E27FC236}">
                          <a16:creationId xmlns:a16="http://schemas.microsoft.com/office/drawing/2014/main" id="{B58978A0-9B7E-5210-3E95-0459D1A8FE2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898" name="Graphic 8897">
                      <a:extLst>
                        <a:ext uri="{FF2B5EF4-FFF2-40B4-BE49-F238E27FC236}">
                          <a16:creationId xmlns:a16="http://schemas.microsoft.com/office/drawing/2014/main" id="{DFE443F7-1F35-7E90-7184-4E79C3C1B02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899" name="Graphic 8898">
                      <a:extLst>
                        <a:ext uri="{FF2B5EF4-FFF2-40B4-BE49-F238E27FC236}">
                          <a16:creationId xmlns:a16="http://schemas.microsoft.com/office/drawing/2014/main" id="{225450B1-0ADE-3926-A128-5BE58F038BA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00" name="Graphic 8899">
                      <a:extLst>
                        <a:ext uri="{FF2B5EF4-FFF2-40B4-BE49-F238E27FC236}">
                          <a16:creationId xmlns:a16="http://schemas.microsoft.com/office/drawing/2014/main" id="{CE007BFA-55C0-5AEB-5AB3-7A4E6998A9A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01" name="Graphic 8900">
                      <a:extLst>
                        <a:ext uri="{FF2B5EF4-FFF2-40B4-BE49-F238E27FC236}">
                          <a16:creationId xmlns:a16="http://schemas.microsoft.com/office/drawing/2014/main" id="{0F2ECDDD-D291-4620-D220-92F3EDB1C29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02" name="Graphic 8901">
                      <a:extLst>
                        <a:ext uri="{FF2B5EF4-FFF2-40B4-BE49-F238E27FC236}">
                          <a16:creationId xmlns:a16="http://schemas.microsoft.com/office/drawing/2014/main" id="{3C718C72-A66F-7AE8-AFFE-8F3586CA6CC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03" name="Graphic 8902">
                      <a:extLst>
                        <a:ext uri="{FF2B5EF4-FFF2-40B4-BE49-F238E27FC236}">
                          <a16:creationId xmlns:a16="http://schemas.microsoft.com/office/drawing/2014/main" id="{2A6DE2FF-7E43-00B2-51B9-8AA549CC2F1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04" name="Graphic 8903">
                      <a:extLst>
                        <a:ext uri="{FF2B5EF4-FFF2-40B4-BE49-F238E27FC236}">
                          <a16:creationId xmlns:a16="http://schemas.microsoft.com/office/drawing/2014/main" id="{D67F0969-E0CB-C868-186C-7F814C8617C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05" name="Graphic 8904">
                      <a:extLst>
                        <a:ext uri="{FF2B5EF4-FFF2-40B4-BE49-F238E27FC236}">
                          <a16:creationId xmlns:a16="http://schemas.microsoft.com/office/drawing/2014/main" id="{44F14F61-BDE8-41BD-4819-41D681A861A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06" name="Graphic 8905">
                      <a:extLst>
                        <a:ext uri="{FF2B5EF4-FFF2-40B4-BE49-F238E27FC236}">
                          <a16:creationId xmlns:a16="http://schemas.microsoft.com/office/drawing/2014/main" id="{25D41D8C-756F-9F03-BDC1-ABFB42B1441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07" name="Graphic 8906">
                      <a:extLst>
                        <a:ext uri="{FF2B5EF4-FFF2-40B4-BE49-F238E27FC236}">
                          <a16:creationId xmlns:a16="http://schemas.microsoft.com/office/drawing/2014/main" id="{F9805A9A-14B7-AB3A-AA39-CA65A726302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1908" name="Graphic 1907">
                  <a:extLst>
                    <a:ext uri="{FF2B5EF4-FFF2-40B4-BE49-F238E27FC236}">
                      <a16:creationId xmlns:a16="http://schemas.microsoft.com/office/drawing/2014/main" id="{E28AB49A-9FB3-391D-1A22-AE2F0C68D2C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09" name="Graphic 1908">
                  <a:extLst>
                    <a:ext uri="{FF2B5EF4-FFF2-40B4-BE49-F238E27FC236}">
                      <a16:creationId xmlns:a16="http://schemas.microsoft.com/office/drawing/2014/main" id="{64E31B4C-C963-A314-CEBE-6918DD3449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10" name="Graphic 1909">
                  <a:extLst>
                    <a:ext uri="{FF2B5EF4-FFF2-40B4-BE49-F238E27FC236}">
                      <a16:creationId xmlns:a16="http://schemas.microsoft.com/office/drawing/2014/main" id="{9E36575C-F68C-AEE1-E2AD-627D93DC2EC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11" name="Graphic 1910">
                  <a:extLst>
                    <a:ext uri="{FF2B5EF4-FFF2-40B4-BE49-F238E27FC236}">
                      <a16:creationId xmlns:a16="http://schemas.microsoft.com/office/drawing/2014/main" id="{BD71087D-D9A4-AFC7-4888-AFCDE9F399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912" name="Graphic 1911">
                  <a:extLst>
                    <a:ext uri="{FF2B5EF4-FFF2-40B4-BE49-F238E27FC236}">
                      <a16:creationId xmlns:a16="http://schemas.microsoft.com/office/drawing/2014/main" id="{B4332F5C-38C2-0A52-48FC-C3B9E265C5B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913" name="Graphic 1912">
                  <a:extLst>
                    <a:ext uri="{FF2B5EF4-FFF2-40B4-BE49-F238E27FC236}">
                      <a16:creationId xmlns:a16="http://schemas.microsoft.com/office/drawing/2014/main" id="{79CA87E3-9217-EDCB-FC53-2716EC8958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14" name="Graphic 1913">
                  <a:extLst>
                    <a:ext uri="{FF2B5EF4-FFF2-40B4-BE49-F238E27FC236}">
                      <a16:creationId xmlns:a16="http://schemas.microsoft.com/office/drawing/2014/main" id="{34744374-ED48-5752-C543-1401F1C615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915" name="Graphic 1914">
                  <a:extLst>
                    <a:ext uri="{FF2B5EF4-FFF2-40B4-BE49-F238E27FC236}">
                      <a16:creationId xmlns:a16="http://schemas.microsoft.com/office/drawing/2014/main" id="{115C2545-3FEF-0FFA-B725-A63E90DE41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916" name="Graphic 1915">
                  <a:extLst>
                    <a:ext uri="{FF2B5EF4-FFF2-40B4-BE49-F238E27FC236}">
                      <a16:creationId xmlns:a16="http://schemas.microsoft.com/office/drawing/2014/main" id="{4D7D13A7-57A0-E6F6-EDED-46723D7A982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1917" name="Graphic 1916">
                  <a:extLst>
                    <a:ext uri="{FF2B5EF4-FFF2-40B4-BE49-F238E27FC236}">
                      <a16:creationId xmlns:a16="http://schemas.microsoft.com/office/drawing/2014/main" id="{D42726E4-B000-287D-E712-2B76487D0D0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918" name="Graphic 1917">
                  <a:extLst>
                    <a:ext uri="{FF2B5EF4-FFF2-40B4-BE49-F238E27FC236}">
                      <a16:creationId xmlns:a16="http://schemas.microsoft.com/office/drawing/2014/main" id="{0EAF5233-CCC6-8574-4940-551530EAD3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919" name="Graphic 1918">
                  <a:extLst>
                    <a:ext uri="{FF2B5EF4-FFF2-40B4-BE49-F238E27FC236}">
                      <a16:creationId xmlns:a16="http://schemas.microsoft.com/office/drawing/2014/main" id="{F54ED40E-18FB-E668-AEE9-CAD47E29E2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248" name="Graphic 5247">
                  <a:extLst>
                    <a:ext uri="{FF2B5EF4-FFF2-40B4-BE49-F238E27FC236}">
                      <a16:creationId xmlns:a16="http://schemas.microsoft.com/office/drawing/2014/main" id="{FF16D279-410E-95CC-EF95-9E555BD7676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249" name="Graphic 5248">
                  <a:extLst>
                    <a:ext uri="{FF2B5EF4-FFF2-40B4-BE49-F238E27FC236}">
                      <a16:creationId xmlns:a16="http://schemas.microsoft.com/office/drawing/2014/main" id="{E6621A2F-CC15-CDEA-DA15-548ABCCD0D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250" name="Graphic 5249">
                  <a:extLst>
                    <a:ext uri="{FF2B5EF4-FFF2-40B4-BE49-F238E27FC236}">
                      <a16:creationId xmlns:a16="http://schemas.microsoft.com/office/drawing/2014/main" id="{DC656D89-D593-7BE9-6111-230EA8D74A6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1896" name="Graphic 1895">
                <a:extLst>
                  <a:ext uri="{FF2B5EF4-FFF2-40B4-BE49-F238E27FC236}">
                    <a16:creationId xmlns:a16="http://schemas.microsoft.com/office/drawing/2014/main" id="{723514E0-5B4C-3AE1-CE5A-67CD53C327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897" name="Graphic 1896">
                <a:extLst>
                  <a:ext uri="{FF2B5EF4-FFF2-40B4-BE49-F238E27FC236}">
                    <a16:creationId xmlns:a16="http://schemas.microsoft.com/office/drawing/2014/main" id="{1C5864F8-916B-B27F-D04C-B2A2FA8350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898" name="Graphic 1897">
                <a:extLst>
                  <a:ext uri="{FF2B5EF4-FFF2-40B4-BE49-F238E27FC236}">
                    <a16:creationId xmlns:a16="http://schemas.microsoft.com/office/drawing/2014/main" id="{3B2BAB23-0DDC-11B3-E5D0-F5C24B7C08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1899" name="Graphic 1898">
                <a:extLst>
                  <a:ext uri="{FF2B5EF4-FFF2-40B4-BE49-F238E27FC236}">
                    <a16:creationId xmlns:a16="http://schemas.microsoft.com/office/drawing/2014/main" id="{C4A5AE21-8DAF-6A9E-9977-EBDBDED2CC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1900" name="Graphic 1899">
                <a:extLst>
                  <a:ext uri="{FF2B5EF4-FFF2-40B4-BE49-F238E27FC236}">
                    <a16:creationId xmlns:a16="http://schemas.microsoft.com/office/drawing/2014/main" id="{ED132DF5-409B-6A31-B0AE-20D84ACE55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901" name="Graphic 1900">
                <a:extLst>
                  <a:ext uri="{FF2B5EF4-FFF2-40B4-BE49-F238E27FC236}">
                    <a16:creationId xmlns:a16="http://schemas.microsoft.com/office/drawing/2014/main" id="{3302568C-CB44-9770-17E1-85B5CBCC90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902" name="Graphic 1901">
                <a:extLst>
                  <a:ext uri="{FF2B5EF4-FFF2-40B4-BE49-F238E27FC236}">
                    <a16:creationId xmlns:a16="http://schemas.microsoft.com/office/drawing/2014/main" id="{A725FCDA-BE6C-42E1-0871-79CF95D375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903" name="Graphic 1902">
                <a:extLst>
                  <a:ext uri="{FF2B5EF4-FFF2-40B4-BE49-F238E27FC236}">
                    <a16:creationId xmlns:a16="http://schemas.microsoft.com/office/drawing/2014/main" id="{753DA90A-A577-A0B6-7DB4-C0E83B7C1E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1904" name="Graphic 1903">
                <a:extLst>
                  <a:ext uri="{FF2B5EF4-FFF2-40B4-BE49-F238E27FC236}">
                    <a16:creationId xmlns:a16="http://schemas.microsoft.com/office/drawing/2014/main" id="{F36EBFC8-82FA-B496-CBA9-7014E80FED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1905" name="Graphic 1904">
                <a:extLst>
                  <a:ext uri="{FF2B5EF4-FFF2-40B4-BE49-F238E27FC236}">
                    <a16:creationId xmlns:a16="http://schemas.microsoft.com/office/drawing/2014/main" id="{31F3AE89-6ECC-D9F6-C77F-43B67B771A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906" name="Graphic 1905">
                <a:extLst>
                  <a:ext uri="{FF2B5EF4-FFF2-40B4-BE49-F238E27FC236}">
                    <a16:creationId xmlns:a16="http://schemas.microsoft.com/office/drawing/2014/main" id="{A2A08B4F-3905-1FB9-281C-2EBC0180D2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2815" name="Group 2814">
              <a:extLst>
                <a:ext uri="{FF2B5EF4-FFF2-40B4-BE49-F238E27FC236}">
                  <a16:creationId xmlns:a16="http://schemas.microsoft.com/office/drawing/2014/main" id="{B09B771B-AF67-1175-B6A3-ECFE128CB0C1}"/>
                </a:ext>
              </a:extLst>
            </p:cNvPr>
            <p:cNvGrpSpPr/>
            <p:nvPr/>
          </p:nvGrpSpPr>
          <p:grpSpPr>
            <a:xfrm>
              <a:off x="2134996" y="3240149"/>
              <a:ext cx="110646" cy="110646"/>
              <a:chOff x="2898967" y="1781131"/>
              <a:chExt cx="1097280" cy="1097279"/>
            </a:xfrm>
          </p:grpSpPr>
          <p:grpSp>
            <p:nvGrpSpPr>
              <p:cNvPr id="1818" name="Group 1817">
                <a:extLst>
                  <a:ext uri="{FF2B5EF4-FFF2-40B4-BE49-F238E27FC236}">
                    <a16:creationId xmlns:a16="http://schemas.microsoft.com/office/drawing/2014/main" id="{6A7FD278-0453-228A-913F-4C56F9B41DB9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1830" name="Group 1829">
                  <a:extLst>
                    <a:ext uri="{FF2B5EF4-FFF2-40B4-BE49-F238E27FC236}">
                      <a16:creationId xmlns:a16="http://schemas.microsoft.com/office/drawing/2014/main" id="{5E834C74-333E-5EB6-0B4E-2049D48D7A04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1854" name="Oval 1853">
                    <a:extLst>
                      <a:ext uri="{FF2B5EF4-FFF2-40B4-BE49-F238E27FC236}">
                        <a16:creationId xmlns:a16="http://schemas.microsoft.com/office/drawing/2014/main" id="{C92FB32B-01E4-64A8-C225-34E38207AA8E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855" name="Group 1854">
                    <a:extLst>
                      <a:ext uri="{FF2B5EF4-FFF2-40B4-BE49-F238E27FC236}">
                        <a16:creationId xmlns:a16="http://schemas.microsoft.com/office/drawing/2014/main" id="{F93CF999-67CA-CE77-F308-DDB529E2530B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1872" name="Graphic 1871">
                      <a:extLst>
                        <a:ext uri="{FF2B5EF4-FFF2-40B4-BE49-F238E27FC236}">
                          <a16:creationId xmlns:a16="http://schemas.microsoft.com/office/drawing/2014/main" id="{3BDBD1B8-F19C-783A-B35E-CE0881355AB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74" name="Graphic 1873">
                      <a:extLst>
                        <a:ext uri="{FF2B5EF4-FFF2-40B4-BE49-F238E27FC236}">
                          <a16:creationId xmlns:a16="http://schemas.microsoft.com/office/drawing/2014/main" id="{E2FBF1F4-EFC5-B25C-82A6-714DD89735F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75" name="Graphic 1874">
                      <a:extLst>
                        <a:ext uri="{FF2B5EF4-FFF2-40B4-BE49-F238E27FC236}">
                          <a16:creationId xmlns:a16="http://schemas.microsoft.com/office/drawing/2014/main" id="{B6DE6920-8A19-AA8B-FC3A-8B7D22FA0B3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76" name="Graphic 1875">
                      <a:extLst>
                        <a:ext uri="{FF2B5EF4-FFF2-40B4-BE49-F238E27FC236}">
                          <a16:creationId xmlns:a16="http://schemas.microsoft.com/office/drawing/2014/main" id="{5057B0F2-5B25-C2AF-8B64-4EAEB62DD84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77" name="Graphic 1876">
                      <a:extLst>
                        <a:ext uri="{FF2B5EF4-FFF2-40B4-BE49-F238E27FC236}">
                          <a16:creationId xmlns:a16="http://schemas.microsoft.com/office/drawing/2014/main" id="{0009C9A4-0827-65BF-4942-BDE2A0B48B3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79" name="Graphic 1878">
                      <a:extLst>
                        <a:ext uri="{FF2B5EF4-FFF2-40B4-BE49-F238E27FC236}">
                          <a16:creationId xmlns:a16="http://schemas.microsoft.com/office/drawing/2014/main" id="{1519FCD3-237C-3831-892A-FEBAA163668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80" name="Graphic 1879">
                      <a:extLst>
                        <a:ext uri="{FF2B5EF4-FFF2-40B4-BE49-F238E27FC236}">
                          <a16:creationId xmlns:a16="http://schemas.microsoft.com/office/drawing/2014/main" id="{739F8ADD-7295-C65D-F9AB-6F345D0AC72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81" name="Graphic 1880">
                      <a:extLst>
                        <a:ext uri="{FF2B5EF4-FFF2-40B4-BE49-F238E27FC236}">
                          <a16:creationId xmlns:a16="http://schemas.microsoft.com/office/drawing/2014/main" id="{B51CEAB5-D38D-F788-80E9-98A2FCFDD58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82" name="Graphic 1881">
                      <a:extLst>
                        <a:ext uri="{FF2B5EF4-FFF2-40B4-BE49-F238E27FC236}">
                          <a16:creationId xmlns:a16="http://schemas.microsoft.com/office/drawing/2014/main" id="{BD14F3DC-D34A-066E-92F8-6C152EFBE73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83" name="Graphic 1882">
                      <a:extLst>
                        <a:ext uri="{FF2B5EF4-FFF2-40B4-BE49-F238E27FC236}">
                          <a16:creationId xmlns:a16="http://schemas.microsoft.com/office/drawing/2014/main" id="{E7ADAA49-CFFD-943A-EC94-AED492D94CB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84" name="Graphic 1883">
                      <a:extLst>
                        <a:ext uri="{FF2B5EF4-FFF2-40B4-BE49-F238E27FC236}">
                          <a16:creationId xmlns:a16="http://schemas.microsoft.com/office/drawing/2014/main" id="{5ADC5B28-2F0D-2168-A6A2-BEF93EB769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85" name="Graphic 1884">
                      <a:extLst>
                        <a:ext uri="{FF2B5EF4-FFF2-40B4-BE49-F238E27FC236}">
                          <a16:creationId xmlns:a16="http://schemas.microsoft.com/office/drawing/2014/main" id="{B5A30A96-6BFA-736E-62C4-F35034CB572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89" name="Graphic 1888">
                      <a:extLst>
                        <a:ext uri="{FF2B5EF4-FFF2-40B4-BE49-F238E27FC236}">
                          <a16:creationId xmlns:a16="http://schemas.microsoft.com/office/drawing/2014/main" id="{CD7096E3-0467-4127-0AAE-CBB1CA754CE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90" name="Graphic 1889">
                      <a:extLst>
                        <a:ext uri="{FF2B5EF4-FFF2-40B4-BE49-F238E27FC236}">
                          <a16:creationId xmlns:a16="http://schemas.microsoft.com/office/drawing/2014/main" id="{FCEB6691-F56B-501E-D921-11B327C088A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91" name="Graphic 1890">
                      <a:extLst>
                        <a:ext uri="{FF2B5EF4-FFF2-40B4-BE49-F238E27FC236}">
                          <a16:creationId xmlns:a16="http://schemas.microsoft.com/office/drawing/2014/main" id="{5A3FAB06-C304-5D18-9170-7DA03EDF998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92" name="Graphic 1891">
                      <a:extLst>
                        <a:ext uri="{FF2B5EF4-FFF2-40B4-BE49-F238E27FC236}">
                          <a16:creationId xmlns:a16="http://schemas.microsoft.com/office/drawing/2014/main" id="{AD40AF34-B3B6-DB32-E984-6068252DBA2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93" name="Graphic 1892">
                      <a:extLst>
                        <a:ext uri="{FF2B5EF4-FFF2-40B4-BE49-F238E27FC236}">
                          <a16:creationId xmlns:a16="http://schemas.microsoft.com/office/drawing/2014/main" id="{46AE2B3D-D898-51A4-7DF7-AD536679F42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94" name="Graphic 1893">
                      <a:extLst>
                        <a:ext uri="{FF2B5EF4-FFF2-40B4-BE49-F238E27FC236}">
                          <a16:creationId xmlns:a16="http://schemas.microsoft.com/office/drawing/2014/main" id="{ABFC9E0B-4E18-5250-D8C5-8CE3E541946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1831" name="Graphic 1830">
                  <a:extLst>
                    <a:ext uri="{FF2B5EF4-FFF2-40B4-BE49-F238E27FC236}">
                      <a16:creationId xmlns:a16="http://schemas.microsoft.com/office/drawing/2014/main" id="{424A34C4-4780-6A89-6909-62B88EC109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832" name="Graphic 1831">
                  <a:extLst>
                    <a:ext uri="{FF2B5EF4-FFF2-40B4-BE49-F238E27FC236}">
                      <a16:creationId xmlns:a16="http://schemas.microsoft.com/office/drawing/2014/main" id="{3E18EA3C-005C-A725-3C65-23373C6F793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833" name="Graphic 1832">
                  <a:extLst>
                    <a:ext uri="{FF2B5EF4-FFF2-40B4-BE49-F238E27FC236}">
                      <a16:creationId xmlns:a16="http://schemas.microsoft.com/office/drawing/2014/main" id="{5993F614-8DA1-1667-FDE3-325536AB5B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834" name="Graphic 1833">
                  <a:extLst>
                    <a:ext uri="{FF2B5EF4-FFF2-40B4-BE49-F238E27FC236}">
                      <a16:creationId xmlns:a16="http://schemas.microsoft.com/office/drawing/2014/main" id="{46226BC5-78C1-8A29-D9C0-DDBAF96C1C5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835" name="Graphic 1834">
                  <a:extLst>
                    <a:ext uri="{FF2B5EF4-FFF2-40B4-BE49-F238E27FC236}">
                      <a16:creationId xmlns:a16="http://schemas.microsoft.com/office/drawing/2014/main" id="{36D87E2D-8D9F-71B9-29DB-D0B13041DC1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836" name="Graphic 1835">
                  <a:extLst>
                    <a:ext uri="{FF2B5EF4-FFF2-40B4-BE49-F238E27FC236}">
                      <a16:creationId xmlns:a16="http://schemas.microsoft.com/office/drawing/2014/main" id="{8D90167B-C8E8-F613-1D74-08C472C0E03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837" name="Graphic 1836">
                  <a:extLst>
                    <a:ext uri="{FF2B5EF4-FFF2-40B4-BE49-F238E27FC236}">
                      <a16:creationId xmlns:a16="http://schemas.microsoft.com/office/drawing/2014/main" id="{BDBDBE56-1F62-EAE8-B723-C2BF1D20091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838" name="Graphic 1837">
                  <a:extLst>
                    <a:ext uri="{FF2B5EF4-FFF2-40B4-BE49-F238E27FC236}">
                      <a16:creationId xmlns:a16="http://schemas.microsoft.com/office/drawing/2014/main" id="{D51E853D-3C61-7102-6AEE-E71DDCCA24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839" name="Graphic 1838">
                  <a:extLst>
                    <a:ext uri="{FF2B5EF4-FFF2-40B4-BE49-F238E27FC236}">
                      <a16:creationId xmlns:a16="http://schemas.microsoft.com/office/drawing/2014/main" id="{C2BB0A6C-6B90-D137-D7E7-7AFEC2B82EF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1840" name="Graphic 1839">
                  <a:extLst>
                    <a:ext uri="{FF2B5EF4-FFF2-40B4-BE49-F238E27FC236}">
                      <a16:creationId xmlns:a16="http://schemas.microsoft.com/office/drawing/2014/main" id="{E0216CE3-5FA7-B898-2805-2EE998D160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841" name="Graphic 1840">
                  <a:extLst>
                    <a:ext uri="{FF2B5EF4-FFF2-40B4-BE49-F238E27FC236}">
                      <a16:creationId xmlns:a16="http://schemas.microsoft.com/office/drawing/2014/main" id="{2C7DAEF6-66C2-B06F-DB2D-231D191D92E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842" name="Graphic 1841">
                  <a:extLst>
                    <a:ext uri="{FF2B5EF4-FFF2-40B4-BE49-F238E27FC236}">
                      <a16:creationId xmlns:a16="http://schemas.microsoft.com/office/drawing/2014/main" id="{B4D37A64-121B-04A5-0506-AE6C9A469FF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846" name="Graphic 1845">
                  <a:extLst>
                    <a:ext uri="{FF2B5EF4-FFF2-40B4-BE49-F238E27FC236}">
                      <a16:creationId xmlns:a16="http://schemas.microsoft.com/office/drawing/2014/main" id="{E4C96BB4-D2C5-2581-6886-867BD05C28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852" name="Graphic 1851">
                  <a:extLst>
                    <a:ext uri="{FF2B5EF4-FFF2-40B4-BE49-F238E27FC236}">
                      <a16:creationId xmlns:a16="http://schemas.microsoft.com/office/drawing/2014/main" id="{6CFC86A2-9A11-AC4C-01D9-C4691C046BD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853" name="Graphic 1852">
                  <a:extLst>
                    <a:ext uri="{FF2B5EF4-FFF2-40B4-BE49-F238E27FC236}">
                      <a16:creationId xmlns:a16="http://schemas.microsoft.com/office/drawing/2014/main" id="{E043CD1B-833D-2004-C472-6F2E1E9737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1819" name="Graphic 1818">
                <a:extLst>
                  <a:ext uri="{FF2B5EF4-FFF2-40B4-BE49-F238E27FC236}">
                    <a16:creationId xmlns:a16="http://schemas.microsoft.com/office/drawing/2014/main" id="{333CB7A3-7CE7-94BB-E735-8D68D473BA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820" name="Graphic 1819">
                <a:extLst>
                  <a:ext uri="{FF2B5EF4-FFF2-40B4-BE49-F238E27FC236}">
                    <a16:creationId xmlns:a16="http://schemas.microsoft.com/office/drawing/2014/main" id="{0283E494-23CA-5D6F-ABCD-44C2B3F47D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821" name="Graphic 1820">
                <a:extLst>
                  <a:ext uri="{FF2B5EF4-FFF2-40B4-BE49-F238E27FC236}">
                    <a16:creationId xmlns:a16="http://schemas.microsoft.com/office/drawing/2014/main" id="{4343755B-4F88-906C-9798-748C45558C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1822" name="Graphic 1821">
                <a:extLst>
                  <a:ext uri="{FF2B5EF4-FFF2-40B4-BE49-F238E27FC236}">
                    <a16:creationId xmlns:a16="http://schemas.microsoft.com/office/drawing/2014/main" id="{87C5CF61-A4D6-4399-2732-8027AE277C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1823" name="Graphic 1822">
                <a:extLst>
                  <a:ext uri="{FF2B5EF4-FFF2-40B4-BE49-F238E27FC236}">
                    <a16:creationId xmlns:a16="http://schemas.microsoft.com/office/drawing/2014/main" id="{9CA8622D-46D9-CC07-C481-3A26B726E9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824" name="Graphic 1823">
                <a:extLst>
                  <a:ext uri="{FF2B5EF4-FFF2-40B4-BE49-F238E27FC236}">
                    <a16:creationId xmlns:a16="http://schemas.microsoft.com/office/drawing/2014/main" id="{75E12F5D-9744-FA49-5F59-1B43A8894D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825" name="Graphic 1824">
                <a:extLst>
                  <a:ext uri="{FF2B5EF4-FFF2-40B4-BE49-F238E27FC236}">
                    <a16:creationId xmlns:a16="http://schemas.microsoft.com/office/drawing/2014/main" id="{9CCBB282-D20C-CADB-7B69-8F45BBD8A4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826" name="Graphic 1825">
                <a:extLst>
                  <a:ext uri="{FF2B5EF4-FFF2-40B4-BE49-F238E27FC236}">
                    <a16:creationId xmlns:a16="http://schemas.microsoft.com/office/drawing/2014/main" id="{F6E99A18-C46D-F862-D0C4-FE11CE112C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1827" name="Graphic 1826">
                <a:extLst>
                  <a:ext uri="{FF2B5EF4-FFF2-40B4-BE49-F238E27FC236}">
                    <a16:creationId xmlns:a16="http://schemas.microsoft.com/office/drawing/2014/main" id="{4404A119-7C9E-BC87-3082-0DE0E19575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1828" name="Graphic 1827">
                <a:extLst>
                  <a:ext uri="{FF2B5EF4-FFF2-40B4-BE49-F238E27FC236}">
                    <a16:creationId xmlns:a16="http://schemas.microsoft.com/office/drawing/2014/main" id="{F91EA705-EAEB-671F-2A3C-0430EBA6CC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829" name="Graphic 1828">
                <a:extLst>
                  <a:ext uri="{FF2B5EF4-FFF2-40B4-BE49-F238E27FC236}">
                    <a16:creationId xmlns:a16="http://schemas.microsoft.com/office/drawing/2014/main" id="{AE7F3003-18BD-32CA-950B-20E9044054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8256" name="Group 8255">
              <a:extLst>
                <a:ext uri="{FF2B5EF4-FFF2-40B4-BE49-F238E27FC236}">
                  <a16:creationId xmlns:a16="http://schemas.microsoft.com/office/drawing/2014/main" id="{4576D00E-AAC2-0AED-26AC-54763C898CFF}"/>
                </a:ext>
              </a:extLst>
            </p:cNvPr>
            <p:cNvGrpSpPr/>
            <p:nvPr/>
          </p:nvGrpSpPr>
          <p:grpSpPr>
            <a:xfrm>
              <a:off x="2420185" y="3290007"/>
              <a:ext cx="110646" cy="110646"/>
              <a:chOff x="2898967" y="1781131"/>
              <a:chExt cx="1097280" cy="1097279"/>
            </a:xfrm>
          </p:grpSpPr>
          <p:grpSp>
            <p:nvGrpSpPr>
              <p:cNvPr id="6984" name="Group 6983">
                <a:extLst>
                  <a:ext uri="{FF2B5EF4-FFF2-40B4-BE49-F238E27FC236}">
                    <a16:creationId xmlns:a16="http://schemas.microsoft.com/office/drawing/2014/main" id="{3CA1918F-432E-041E-933B-A67653F51FF0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6996" name="Group 6995">
                  <a:extLst>
                    <a:ext uri="{FF2B5EF4-FFF2-40B4-BE49-F238E27FC236}">
                      <a16:creationId xmlns:a16="http://schemas.microsoft.com/office/drawing/2014/main" id="{1C57F355-804D-9CB9-4ADC-4C4574FB08A7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1798" name="Oval 1797">
                    <a:extLst>
                      <a:ext uri="{FF2B5EF4-FFF2-40B4-BE49-F238E27FC236}">
                        <a16:creationId xmlns:a16="http://schemas.microsoft.com/office/drawing/2014/main" id="{2CE37DAF-593B-D8F3-F9D5-835ECBBD0740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799" name="Group 1798">
                    <a:extLst>
                      <a:ext uri="{FF2B5EF4-FFF2-40B4-BE49-F238E27FC236}">
                        <a16:creationId xmlns:a16="http://schemas.microsoft.com/office/drawing/2014/main" id="{A9F3311B-E6D5-B270-0ABB-0E65D9A7A135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1800" name="Graphic 1799">
                      <a:extLst>
                        <a:ext uri="{FF2B5EF4-FFF2-40B4-BE49-F238E27FC236}">
                          <a16:creationId xmlns:a16="http://schemas.microsoft.com/office/drawing/2014/main" id="{34D178C2-5288-0D0B-6903-B9439446275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01" name="Graphic 1800">
                      <a:extLst>
                        <a:ext uri="{FF2B5EF4-FFF2-40B4-BE49-F238E27FC236}">
                          <a16:creationId xmlns:a16="http://schemas.microsoft.com/office/drawing/2014/main" id="{4BD8C42E-8AD7-1D73-D724-7EE8F0AD014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02" name="Graphic 1801">
                      <a:extLst>
                        <a:ext uri="{FF2B5EF4-FFF2-40B4-BE49-F238E27FC236}">
                          <a16:creationId xmlns:a16="http://schemas.microsoft.com/office/drawing/2014/main" id="{541DA9FD-7595-E049-3A21-1A49D48DF57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03" name="Graphic 1802">
                      <a:extLst>
                        <a:ext uri="{FF2B5EF4-FFF2-40B4-BE49-F238E27FC236}">
                          <a16:creationId xmlns:a16="http://schemas.microsoft.com/office/drawing/2014/main" id="{87DD7F49-9A9A-568B-1A04-B76CA6BF375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04" name="Graphic 1803">
                      <a:extLst>
                        <a:ext uri="{FF2B5EF4-FFF2-40B4-BE49-F238E27FC236}">
                          <a16:creationId xmlns:a16="http://schemas.microsoft.com/office/drawing/2014/main" id="{FDEFC9B4-4974-8E56-278C-B5D66B85B00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05" name="Graphic 1804">
                      <a:extLst>
                        <a:ext uri="{FF2B5EF4-FFF2-40B4-BE49-F238E27FC236}">
                          <a16:creationId xmlns:a16="http://schemas.microsoft.com/office/drawing/2014/main" id="{2BF30F11-C641-09A6-F477-575D87B7BEE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06" name="Graphic 1805">
                      <a:extLst>
                        <a:ext uri="{FF2B5EF4-FFF2-40B4-BE49-F238E27FC236}">
                          <a16:creationId xmlns:a16="http://schemas.microsoft.com/office/drawing/2014/main" id="{77F37101-50BA-B1BC-CF8E-BFEB535119A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07" name="Graphic 1806">
                      <a:extLst>
                        <a:ext uri="{FF2B5EF4-FFF2-40B4-BE49-F238E27FC236}">
                          <a16:creationId xmlns:a16="http://schemas.microsoft.com/office/drawing/2014/main" id="{3B3B0F87-C66B-C251-BCB0-E1C702C15AA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08" name="Graphic 1807">
                      <a:extLst>
                        <a:ext uri="{FF2B5EF4-FFF2-40B4-BE49-F238E27FC236}">
                          <a16:creationId xmlns:a16="http://schemas.microsoft.com/office/drawing/2014/main" id="{32C5E83E-7506-7CFE-2490-129957F3888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09" name="Graphic 1808">
                      <a:extLst>
                        <a:ext uri="{FF2B5EF4-FFF2-40B4-BE49-F238E27FC236}">
                          <a16:creationId xmlns:a16="http://schemas.microsoft.com/office/drawing/2014/main" id="{E2667351-0AE2-0C75-BFAA-2221EBF92D3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10" name="Graphic 1809">
                      <a:extLst>
                        <a:ext uri="{FF2B5EF4-FFF2-40B4-BE49-F238E27FC236}">
                          <a16:creationId xmlns:a16="http://schemas.microsoft.com/office/drawing/2014/main" id="{358EEF58-77E8-3029-670F-D1136D094BF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11" name="Graphic 1810">
                      <a:extLst>
                        <a:ext uri="{FF2B5EF4-FFF2-40B4-BE49-F238E27FC236}">
                          <a16:creationId xmlns:a16="http://schemas.microsoft.com/office/drawing/2014/main" id="{74DE2657-9C51-202F-E53E-FB4C6ECA7A9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12" name="Graphic 1811">
                      <a:extLst>
                        <a:ext uri="{FF2B5EF4-FFF2-40B4-BE49-F238E27FC236}">
                          <a16:creationId xmlns:a16="http://schemas.microsoft.com/office/drawing/2014/main" id="{33D7AA04-B66A-076C-AAB9-7016726C376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13" name="Graphic 1812">
                      <a:extLst>
                        <a:ext uri="{FF2B5EF4-FFF2-40B4-BE49-F238E27FC236}">
                          <a16:creationId xmlns:a16="http://schemas.microsoft.com/office/drawing/2014/main" id="{FF942D42-18DE-36C1-1AB8-D095EC5B521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14" name="Graphic 1813">
                      <a:extLst>
                        <a:ext uri="{FF2B5EF4-FFF2-40B4-BE49-F238E27FC236}">
                          <a16:creationId xmlns:a16="http://schemas.microsoft.com/office/drawing/2014/main" id="{296AEF80-8503-21FA-CEEC-E29D21BE621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15" name="Graphic 1814">
                      <a:extLst>
                        <a:ext uri="{FF2B5EF4-FFF2-40B4-BE49-F238E27FC236}">
                          <a16:creationId xmlns:a16="http://schemas.microsoft.com/office/drawing/2014/main" id="{72832D30-56DB-1D6C-182B-403CBE81FDE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16" name="Graphic 1815">
                      <a:extLst>
                        <a:ext uri="{FF2B5EF4-FFF2-40B4-BE49-F238E27FC236}">
                          <a16:creationId xmlns:a16="http://schemas.microsoft.com/office/drawing/2014/main" id="{E2A52F3F-FDE3-7298-9DEE-B6C6B2C2496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17" name="Graphic 1816">
                      <a:extLst>
                        <a:ext uri="{FF2B5EF4-FFF2-40B4-BE49-F238E27FC236}">
                          <a16:creationId xmlns:a16="http://schemas.microsoft.com/office/drawing/2014/main" id="{BC363A26-8AE0-98E9-6734-B5073C75E1C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6997" name="Graphic 6996">
                  <a:extLst>
                    <a:ext uri="{FF2B5EF4-FFF2-40B4-BE49-F238E27FC236}">
                      <a16:creationId xmlns:a16="http://schemas.microsoft.com/office/drawing/2014/main" id="{C84B6DC4-80D9-33D8-899D-CA17354BC9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7096" name="Graphic 7095">
                  <a:extLst>
                    <a:ext uri="{FF2B5EF4-FFF2-40B4-BE49-F238E27FC236}">
                      <a16:creationId xmlns:a16="http://schemas.microsoft.com/office/drawing/2014/main" id="{B5B229D7-C195-D967-502C-BF5E6D01B2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7097" name="Graphic 7096">
                  <a:extLst>
                    <a:ext uri="{FF2B5EF4-FFF2-40B4-BE49-F238E27FC236}">
                      <a16:creationId xmlns:a16="http://schemas.microsoft.com/office/drawing/2014/main" id="{869E152F-A506-485A-B553-22072C6DE9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7098" name="Graphic 7097">
                  <a:extLst>
                    <a:ext uri="{FF2B5EF4-FFF2-40B4-BE49-F238E27FC236}">
                      <a16:creationId xmlns:a16="http://schemas.microsoft.com/office/drawing/2014/main" id="{D205239D-BF4D-30EA-C1A6-AB34B0E27C5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7099" name="Graphic 7098">
                  <a:extLst>
                    <a:ext uri="{FF2B5EF4-FFF2-40B4-BE49-F238E27FC236}">
                      <a16:creationId xmlns:a16="http://schemas.microsoft.com/office/drawing/2014/main" id="{BA876DF4-F12C-AD29-F602-BEE4C10D0B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7100" name="Graphic 7099">
                  <a:extLst>
                    <a:ext uri="{FF2B5EF4-FFF2-40B4-BE49-F238E27FC236}">
                      <a16:creationId xmlns:a16="http://schemas.microsoft.com/office/drawing/2014/main" id="{87BD3E67-474C-3EA2-03B6-F54DDD6F13A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7101" name="Graphic 7100">
                  <a:extLst>
                    <a:ext uri="{FF2B5EF4-FFF2-40B4-BE49-F238E27FC236}">
                      <a16:creationId xmlns:a16="http://schemas.microsoft.com/office/drawing/2014/main" id="{125BE866-23F0-663C-10AF-1E6B8F2CE50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7102" name="Graphic 7101">
                  <a:extLst>
                    <a:ext uri="{FF2B5EF4-FFF2-40B4-BE49-F238E27FC236}">
                      <a16:creationId xmlns:a16="http://schemas.microsoft.com/office/drawing/2014/main" id="{869D281F-5DEA-2BF5-15DB-D575CDB45E1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7103" name="Graphic 7102">
                  <a:extLst>
                    <a:ext uri="{FF2B5EF4-FFF2-40B4-BE49-F238E27FC236}">
                      <a16:creationId xmlns:a16="http://schemas.microsoft.com/office/drawing/2014/main" id="{5485C4A4-B79F-562F-63C6-28E4E6B0539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1792" name="Graphic 1791">
                  <a:extLst>
                    <a:ext uri="{FF2B5EF4-FFF2-40B4-BE49-F238E27FC236}">
                      <a16:creationId xmlns:a16="http://schemas.microsoft.com/office/drawing/2014/main" id="{A2B9EA45-6D92-E263-5399-34A4045A5B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793" name="Graphic 1792">
                  <a:extLst>
                    <a:ext uri="{FF2B5EF4-FFF2-40B4-BE49-F238E27FC236}">
                      <a16:creationId xmlns:a16="http://schemas.microsoft.com/office/drawing/2014/main" id="{68F541F7-C604-F075-CF44-744C96D5284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794" name="Graphic 1793">
                  <a:extLst>
                    <a:ext uri="{FF2B5EF4-FFF2-40B4-BE49-F238E27FC236}">
                      <a16:creationId xmlns:a16="http://schemas.microsoft.com/office/drawing/2014/main" id="{FCEA7AAD-D5E4-1E1E-4E66-05B7F35C89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795" name="Graphic 1794">
                  <a:extLst>
                    <a:ext uri="{FF2B5EF4-FFF2-40B4-BE49-F238E27FC236}">
                      <a16:creationId xmlns:a16="http://schemas.microsoft.com/office/drawing/2014/main" id="{6B1AFEDA-6258-C108-21D8-F769BA67D9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796" name="Graphic 1795">
                  <a:extLst>
                    <a:ext uri="{FF2B5EF4-FFF2-40B4-BE49-F238E27FC236}">
                      <a16:creationId xmlns:a16="http://schemas.microsoft.com/office/drawing/2014/main" id="{4EDAB1A9-3B29-A7DC-A2A2-1C362E37C19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797" name="Graphic 1796">
                  <a:extLst>
                    <a:ext uri="{FF2B5EF4-FFF2-40B4-BE49-F238E27FC236}">
                      <a16:creationId xmlns:a16="http://schemas.microsoft.com/office/drawing/2014/main" id="{895326A6-A727-365D-ED81-B4BA0B7915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6985" name="Graphic 6984">
                <a:extLst>
                  <a:ext uri="{FF2B5EF4-FFF2-40B4-BE49-F238E27FC236}">
                    <a16:creationId xmlns:a16="http://schemas.microsoft.com/office/drawing/2014/main" id="{B0AC907C-AB58-E24C-8CAC-7703508269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6986" name="Graphic 6985">
                <a:extLst>
                  <a:ext uri="{FF2B5EF4-FFF2-40B4-BE49-F238E27FC236}">
                    <a16:creationId xmlns:a16="http://schemas.microsoft.com/office/drawing/2014/main" id="{3EB2A88A-6544-81A7-D644-3E213325B1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6987" name="Graphic 6986">
                <a:extLst>
                  <a:ext uri="{FF2B5EF4-FFF2-40B4-BE49-F238E27FC236}">
                    <a16:creationId xmlns:a16="http://schemas.microsoft.com/office/drawing/2014/main" id="{BCE04821-C7EF-3E70-E625-94F9388460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6988" name="Graphic 6987">
                <a:extLst>
                  <a:ext uri="{FF2B5EF4-FFF2-40B4-BE49-F238E27FC236}">
                    <a16:creationId xmlns:a16="http://schemas.microsoft.com/office/drawing/2014/main" id="{6F4B5CA9-B031-865F-73D1-6687C3928E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6989" name="Graphic 6988">
                <a:extLst>
                  <a:ext uri="{FF2B5EF4-FFF2-40B4-BE49-F238E27FC236}">
                    <a16:creationId xmlns:a16="http://schemas.microsoft.com/office/drawing/2014/main" id="{DB69A4CE-C399-4F5D-E1AB-D4806FF4CE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6990" name="Graphic 6989">
                <a:extLst>
                  <a:ext uri="{FF2B5EF4-FFF2-40B4-BE49-F238E27FC236}">
                    <a16:creationId xmlns:a16="http://schemas.microsoft.com/office/drawing/2014/main" id="{4590EBFC-7B29-E314-5BA4-DA884EE871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6991" name="Graphic 6990">
                <a:extLst>
                  <a:ext uri="{FF2B5EF4-FFF2-40B4-BE49-F238E27FC236}">
                    <a16:creationId xmlns:a16="http://schemas.microsoft.com/office/drawing/2014/main" id="{8FA5C2D1-1153-6659-1064-E89B9F8520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6992" name="Graphic 6991">
                <a:extLst>
                  <a:ext uri="{FF2B5EF4-FFF2-40B4-BE49-F238E27FC236}">
                    <a16:creationId xmlns:a16="http://schemas.microsoft.com/office/drawing/2014/main" id="{B77E2D31-9148-3B6A-06C5-B6A130D693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6993" name="Graphic 6992">
                <a:extLst>
                  <a:ext uri="{FF2B5EF4-FFF2-40B4-BE49-F238E27FC236}">
                    <a16:creationId xmlns:a16="http://schemas.microsoft.com/office/drawing/2014/main" id="{B472A846-BE2F-5DA9-2F16-02E7C12281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6994" name="Graphic 6993">
                <a:extLst>
                  <a:ext uri="{FF2B5EF4-FFF2-40B4-BE49-F238E27FC236}">
                    <a16:creationId xmlns:a16="http://schemas.microsoft.com/office/drawing/2014/main" id="{5E0A8395-6A09-D54D-20C7-62C668F0FE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6995" name="Graphic 6994">
                <a:extLst>
                  <a:ext uri="{FF2B5EF4-FFF2-40B4-BE49-F238E27FC236}">
                    <a16:creationId xmlns:a16="http://schemas.microsoft.com/office/drawing/2014/main" id="{331EA9C2-691F-22C5-47B1-A13BC83D61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8257" name="Group 8256">
              <a:extLst>
                <a:ext uri="{FF2B5EF4-FFF2-40B4-BE49-F238E27FC236}">
                  <a16:creationId xmlns:a16="http://schemas.microsoft.com/office/drawing/2014/main" id="{C55DB300-E07D-DAF7-52F4-0B218DF4CD16}"/>
                </a:ext>
              </a:extLst>
            </p:cNvPr>
            <p:cNvGrpSpPr/>
            <p:nvPr/>
          </p:nvGrpSpPr>
          <p:grpSpPr>
            <a:xfrm>
              <a:off x="994237" y="4019933"/>
              <a:ext cx="110646" cy="110646"/>
              <a:chOff x="2898967" y="1781131"/>
              <a:chExt cx="1097280" cy="1097279"/>
            </a:xfrm>
          </p:grpSpPr>
          <p:grpSp>
            <p:nvGrpSpPr>
              <p:cNvPr id="4056" name="Group 4055">
                <a:extLst>
                  <a:ext uri="{FF2B5EF4-FFF2-40B4-BE49-F238E27FC236}">
                    <a16:creationId xmlns:a16="http://schemas.microsoft.com/office/drawing/2014/main" id="{2DEF5AA6-15A5-0C6F-8284-345F1356D0B6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4068" name="Group 4067">
                  <a:extLst>
                    <a:ext uri="{FF2B5EF4-FFF2-40B4-BE49-F238E27FC236}">
                      <a16:creationId xmlns:a16="http://schemas.microsoft.com/office/drawing/2014/main" id="{A3EE2197-89C5-B724-2618-C33D9F5F2D31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4084" name="Oval 4083">
                    <a:extLst>
                      <a:ext uri="{FF2B5EF4-FFF2-40B4-BE49-F238E27FC236}">
                        <a16:creationId xmlns:a16="http://schemas.microsoft.com/office/drawing/2014/main" id="{FEF3A8F6-EBE8-2200-8BA0-D36B20FEE7E7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4085" name="Group 4084">
                    <a:extLst>
                      <a:ext uri="{FF2B5EF4-FFF2-40B4-BE49-F238E27FC236}">
                        <a16:creationId xmlns:a16="http://schemas.microsoft.com/office/drawing/2014/main" id="{7219C488-33D3-B9B2-DD25-6426EB396113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4086" name="Graphic 4085">
                      <a:extLst>
                        <a:ext uri="{FF2B5EF4-FFF2-40B4-BE49-F238E27FC236}">
                          <a16:creationId xmlns:a16="http://schemas.microsoft.com/office/drawing/2014/main" id="{351FCC45-0225-DF39-6B74-87179E1EF1A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87" name="Graphic 4086">
                      <a:extLst>
                        <a:ext uri="{FF2B5EF4-FFF2-40B4-BE49-F238E27FC236}">
                          <a16:creationId xmlns:a16="http://schemas.microsoft.com/office/drawing/2014/main" id="{8CD68EC0-5661-6E5D-62D7-D11031F5278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88" name="Graphic 4087">
                      <a:extLst>
                        <a:ext uri="{FF2B5EF4-FFF2-40B4-BE49-F238E27FC236}">
                          <a16:creationId xmlns:a16="http://schemas.microsoft.com/office/drawing/2014/main" id="{B3DAA174-6D29-DC6C-62EB-C01EC06290D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89" name="Graphic 4088">
                      <a:extLst>
                        <a:ext uri="{FF2B5EF4-FFF2-40B4-BE49-F238E27FC236}">
                          <a16:creationId xmlns:a16="http://schemas.microsoft.com/office/drawing/2014/main" id="{F43960AC-B5CF-27AF-4778-888C19FEA9F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90" name="Graphic 4089">
                      <a:extLst>
                        <a:ext uri="{FF2B5EF4-FFF2-40B4-BE49-F238E27FC236}">
                          <a16:creationId xmlns:a16="http://schemas.microsoft.com/office/drawing/2014/main" id="{4DA6AEB1-3FB1-9508-3F8C-33FB2889E77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91" name="Graphic 4090">
                      <a:extLst>
                        <a:ext uri="{FF2B5EF4-FFF2-40B4-BE49-F238E27FC236}">
                          <a16:creationId xmlns:a16="http://schemas.microsoft.com/office/drawing/2014/main" id="{E95222D5-04FE-E62A-7246-3D9E21BF65A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92" name="Graphic 4091">
                      <a:extLst>
                        <a:ext uri="{FF2B5EF4-FFF2-40B4-BE49-F238E27FC236}">
                          <a16:creationId xmlns:a16="http://schemas.microsoft.com/office/drawing/2014/main" id="{31B03A61-2BEF-D781-BF98-50490681465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93" name="Graphic 4092">
                      <a:extLst>
                        <a:ext uri="{FF2B5EF4-FFF2-40B4-BE49-F238E27FC236}">
                          <a16:creationId xmlns:a16="http://schemas.microsoft.com/office/drawing/2014/main" id="{56BF6305-BE5A-3AAA-9C76-7CD41E8BE5E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94" name="Graphic 4093">
                      <a:extLst>
                        <a:ext uri="{FF2B5EF4-FFF2-40B4-BE49-F238E27FC236}">
                          <a16:creationId xmlns:a16="http://schemas.microsoft.com/office/drawing/2014/main" id="{44FD6EFB-A413-3248-9946-B672FEAE538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95" name="Graphic 4094">
                      <a:extLst>
                        <a:ext uri="{FF2B5EF4-FFF2-40B4-BE49-F238E27FC236}">
                          <a16:creationId xmlns:a16="http://schemas.microsoft.com/office/drawing/2014/main" id="{56887FCD-9B34-DBE8-5E0C-D7CFA075869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976" name="Graphic 6975">
                      <a:extLst>
                        <a:ext uri="{FF2B5EF4-FFF2-40B4-BE49-F238E27FC236}">
                          <a16:creationId xmlns:a16="http://schemas.microsoft.com/office/drawing/2014/main" id="{7763B4B5-2EDA-FFA9-99A2-B9A64103448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977" name="Graphic 6976">
                      <a:extLst>
                        <a:ext uri="{FF2B5EF4-FFF2-40B4-BE49-F238E27FC236}">
                          <a16:creationId xmlns:a16="http://schemas.microsoft.com/office/drawing/2014/main" id="{DB21A0D7-5C02-279E-24A7-8F2B21D1C91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978" name="Graphic 6977">
                      <a:extLst>
                        <a:ext uri="{FF2B5EF4-FFF2-40B4-BE49-F238E27FC236}">
                          <a16:creationId xmlns:a16="http://schemas.microsoft.com/office/drawing/2014/main" id="{880FF327-5705-FAB8-C5E5-0C6148B2238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979" name="Graphic 6978">
                      <a:extLst>
                        <a:ext uri="{FF2B5EF4-FFF2-40B4-BE49-F238E27FC236}">
                          <a16:creationId xmlns:a16="http://schemas.microsoft.com/office/drawing/2014/main" id="{6C640968-CDDE-6A54-57DC-F0735A81DD1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980" name="Graphic 6979">
                      <a:extLst>
                        <a:ext uri="{FF2B5EF4-FFF2-40B4-BE49-F238E27FC236}">
                          <a16:creationId xmlns:a16="http://schemas.microsoft.com/office/drawing/2014/main" id="{4F0490CA-F171-74EC-BFAD-3643A2745BE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981" name="Graphic 6980">
                      <a:extLst>
                        <a:ext uri="{FF2B5EF4-FFF2-40B4-BE49-F238E27FC236}">
                          <a16:creationId xmlns:a16="http://schemas.microsoft.com/office/drawing/2014/main" id="{D1860977-6D95-F96D-E86E-CDFB61F541D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982" name="Graphic 6981">
                      <a:extLst>
                        <a:ext uri="{FF2B5EF4-FFF2-40B4-BE49-F238E27FC236}">
                          <a16:creationId xmlns:a16="http://schemas.microsoft.com/office/drawing/2014/main" id="{0AC47E5F-D9C4-4C08-F4D3-06BF313D251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983" name="Graphic 6982">
                      <a:extLst>
                        <a:ext uri="{FF2B5EF4-FFF2-40B4-BE49-F238E27FC236}">
                          <a16:creationId xmlns:a16="http://schemas.microsoft.com/office/drawing/2014/main" id="{10D88937-EC52-4558-1E0C-4D13314CAFD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4069" name="Graphic 4068">
                  <a:extLst>
                    <a:ext uri="{FF2B5EF4-FFF2-40B4-BE49-F238E27FC236}">
                      <a16:creationId xmlns:a16="http://schemas.microsoft.com/office/drawing/2014/main" id="{CC9EDFB0-CC98-076F-3BF9-8F593DBB665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70" name="Graphic 4069">
                  <a:extLst>
                    <a:ext uri="{FF2B5EF4-FFF2-40B4-BE49-F238E27FC236}">
                      <a16:creationId xmlns:a16="http://schemas.microsoft.com/office/drawing/2014/main" id="{2B16F70E-8037-3938-3053-259747D17BC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71" name="Graphic 4070">
                  <a:extLst>
                    <a:ext uri="{FF2B5EF4-FFF2-40B4-BE49-F238E27FC236}">
                      <a16:creationId xmlns:a16="http://schemas.microsoft.com/office/drawing/2014/main" id="{BB90EF32-9766-4415-364A-CB4659740F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72" name="Graphic 4071">
                  <a:extLst>
                    <a:ext uri="{FF2B5EF4-FFF2-40B4-BE49-F238E27FC236}">
                      <a16:creationId xmlns:a16="http://schemas.microsoft.com/office/drawing/2014/main" id="{D277EA77-E788-6FE4-84E8-43F3BBCE21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4073" name="Graphic 4072">
                  <a:extLst>
                    <a:ext uri="{FF2B5EF4-FFF2-40B4-BE49-F238E27FC236}">
                      <a16:creationId xmlns:a16="http://schemas.microsoft.com/office/drawing/2014/main" id="{D911783A-64A8-E087-CD48-89DCBEF588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4074" name="Graphic 4073">
                  <a:extLst>
                    <a:ext uri="{FF2B5EF4-FFF2-40B4-BE49-F238E27FC236}">
                      <a16:creationId xmlns:a16="http://schemas.microsoft.com/office/drawing/2014/main" id="{110CA9BC-F1E9-DDE5-9597-E9693F02F85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75" name="Graphic 4074">
                  <a:extLst>
                    <a:ext uri="{FF2B5EF4-FFF2-40B4-BE49-F238E27FC236}">
                      <a16:creationId xmlns:a16="http://schemas.microsoft.com/office/drawing/2014/main" id="{4C82E6F0-CC20-21FA-FEB2-4655711A49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4076" name="Graphic 4075">
                  <a:extLst>
                    <a:ext uri="{FF2B5EF4-FFF2-40B4-BE49-F238E27FC236}">
                      <a16:creationId xmlns:a16="http://schemas.microsoft.com/office/drawing/2014/main" id="{AA1AC950-EB10-91E7-3741-7FDC847086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4077" name="Graphic 4076">
                  <a:extLst>
                    <a:ext uri="{FF2B5EF4-FFF2-40B4-BE49-F238E27FC236}">
                      <a16:creationId xmlns:a16="http://schemas.microsoft.com/office/drawing/2014/main" id="{C2369D4D-6503-0284-4532-A46802C431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4078" name="Graphic 4077">
                  <a:extLst>
                    <a:ext uri="{FF2B5EF4-FFF2-40B4-BE49-F238E27FC236}">
                      <a16:creationId xmlns:a16="http://schemas.microsoft.com/office/drawing/2014/main" id="{235D7EA5-A85C-846D-1574-54D25E7147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4079" name="Graphic 4078">
                  <a:extLst>
                    <a:ext uri="{FF2B5EF4-FFF2-40B4-BE49-F238E27FC236}">
                      <a16:creationId xmlns:a16="http://schemas.microsoft.com/office/drawing/2014/main" id="{B6612724-F18A-A22F-1D44-051FCE3AE81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4080" name="Graphic 4079">
                  <a:extLst>
                    <a:ext uri="{FF2B5EF4-FFF2-40B4-BE49-F238E27FC236}">
                      <a16:creationId xmlns:a16="http://schemas.microsoft.com/office/drawing/2014/main" id="{5DA4D933-A6AD-2171-01A1-84600486C8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4081" name="Graphic 4080">
                  <a:extLst>
                    <a:ext uri="{FF2B5EF4-FFF2-40B4-BE49-F238E27FC236}">
                      <a16:creationId xmlns:a16="http://schemas.microsoft.com/office/drawing/2014/main" id="{EE1A6FB2-54E8-DF57-513F-C8B97A181B1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4082" name="Graphic 4081">
                  <a:extLst>
                    <a:ext uri="{FF2B5EF4-FFF2-40B4-BE49-F238E27FC236}">
                      <a16:creationId xmlns:a16="http://schemas.microsoft.com/office/drawing/2014/main" id="{3FE378FE-DB24-625A-6AC6-C4D7337DA48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4083" name="Graphic 4082">
                  <a:extLst>
                    <a:ext uri="{FF2B5EF4-FFF2-40B4-BE49-F238E27FC236}">
                      <a16:creationId xmlns:a16="http://schemas.microsoft.com/office/drawing/2014/main" id="{9D492966-95EE-3BF5-F7BA-09B63649E29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4057" name="Graphic 4056">
                <a:extLst>
                  <a:ext uri="{FF2B5EF4-FFF2-40B4-BE49-F238E27FC236}">
                    <a16:creationId xmlns:a16="http://schemas.microsoft.com/office/drawing/2014/main" id="{E70E1728-033F-00DD-D237-D90A1D4898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4058" name="Graphic 4057">
                <a:extLst>
                  <a:ext uri="{FF2B5EF4-FFF2-40B4-BE49-F238E27FC236}">
                    <a16:creationId xmlns:a16="http://schemas.microsoft.com/office/drawing/2014/main" id="{4B7A64EF-4E2F-7878-BF57-A24C4EDF45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4059" name="Graphic 4058">
                <a:extLst>
                  <a:ext uri="{FF2B5EF4-FFF2-40B4-BE49-F238E27FC236}">
                    <a16:creationId xmlns:a16="http://schemas.microsoft.com/office/drawing/2014/main" id="{4D234CBB-9638-6E62-00C2-CA3A861DCB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4060" name="Graphic 4059">
                <a:extLst>
                  <a:ext uri="{FF2B5EF4-FFF2-40B4-BE49-F238E27FC236}">
                    <a16:creationId xmlns:a16="http://schemas.microsoft.com/office/drawing/2014/main" id="{292A0F91-9A0E-B80F-E675-BEA2E9B31F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4061" name="Graphic 4060">
                <a:extLst>
                  <a:ext uri="{FF2B5EF4-FFF2-40B4-BE49-F238E27FC236}">
                    <a16:creationId xmlns:a16="http://schemas.microsoft.com/office/drawing/2014/main" id="{228D6CB5-F2AE-FFDE-763B-5FCBA748D1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4062" name="Graphic 4061">
                <a:extLst>
                  <a:ext uri="{FF2B5EF4-FFF2-40B4-BE49-F238E27FC236}">
                    <a16:creationId xmlns:a16="http://schemas.microsoft.com/office/drawing/2014/main" id="{FCB2F74C-0785-4ED6-B4A2-52BE072368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4063" name="Graphic 4062">
                <a:extLst>
                  <a:ext uri="{FF2B5EF4-FFF2-40B4-BE49-F238E27FC236}">
                    <a16:creationId xmlns:a16="http://schemas.microsoft.com/office/drawing/2014/main" id="{2A37382F-2693-4C42-9720-E8DD37B116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4064" name="Graphic 4063">
                <a:extLst>
                  <a:ext uri="{FF2B5EF4-FFF2-40B4-BE49-F238E27FC236}">
                    <a16:creationId xmlns:a16="http://schemas.microsoft.com/office/drawing/2014/main" id="{1627D4CC-53DF-FE12-E40E-B38766812D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4065" name="Graphic 4064">
                <a:extLst>
                  <a:ext uri="{FF2B5EF4-FFF2-40B4-BE49-F238E27FC236}">
                    <a16:creationId xmlns:a16="http://schemas.microsoft.com/office/drawing/2014/main" id="{7D540B0F-F86C-3C3C-0D16-F2A9B3E8D6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4066" name="Graphic 4065">
                <a:extLst>
                  <a:ext uri="{FF2B5EF4-FFF2-40B4-BE49-F238E27FC236}">
                    <a16:creationId xmlns:a16="http://schemas.microsoft.com/office/drawing/2014/main" id="{3646CD5E-634F-40C2-06F6-4715DE5922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4067" name="Graphic 4066">
                <a:extLst>
                  <a:ext uri="{FF2B5EF4-FFF2-40B4-BE49-F238E27FC236}">
                    <a16:creationId xmlns:a16="http://schemas.microsoft.com/office/drawing/2014/main" id="{C52CD48C-89B2-9636-D331-907CA512B6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8258" name="Group 8257">
              <a:extLst>
                <a:ext uri="{FF2B5EF4-FFF2-40B4-BE49-F238E27FC236}">
                  <a16:creationId xmlns:a16="http://schemas.microsoft.com/office/drawing/2014/main" id="{4DA8FEC6-62D8-26FC-F9BD-D0A71BFFC1C7}"/>
                </a:ext>
              </a:extLst>
            </p:cNvPr>
            <p:cNvGrpSpPr/>
            <p:nvPr/>
          </p:nvGrpSpPr>
          <p:grpSpPr>
            <a:xfrm>
              <a:off x="1251506" y="4155547"/>
              <a:ext cx="110646" cy="110646"/>
              <a:chOff x="2898967" y="1781131"/>
              <a:chExt cx="1097280" cy="1097279"/>
            </a:xfrm>
          </p:grpSpPr>
          <p:grpSp>
            <p:nvGrpSpPr>
              <p:cNvPr id="951" name="Group 950">
                <a:extLst>
                  <a:ext uri="{FF2B5EF4-FFF2-40B4-BE49-F238E27FC236}">
                    <a16:creationId xmlns:a16="http://schemas.microsoft.com/office/drawing/2014/main" id="{6C480E16-5B86-EA89-4E45-C2C6D304B7F1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3971" name="Group 3970">
                  <a:extLst>
                    <a:ext uri="{FF2B5EF4-FFF2-40B4-BE49-F238E27FC236}">
                      <a16:creationId xmlns:a16="http://schemas.microsoft.com/office/drawing/2014/main" id="{252F0D91-824D-5DBD-DEBA-567C2B7E9C80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3987" name="Oval 3986">
                    <a:extLst>
                      <a:ext uri="{FF2B5EF4-FFF2-40B4-BE49-F238E27FC236}">
                        <a16:creationId xmlns:a16="http://schemas.microsoft.com/office/drawing/2014/main" id="{E55C5D4C-7BB9-40E8-E93A-DBB61FD6D288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988" name="Group 3987">
                    <a:extLst>
                      <a:ext uri="{FF2B5EF4-FFF2-40B4-BE49-F238E27FC236}">
                        <a16:creationId xmlns:a16="http://schemas.microsoft.com/office/drawing/2014/main" id="{19ACB6B8-EBC6-74D7-B4F6-116698B20E3F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3989" name="Graphic 3988">
                      <a:extLst>
                        <a:ext uri="{FF2B5EF4-FFF2-40B4-BE49-F238E27FC236}">
                          <a16:creationId xmlns:a16="http://schemas.microsoft.com/office/drawing/2014/main" id="{1C512778-2FA3-79F3-7DDB-4C997EC5F56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990" name="Graphic 3989">
                      <a:extLst>
                        <a:ext uri="{FF2B5EF4-FFF2-40B4-BE49-F238E27FC236}">
                          <a16:creationId xmlns:a16="http://schemas.microsoft.com/office/drawing/2014/main" id="{ED728294-4596-2618-2E03-5515B37A9BA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991" name="Graphic 3990">
                      <a:extLst>
                        <a:ext uri="{FF2B5EF4-FFF2-40B4-BE49-F238E27FC236}">
                          <a16:creationId xmlns:a16="http://schemas.microsoft.com/office/drawing/2014/main" id="{D4061C17-3A7B-83EF-C773-6A9D5044FCB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992" name="Graphic 3991">
                      <a:extLst>
                        <a:ext uri="{FF2B5EF4-FFF2-40B4-BE49-F238E27FC236}">
                          <a16:creationId xmlns:a16="http://schemas.microsoft.com/office/drawing/2014/main" id="{7F560AF8-9208-0B81-2AF0-7ADC64B75CC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993" name="Graphic 3992">
                      <a:extLst>
                        <a:ext uri="{FF2B5EF4-FFF2-40B4-BE49-F238E27FC236}">
                          <a16:creationId xmlns:a16="http://schemas.microsoft.com/office/drawing/2014/main" id="{0116EFFC-857F-A9E9-20EE-9637F363348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994" name="Graphic 3993">
                      <a:extLst>
                        <a:ext uri="{FF2B5EF4-FFF2-40B4-BE49-F238E27FC236}">
                          <a16:creationId xmlns:a16="http://schemas.microsoft.com/office/drawing/2014/main" id="{343B8C81-A9CF-4CFF-4337-59B240E336A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995" name="Graphic 3994">
                      <a:extLst>
                        <a:ext uri="{FF2B5EF4-FFF2-40B4-BE49-F238E27FC236}">
                          <a16:creationId xmlns:a16="http://schemas.microsoft.com/office/drawing/2014/main" id="{1E680108-05F5-DD2D-94E3-F159C9A142C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996" name="Graphic 3995">
                      <a:extLst>
                        <a:ext uri="{FF2B5EF4-FFF2-40B4-BE49-F238E27FC236}">
                          <a16:creationId xmlns:a16="http://schemas.microsoft.com/office/drawing/2014/main" id="{B0BBDA4E-59EF-176C-A63F-BE6A75D7708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997" name="Graphic 3996">
                      <a:extLst>
                        <a:ext uri="{FF2B5EF4-FFF2-40B4-BE49-F238E27FC236}">
                          <a16:creationId xmlns:a16="http://schemas.microsoft.com/office/drawing/2014/main" id="{6841D3EF-96F1-9A30-1B82-3DD4107431D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47" name="Graphic 4046">
                      <a:extLst>
                        <a:ext uri="{FF2B5EF4-FFF2-40B4-BE49-F238E27FC236}">
                          <a16:creationId xmlns:a16="http://schemas.microsoft.com/office/drawing/2014/main" id="{B71EBD5E-C2D3-A446-8B22-57A141E62B5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48" name="Graphic 4047">
                      <a:extLst>
                        <a:ext uri="{FF2B5EF4-FFF2-40B4-BE49-F238E27FC236}">
                          <a16:creationId xmlns:a16="http://schemas.microsoft.com/office/drawing/2014/main" id="{F15D558B-E321-0A2B-272B-2F458E98CCD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49" name="Graphic 4048">
                      <a:extLst>
                        <a:ext uri="{FF2B5EF4-FFF2-40B4-BE49-F238E27FC236}">
                          <a16:creationId xmlns:a16="http://schemas.microsoft.com/office/drawing/2014/main" id="{AB0D1EE6-92B6-DF64-6660-407A5AECC04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50" name="Graphic 4049">
                      <a:extLst>
                        <a:ext uri="{FF2B5EF4-FFF2-40B4-BE49-F238E27FC236}">
                          <a16:creationId xmlns:a16="http://schemas.microsoft.com/office/drawing/2014/main" id="{BC9A8115-CA7C-2611-BA8F-4258EBCD5A9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51" name="Graphic 4050">
                      <a:extLst>
                        <a:ext uri="{FF2B5EF4-FFF2-40B4-BE49-F238E27FC236}">
                          <a16:creationId xmlns:a16="http://schemas.microsoft.com/office/drawing/2014/main" id="{0E73600B-FD92-5BFF-58D0-B1BBBD5747F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52" name="Graphic 4051">
                      <a:extLst>
                        <a:ext uri="{FF2B5EF4-FFF2-40B4-BE49-F238E27FC236}">
                          <a16:creationId xmlns:a16="http://schemas.microsoft.com/office/drawing/2014/main" id="{F602F3DE-A75E-9FE7-A8FB-5D3D8815F4C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53" name="Graphic 4052">
                      <a:extLst>
                        <a:ext uri="{FF2B5EF4-FFF2-40B4-BE49-F238E27FC236}">
                          <a16:creationId xmlns:a16="http://schemas.microsoft.com/office/drawing/2014/main" id="{B14E61DC-E0CB-07A9-006B-369EF885D57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54" name="Graphic 4053">
                      <a:extLst>
                        <a:ext uri="{FF2B5EF4-FFF2-40B4-BE49-F238E27FC236}">
                          <a16:creationId xmlns:a16="http://schemas.microsoft.com/office/drawing/2014/main" id="{D3BC23D2-008D-A3DC-42B2-52B24A52AAD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055" name="Graphic 4054">
                      <a:extLst>
                        <a:ext uri="{FF2B5EF4-FFF2-40B4-BE49-F238E27FC236}">
                          <a16:creationId xmlns:a16="http://schemas.microsoft.com/office/drawing/2014/main" id="{D0A131CD-B51F-66FB-44CB-42AD1A94664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972" name="Graphic 3971">
                  <a:extLst>
                    <a:ext uri="{FF2B5EF4-FFF2-40B4-BE49-F238E27FC236}">
                      <a16:creationId xmlns:a16="http://schemas.microsoft.com/office/drawing/2014/main" id="{FA860580-7923-E52A-72B2-90FF3052E4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73" name="Graphic 3972">
                  <a:extLst>
                    <a:ext uri="{FF2B5EF4-FFF2-40B4-BE49-F238E27FC236}">
                      <a16:creationId xmlns:a16="http://schemas.microsoft.com/office/drawing/2014/main" id="{C06028BB-73C0-3F39-4B94-8FF1139C54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74" name="Graphic 3973">
                  <a:extLst>
                    <a:ext uri="{FF2B5EF4-FFF2-40B4-BE49-F238E27FC236}">
                      <a16:creationId xmlns:a16="http://schemas.microsoft.com/office/drawing/2014/main" id="{4D6519EE-F864-0643-5FE1-077281CECC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75" name="Graphic 3974">
                  <a:extLst>
                    <a:ext uri="{FF2B5EF4-FFF2-40B4-BE49-F238E27FC236}">
                      <a16:creationId xmlns:a16="http://schemas.microsoft.com/office/drawing/2014/main" id="{B4B1C06B-9A4A-CB0B-5C33-FFCCD63A36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3976" name="Graphic 3975">
                  <a:extLst>
                    <a:ext uri="{FF2B5EF4-FFF2-40B4-BE49-F238E27FC236}">
                      <a16:creationId xmlns:a16="http://schemas.microsoft.com/office/drawing/2014/main" id="{72C8BE00-4F8E-7C93-AB78-BF476F897F2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3977" name="Graphic 3976">
                  <a:extLst>
                    <a:ext uri="{FF2B5EF4-FFF2-40B4-BE49-F238E27FC236}">
                      <a16:creationId xmlns:a16="http://schemas.microsoft.com/office/drawing/2014/main" id="{D83DB0DD-4CF9-0B76-724E-89CB1662225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78" name="Graphic 3977">
                  <a:extLst>
                    <a:ext uri="{FF2B5EF4-FFF2-40B4-BE49-F238E27FC236}">
                      <a16:creationId xmlns:a16="http://schemas.microsoft.com/office/drawing/2014/main" id="{E5379C47-AD27-CA2C-6F2E-82B669EA16C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3979" name="Graphic 3978">
                  <a:extLst>
                    <a:ext uri="{FF2B5EF4-FFF2-40B4-BE49-F238E27FC236}">
                      <a16:creationId xmlns:a16="http://schemas.microsoft.com/office/drawing/2014/main" id="{2B709047-95A1-EE0E-55AE-D5EDB58AA6B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3980" name="Graphic 3979">
                  <a:extLst>
                    <a:ext uri="{FF2B5EF4-FFF2-40B4-BE49-F238E27FC236}">
                      <a16:creationId xmlns:a16="http://schemas.microsoft.com/office/drawing/2014/main" id="{C6A7C9CB-88C0-01BB-3252-2FD09C85BED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3981" name="Graphic 3980">
                  <a:extLst>
                    <a:ext uri="{FF2B5EF4-FFF2-40B4-BE49-F238E27FC236}">
                      <a16:creationId xmlns:a16="http://schemas.microsoft.com/office/drawing/2014/main" id="{75CF126F-3037-84CC-0F86-CF3BB5E8E2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3982" name="Graphic 3981">
                  <a:extLst>
                    <a:ext uri="{FF2B5EF4-FFF2-40B4-BE49-F238E27FC236}">
                      <a16:creationId xmlns:a16="http://schemas.microsoft.com/office/drawing/2014/main" id="{EF1AE9DB-5F4C-07C2-CB13-850E91C041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3983" name="Graphic 3982">
                  <a:extLst>
                    <a:ext uri="{FF2B5EF4-FFF2-40B4-BE49-F238E27FC236}">
                      <a16:creationId xmlns:a16="http://schemas.microsoft.com/office/drawing/2014/main" id="{EE97712C-697F-41F5-DAC5-942FA70B983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84" name="Graphic 3983">
                  <a:extLst>
                    <a:ext uri="{FF2B5EF4-FFF2-40B4-BE49-F238E27FC236}">
                      <a16:creationId xmlns:a16="http://schemas.microsoft.com/office/drawing/2014/main" id="{253D8A55-360B-252C-79CD-D5D87C736C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3985" name="Graphic 3984">
                  <a:extLst>
                    <a:ext uri="{FF2B5EF4-FFF2-40B4-BE49-F238E27FC236}">
                      <a16:creationId xmlns:a16="http://schemas.microsoft.com/office/drawing/2014/main" id="{47856FD8-0169-AD05-B65C-857A9E9E3E9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3986" name="Graphic 3985">
                  <a:extLst>
                    <a:ext uri="{FF2B5EF4-FFF2-40B4-BE49-F238E27FC236}">
                      <a16:creationId xmlns:a16="http://schemas.microsoft.com/office/drawing/2014/main" id="{E5F0DEE9-1EBF-A319-0E9A-A96D62EC7C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952" name="Graphic 951">
                <a:extLst>
                  <a:ext uri="{FF2B5EF4-FFF2-40B4-BE49-F238E27FC236}">
                    <a16:creationId xmlns:a16="http://schemas.microsoft.com/office/drawing/2014/main" id="{67E62019-9231-4F26-56F1-7948E201F8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3" name="Graphic 952">
                <a:extLst>
                  <a:ext uri="{FF2B5EF4-FFF2-40B4-BE49-F238E27FC236}">
                    <a16:creationId xmlns:a16="http://schemas.microsoft.com/office/drawing/2014/main" id="{22BF5D2E-0A98-1FFB-31B8-B6B766AB7F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4" name="Graphic 953">
                <a:extLst>
                  <a:ext uri="{FF2B5EF4-FFF2-40B4-BE49-F238E27FC236}">
                    <a16:creationId xmlns:a16="http://schemas.microsoft.com/office/drawing/2014/main" id="{52112CCE-B3E8-1289-9416-7245D46AC1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955" name="Graphic 954">
                <a:extLst>
                  <a:ext uri="{FF2B5EF4-FFF2-40B4-BE49-F238E27FC236}">
                    <a16:creationId xmlns:a16="http://schemas.microsoft.com/office/drawing/2014/main" id="{721B7AE2-A0E4-4022-4916-5D1D240768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956" name="Graphic 955">
                <a:extLst>
                  <a:ext uri="{FF2B5EF4-FFF2-40B4-BE49-F238E27FC236}">
                    <a16:creationId xmlns:a16="http://schemas.microsoft.com/office/drawing/2014/main" id="{D06A70D0-8D1B-F593-FA6C-C410E505CE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7" name="Graphic 956">
                <a:extLst>
                  <a:ext uri="{FF2B5EF4-FFF2-40B4-BE49-F238E27FC236}">
                    <a16:creationId xmlns:a16="http://schemas.microsoft.com/office/drawing/2014/main" id="{8B5586B1-0C32-285E-C9F1-2A38D4966B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8" name="Graphic 957">
                <a:extLst>
                  <a:ext uri="{FF2B5EF4-FFF2-40B4-BE49-F238E27FC236}">
                    <a16:creationId xmlns:a16="http://schemas.microsoft.com/office/drawing/2014/main" id="{7DA4CC4B-08FC-092B-A084-1C91F6A7B5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9" name="Graphic 958">
                <a:extLst>
                  <a:ext uri="{FF2B5EF4-FFF2-40B4-BE49-F238E27FC236}">
                    <a16:creationId xmlns:a16="http://schemas.microsoft.com/office/drawing/2014/main" id="{9D9AC596-0392-66EF-1C04-76B5412A5D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3968" name="Graphic 3967">
                <a:extLst>
                  <a:ext uri="{FF2B5EF4-FFF2-40B4-BE49-F238E27FC236}">
                    <a16:creationId xmlns:a16="http://schemas.microsoft.com/office/drawing/2014/main" id="{1B3A5EE1-CD83-B94E-E205-5AA897CAFE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3969" name="Graphic 3968">
                <a:extLst>
                  <a:ext uri="{FF2B5EF4-FFF2-40B4-BE49-F238E27FC236}">
                    <a16:creationId xmlns:a16="http://schemas.microsoft.com/office/drawing/2014/main" id="{87BB4512-35C1-6DAF-81AE-3A3BE89DFF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3970" name="Graphic 3969">
                <a:extLst>
                  <a:ext uri="{FF2B5EF4-FFF2-40B4-BE49-F238E27FC236}">
                    <a16:creationId xmlns:a16="http://schemas.microsoft.com/office/drawing/2014/main" id="{D9C19E17-034C-16D4-17CF-17C409CDA9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8259" name="Group 8258">
              <a:extLst>
                <a:ext uri="{FF2B5EF4-FFF2-40B4-BE49-F238E27FC236}">
                  <a16:creationId xmlns:a16="http://schemas.microsoft.com/office/drawing/2014/main" id="{6EE39EEF-84AE-6798-E9CC-B002D2E896CF}"/>
                </a:ext>
              </a:extLst>
            </p:cNvPr>
            <p:cNvGrpSpPr/>
            <p:nvPr/>
          </p:nvGrpSpPr>
          <p:grpSpPr>
            <a:xfrm>
              <a:off x="856629" y="4169508"/>
              <a:ext cx="110646" cy="110646"/>
              <a:chOff x="2898967" y="1781131"/>
              <a:chExt cx="1097280" cy="1097279"/>
            </a:xfrm>
          </p:grpSpPr>
          <p:grpSp>
            <p:nvGrpSpPr>
              <p:cNvPr id="903" name="Group 902">
                <a:extLst>
                  <a:ext uri="{FF2B5EF4-FFF2-40B4-BE49-F238E27FC236}">
                    <a16:creationId xmlns:a16="http://schemas.microsoft.com/office/drawing/2014/main" id="{208723E3-30F1-A3F4-D1A9-8D71D2A9C7A3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915" name="Group 914">
                  <a:extLst>
                    <a:ext uri="{FF2B5EF4-FFF2-40B4-BE49-F238E27FC236}">
                      <a16:creationId xmlns:a16="http://schemas.microsoft.com/office/drawing/2014/main" id="{9CA8B6EF-8EA7-71DE-CAA5-DC45C0AEE63B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931" name="Oval 930">
                    <a:extLst>
                      <a:ext uri="{FF2B5EF4-FFF2-40B4-BE49-F238E27FC236}">
                        <a16:creationId xmlns:a16="http://schemas.microsoft.com/office/drawing/2014/main" id="{65358A6C-2500-1112-478D-4DD08E7950D2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32" name="Group 931">
                    <a:extLst>
                      <a:ext uri="{FF2B5EF4-FFF2-40B4-BE49-F238E27FC236}">
                        <a16:creationId xmlns:a16="http://schemas.microsoft.com/office/drawing/2014/main" id="{8F1CE8CD-701E-8FF7-8943-A1B61023B577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933" name="Graphic 932">
                      <a:extLst>
                        <a:ext uri="{FF2B5EF4-FFF2-40B4-BE49-F238E27FC236}">
                          <a16:creationId xmlns:a16="http://schemas.microsoft.com/office/drawing/2014/main" id="{B26AA505-3A84-F8C8-813C-1CADAB8B28A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4" name="Graphic 933">
                      <a:extLst>
                        <a:ext uri="{FF2B5EF4-FFF2-40B4-BE49-F238E27FC236}">
                          <a16:creationId xmlns:a16="http://schemas.microsoft.com/office/drawing/2014/main" id="{94FD446D-A501-CF3B-9102-474EF799221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5" name="Graphic 934">
                      <a:extLst>
                        <a:ext uri="{FF2B5EF4-FFF2-40B4-BE49-F238E27FC236}">
                          <a16:creationId xmlns:a16="http://schemas.microsoft.com/office/drawing/2014/main" id="{0FAC2F65-F304-D535-C495-1982A52FD78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6" name="Graphic 935">
                      <a:extLst>
                        <a:ext uri="{FF2B5EF4-FFF2-40B4-BE49-F238E27FC236}">
                          <a16:creationId xmlns:a16="http://schemas.microsoft.com/office/drawing/2014/main" id="{E365FE29-BA9A-2B80-B57B-68FF2F6587E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7" name="Graphic 936">
                      <a:extLst>
                        <a:ext uri="{FF2B5EF4-FFF2-40B4-BE49-F238E27FC236}">
                          <a16:creationId xmlns:a16="http://schemas.microsoft.com/office/drawing/2014/main" id="{89B1E20B-AA24-76D8-ED70-1E7C65A9351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8" name="Graphic 937">
                      <a:extLst>
                        <a:ext uri="{FF2B5EF4-FFF2-40B4-BE49-F238E27FC236}">
                          <a16:creationId xmlns:a16="http://schemas.microsoft.com/office/drawing/2014/main" id="{8D48520C-4E36-FC4D-E5E1-8357E832579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9" name="Graphic 938">
                      <a:extLst>
                        <a:ext uri="{FF2B5EF4-FFF2-40B4-BE49-F238E27FC236}">
                          <a16:creationId xmlns:a16="http://schemas.microsoft.com/office/drawing/2014/main" id="{E3B7F7AA-B466-B47E-A500-E2297585072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0" name="Graphic 939">
                      <a:extLst>
                        <a:ext uri="{FF2B5EF4-FFF2-40B4-BE49-F238E27FC236}">
                          <a16:creationId xmlns:a16="http://schemas.microsoft.com/office/drawing/2014/main" id="{A50938A6-0B3E-A4DC-C968-BE8A717DB8A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1" name="Graphic 940">
                      <a:extLst>
                        <a:ext uri="{FF2B5EF4-FFF2-40B4-BE49-F238E27FC236}">
                          <a16:creationId xmlns:a16="http://schemas.microsoft.com/office/drawing/2014/main" id="{43F696AB-D839-9C2D-E240-D8DC764552B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2" name="Graphic 941">
                      <a:extLst>
                        <a:ext uri="{FF2B5EF4-FFF2-40B4-BE49-F238E27FC236}">
                          <a16:creationId xmlns:a16="http://schemas.microsoft.com/office/drawing/2014/main" id="{EB35233F-E55F-EF9B-1AFC-A72F9A73694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3" name="Graphic 942">
                      <a:extLst>
                        <a:ext uri="{FF2B5EF4-FFF2-40B4-BE49-F238E27FC236}">
                          <a16:creationId xmlns:a16="http://schemas.microsoft.com/office/drawing/2014/main" id="{207F848C-52F8-E19B-ADB5-7827C48A421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4" name="Graphic 943">
                      <a:extLst>
                        <a:ext uri="{FF2B5EF4-FFF2-40B4-BE49-F238E27FC236}">
                          <a16:creationId xmlns:a16="http://schemas.microsoft.com/office/drawing/2014/main" id="{A744526B-8ABF-B98C-4B16-A89C4F58B86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5" name="Graphic 944">
                      <a:extLst>
                        <a:ext uri="{FF2B5EF4-FFF2-40B4-BE49-F238E27FC236}">
                          <a16:creationId xmlns:a16="http://schemas.microsoft.com/office/drawing/2014/main" id="{C090B1D3-B057-D523-1B9C-9191B753661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6" name="Graphic 945">
                      <a:extLst>
                        <a:ext uri="{FF2B5EF4-FFF2-40B4-BE49-F238E27FC236}">
                          <a16:creationId xmlns:a16="http://schemas.microsoft.com/office/drawing/2014/main" id="{F8D7D52F-CD61-D49D-5D11-BAA3AD1DA10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7" name="Graphic 946">
                      <a:extLst>
                        <a:ext uri="{FF2B5EF4-FFF2-40B4-BE49-F238E27FC236}">
                          <a16:creationId xmlns:a16="http://schemas.microsoft.com/office/drawing/2014/main" id="{7627652E-EDB2-BCD0-8C0F-75E6BA0E18D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8" name="Graphic 947">
                      <a:extLst>
                        <a:ext uri="{FF2B5EF4-FFF2-40B4-BE49-F238E27FC236}">
                          <a16:creationId xmlns:a16="http://schemas.microsoft.com/office/drawing/2014/main" id="{FB0AD34D-AE9F-3308-1C59-5A0DC5BE007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49" name="Graphic 948">
                      <a:extLst>
                        <a:ext uri="{FF2B5EF4-FFF2-40B4-BE49-F238E27FC236}">
                          <a16:creationId xmlns:a16="http://schemas.microsoft.com/office/drawing/2014/main" id="{ED5A80DB-D8EB-3F82-8DDB-3B928ED1A0D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0" name="Graphic 949">
                      <a:extLst>
                        <a:ext uri="{FF2B5EF4-FFF2-40B4-BE49-F238E27FC236}">
                          <a16:creationId xmlns:a16="http://schemas.microsoft.com/office/drawing/2014/main" id="{19C0465D-82D5-01CE-D9BA-0943FBA3552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16" name="Graphic 915">
                  <a:extLst>
                    <a:ext uri="{FF2B5EF4-FFF2-40B4-BE49-F238E27FC236}">
                      <a16:creationId xmlns:a16="http://schemas.microsoft.com/office/drawing/2014/main" id="{322B562C-9DF8-6F33-D499-B21FA2931AA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7" name="Graphic 916">
                  <a:extLst>
                    <a:ext uri="{FF2B5EF4-FFF2-40B4-BE49-F238E27FC236}">
                      <a16:creationId xmlns:a16="http://schemas.microsoft.com/office/drawing/2014/main" id="{982D696E-B568-5CF2-78DA-F18BDE14C02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8" name="Graphic 917">
                  <a:extLst>
                    <a:ext uri="{FF2B5EF4-FFF2-40B4-BE49-F238E27FC236}">
                      <a16:creationId xmlns:a16="http://schemas.microsoft.com/office/drawing/2014/main" id="{254493AD-03F3-7794-AFAA-4F503D0801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9" name="Graphic 918">
                  <a:extLst>
                    <a:ext uri="{FF2B5EF4-FFF2-40B4-BE49-F238E27FC236}">
                      <a16:creationId xmlns:a16="http://schemas.microsoft.com/office/drawing/2014/main" id="{E4BC6CB2-CC6F-8446-5497-36DDD2BC0DE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0" name="Graphic 919">
                  <a:extLst>
                    <a:ext uri="{FF2B5EF4-FFF2-40B4-BE49-F238E27FC236}">
                      <a16:creationId xmlns:a16="http://schemas.microsoft.com/office/drawing/2014/main" id="{1AF6E633-0D2E-C858-05CC-55B45070B5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1" name="Graphic 920">
                  <a:extLst>
                    <a:ext uri="{FF2B5EF4-FFF2-40B4-BE49-F238E27FC236}">
                      <a16:creationId xmlns:a16="http://schemas.microsoft.com/office/drawing/2014/main" id="{C7272FFD-6E4C-4ABF-95A3-51FCBCAA2A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22" name="Graphic 921">
                  <a:extLst>
                    <a:ext uri="{FF2B5EF4-FFF2-40B4-BE49-F238E27FC236}">
                      <a16:creationId xmlns:a16="http://schemas.microsoft.com/office/drawing/2014/main" id="{4213B9B5-EC45-EA61-AC70-332B1AB0A79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3" name="Graphic 922">
                  <a:extLst>
                    <a:ext uri="{FF2B5EF4-FFF2-40B4-BE49-F238E27FC236}">
                      <a16:creationId xmlns:a16="http://schemas.microsoft.com/office/drawing/2014/main" id="{F6661CE5-1DD2-F92F-9CEE-8AB7FC27D9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4" name="Graphic 923">
                  <a:extLst>
                    <a:ext uri="{FF2B5EF4-FFF2-40B4-BE49-F238E27FC236}">
                      <a16:creationId xmlns:a16="http://schemas.microsoft.com/office/drawing/2014/main" id="{69A9549C-4270-F265-12F5-D56F479BEC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925" name="Graphic 924">
                  <a:extLst>
                    <a:ext uri="{FF2B5EF4-FFF2-40B4-BE49-F238E27FC236}">
                      <a16:creationId xmlns:a16="http://schemas.microsoft.com/office/drawing/2014/main" id="{4C3D6BB3-6EFE-3A5A-193C-ED45E0C5D94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6" name="Graphic 925">
                  <a:extLst>
                    <a:ext uri="{FF2B5EF4-FFF2-40B4-BE49-F238E27FC236}">
                      <a16:creationId xmlns:a16="http://schemas.microsoft.com/office/drawing/2014/main" id="{1518A8D8-7DB2-FE60-6005-43ADFB1E553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7" name="Graphic 926">
                  <a:extLst>
                    <a:ext uri="{FF2B5EF4-FFF2-40B4-BE49-F238E27FC236}">
                      <a16:creationId xmlns:a16="http://schemas.microsoft.com/office/drawing/2014/main" id="{DDDAFD6E-06FE-028C-A43D-2AD67272FAE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28" name="Graphic 927">
                  <a:extLst>
                    <a:ext uri="{FF2B5EF4-FFF2-40B4-BE49-F238E27FC236}">
                      <a16:creationId xmlns:a16="http://schemas.microsoft.com/office/drawing/2014/main" id="{BC535BDE-C0D1-790F-9CC8-5796534F01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29" name="Graphic 928">
                  <a:extLst>
                    <a:ext uri="{FF2B5EF4-FFF2-40B4-BE49-F238E27FC236}">
                      <a16:creationId xmlns:a16="http://schemas.microsoft.com/office/drawing/2014/main" id="{F3AAB136-E2FA-E252-C49B-3491AEC1DCA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30" name="Graphic 929">
                  <a:extLst>
                    <a:ext uri="{FF2B5EF4-FFF2-40B4-BE49-F238E27FC236}">
                      <a16:creationId xmlns:a16="http://schemas.microsoft.com/office/drawing/2014/main" id="{81351B8E-CC54-24C9-911B-CDA32756D6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904" name="Graphic 903">
                <a:extLst>
                  <a:ext uri="{FF2B5EF4-FFF2-40B4-BE49-F238E27FC236}">
                    <a16:creationId xmlns:a16="http://schemas.microsoft.com/office/drawing/2014/main" id="{667CAC31-2799-0F8D-753E-99313CF76C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05" name="Graphic 904">
                <a:extLst>
                  <a:ext uri="{FF2B5EF4-FFF2-40B4-BE49-F238E27FC236}">
                    <a16:creationId xmlns:a16="http://schemas.microsoft.com/office/drawing/2014/main" id="{01EA8971-9D47-A33B-80B3-82207E4F9E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06" name="Graphic 905">
                <a:extLst>
                  <a:ext uri="{FF2B5EF4-FFF2-40B4-BE49-F238E27FC236}">
                    <a16:creationId xmlns:a16="http://schemas.microsoft.com/office/drawing/2014/main" id="{3E8BB77E-920E-576F-5B6E-E8B15DFA48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907" name="Graphic 906">
                <a:extLst>
                  <a:ext uri="{FF2B5EF4-FFF2-40B4-BE49-F238E27FC236}">
                    <a16:creationId xmlns:a16="http://schemas.microsoft.com/office/drawing/2014/main" id="{602E1FB8-BF31-8755-EA50-4D861FEBEB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908" name="Graphic 907">
                <a:extLst>
                  <a:ext uri="{FF2B5EF4-FFF2-40B4-BE49-F238E27FC236}">
                    <a16:creationId xmlns:a16="http://schemas.microsoft.com/office/drawing/2014/main" id="{92A27047-5E26-7798-EABC-71E90A1298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09" name="Graphic 908">
                <a:extLst>
                  <a:ext uri="{FF2B5EF4-FFF2-40B4-BE49-F238E27FC236}">
                    <a16:creationId xmlns:a16="http://schemas.microsoft.com/office/drawing/2014/main" id="{EE1B89EF-F62C-764E-BE3F-985178697D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0" name="Graphic 909">
                <a:extLst>
                  <a:ext uri="{FF2B5EF4-FFF2-40B4-BE49-F238E27FC236}">
                    <a16:creationId xmlns:a16="http://schemas.microsoft.com/office/drawing/2014/main" id="{C3D80D9A-416C-BBF4-4A20-C6722B0210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1" name="Graphic 910">
                <a:extLst>
                  <a:ext uri="{FF2B5EF4-FFF2-40B4-BE49-F238E27FC236}">
                    <a16:creationId xmlns:a16="http://schemas.microsoft.com/office/drawing/2014/main" id="{64C0F306-DF7F-5D4D-9F45-F8CE8046FC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912" name="Graphic 911">
                <a:extLst>
                  <a:ext uri="{FF2B5EF4-FFF2-40B4-BE49-F238E27FC236}">
                    <a16:creationId xmlns:a16="http://schemas.microsoft.com/office/drawing/2014/main" id="{FB2235FC-EF46-F419-1ACA-D29F31585B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913" name="Graphic 912">
                <a:extLst>
                  <a:ext uri="{FF2B5EF4-FFF2-40B4-BE49-F238E27FC236}">
                    <a16:creationId xmlns:a16="http://schemas.microsoft.com/office/drawing/2014/main" id="{480F1185-9AB5-F564-D133-6A12C51C0B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14" name="Graphic 913">
                <a:extLst>
                  <a:ext uri="{FF2B5EF4-FFF2-40B4-BE49-F238E27FC236}">
                    <a16:creationId xmlns:a16="http://schemas.microsoft.com/office/drawing/2014/main" id="{FD539BA5-82F4-A651-1D78-67432C8584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8260" name="Group 8259">
              <a:extLst>
                <a:ext uri="{FF2B5EF4-FFF2-40B4-BE49-F238E27FC236}">
                  <a16:creationId xmlns:a16="http://schemas.microsoft.com/office/drawing/2014/main" id="{391C9A8A-8E0D-C25F-6A27-D367576DAF38}"/>
                </a:ext>
              </a:extLst>
            </p:cNvPr>
            <p:cNvGrpSpPr/>
            <p:nvPr/>
          </p:nvGrpSpPr>
          <p:grpSpPr>
            <a:xfrm>
              <a:off x="1149795" y="3836454"/>
              <a:ext cx="136791" cy="136791"/>
              <a:chOff x="2898967" y="1781131"/>
              <a:chExt cx="1097280" cy="1097279"/>
            </a:xfrm>
          </p:grpSpPr>
          <p:grpSp>
            <p:nvGrpSpPr>
              <p:cNvPr id="834" name="Group 833">
                <a:extLst>
                  <a:ext uri="{FF2B5EF4-FFF2-40B4-BE49-F238E27FC236}">
                    <a16:creationId xmlns:a16="http://schemas.microsoft.com/office/drawing/2014/main" id="{A75D6DEF-8CA0-AC34-E6A6-A3DF6DF9A41B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846" name="Group 845">
                  <a:extLst>
                    <a:ext uri="{FF2B5EF4-FFF2-40B4-BE49-F238E27FC236}">
                      <a16:creationId xmlns:a16="http://schemas.microsoft.com/office/drawing/2014/main" id="{4D14E112-C030-11E9-B91A-3605D80391E5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862" name="Oval 861">
                    <a:extLst>
                      <a:ext uri="{FF2B5EF4-FFF2-40B4-BE49-F238E27FC236}">
                        <a16:creationId xmlns:a16="http://schemas.microsoft.com/office/drawing/2014/main" id="{FB4575A6-3CEF-E428-7892-114B19E75378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863" name="Group 862">
                    <a:extLst>
                      <a:ext uri="{FF2B5EF4-FFF2-40B4-BE49-F238E27FC236}">
                        <a16:creationId xmlns:a16="http://schemas.microsoft.com/office/drawing/2014/main" id="{3DEBB018-7BB4-72EB-F8B6-434336E761A0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864" name="Graphic 863">
                      <a:extLst>
                        <a:ext uri="{FF2B5EF4-FFF2-40B4-BE49-F238E27FC236}">
                          <a16:creationId xmlns:a16="http://schemas.microsoft.com/office/drawing/2014/main" id="{BB2850BF-380B-6AF0-A7A7-C5CC488EEF2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65" name="Graphic 864">
                      <a:extLst>
                        <a:ext uri="{FF2B5EF4-FFF2-40B4-BE49-F238E27FC236}">
                          <a16:creationId xmlns:a16="http://schemas.microsoft.com/office/drawing/2014/main" id="{6AAA269E-08F0-8C29-A833-8EF884DA68A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66" name="Graphic 865">
                      <a:extLst>
                        <a:ext uri="{FF2B5EF4-FFF2-40B4-BE49-F238E27FC236}">
                          <a16:creationId xmlns:a16="http://schemas.microsoft.com/office/drawing/2014/main" id="{754E426D-6F09-12D5-0E0D-AD6A31B22D8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67" name="Graphic 866">
                      <a:extLst>
                        <a:ext uri="{FF2B5EF4-FFF2-40B4-BE49-F238E27FC236}">
                          <a16:creationId xmlns:a16="http://schemas.microsoft.com/office/drawing/2014/main" id="{F6545AB9-FCFA-284F-9D0D-478996C7FDA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68" name="Graphic 867">
                      <a:extLst>
                        <a:ext uri="{FF2B5EF4-FFF2-40B4-BE49-F238E27FC236}">
                          <a16:creationId xmlns:a16="http://schemas.microsoft.com/office/drawing/2014/main" id="{D97FC082-3899-33CB-07F8-4E7FC64B8D3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69" name="Graphic 868">
                      <a:extLst>
                        <a:ext uri="{FF2B5EF4-FFF2-40B4-BE49-F238E27FC236}">
                          <a16:creationId xmlns:a16="http://schemas.microsoft.com/office/drawing/2014/main" id="{DC74F119-F931-7071-9826-1C76334C9DA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70" name="Graphic 869">
                      <a:extLst>
                        <a:ext uri="{FF2B5EF4-FFF2-40B4-BE49-F238E27FC236}">
                          <a16:creationId xmlns:a16="http://schemas.microsoft.com/office/drawing/2014/main" id="{0F74B912-5C9A-C05D-7A4D-B832878D258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71" name="Graphic 870">
                      <a:extLst>
                        <a:ext uri="{FF2B5EF4-FFF2-40B4-BE49-F238E27FC236}">
                          <a16:creationId xmlns:a16="http://schemas.microsoft.com/office/drawing/2014/main" id="{DDD8C47A-8F74-F4E2-69A4-4C0C34B5EDF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72" name="Graphic 871">
                      <a:extLst>
                        <a:ext uri="{FF2B5EF4-FFF2-40B4-BE49-F238E27FC236}">
                          <a16:creationId xmlns:a16="http://schemas.microsoft.com/office/drawing/2014/main" id="{000EF7D3-FD8F-47D6-FDDE-DA3F9A68B57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73" name="Graphic 872">
                      <a:extLst>
                        <a:ext uri="{FF2B5EF4-FFF2-40B4-BE49-F238E27FC236}">
                          <a16:creationId xmlns:a16="http://schemas.microsoft.com/office/drawing/2014/main" id="{AB55563D-D1B3-F284-833A-66D749CF7AA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74" name="Graphic 873">
                      <a:extLst>
                        <a:ext uri="{FF2B5EF4-FFF2-40B4-BE49-F238E27FC236}">
                          <a16:creationId xmlns:a16="http://schemas.microsoft.com/office/drawing/2014/main" id="{45171114-73E2-3576-EEB5-2D6DEE351B0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87" name="Graphic 886">
                      <a:extLst>
                        <a:ext uri="{FF2B5EF4-FFF2-40B4-BE49-F238E27FC236}">
                          <a16:creationId xmlns:a16="http://schemas.microsoft.com/office/drawing/2014/main" id="{989ED361-7E3A-9332-8C9C-D76339F6FDC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88" name="Graphic 887">
                      <a:extLst>
                        <a:ext uri="{FF2B5EF4-FFF2-40B4-BE49-F238E27FC236}">
                          <a16:creationId xmlns:a16="http://schemas.microsoft.com/office/drawing/2014/main" id="{6F4AEE2E-3D3E-5563-EFFA-395EE76587E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89" name="Graphic 888">
                      <a:extLst>
                        <a:ext uri="{FF2B5EF4-FFF2-40B4-BE49-F238E27FC236}">
                          <a16:creationId xmlns:a16="http://schemas.microsoft.com/office/drawing/2014/main" id="{59198739-F945-384C-BBB6-0EB0AD23B11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0" name="Graphic 889">
                      <a:extLst>
                        <a:ext uri="{FF2B5EF4-FFF2-40B4-BE49-F238E27FC236}">
                          <a16:creationId xmlns:a16="http://schemas.microsoft.com/office/drawing/2014/main" id="{0BBAA4A0-D9CE-D212-6056-DC5B634ECF1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1" name="Graphic 890">
                      <a:extLst>
                        <a:ext uri="{FF2B5EF4-FFF2-40B4-BE49-F238E27FC236}">
                          <a16:creationId xmlns:a16="http://schemas.microsoft.com/office/drawing/2014/main" id="{47232908-1C21-DAE5-85A3-66E3B36449F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7" name="Graphic 896">
                      <a:extLst>
                        <a:ext uri="{FF2B5EF4-FFF2-40B4-BE49-F238E27FC236}">
                          <a16:creationId xmlns:a16="http://schemas.microsoft.com/office/drawing/2014/main" id="{D5FC295D-F4DA-2707-6E88-D6EC2828AC6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02" name="Graphic 901">
                      <a:extLst>
                        <a:ext uri="{FF2B5EF4-FFF2-40B4-BE49-F238E27FC236}">
                          <a16:creationId xmlns:a16="http://schemas.microsoft.com/office/drawing/2014/main" id="{FB5537DF-5547-A4D9-51CE-F6F7B5348B0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847" name="Graphic 846">
                  <a:extLst>
                    <a:ext uri="{FF2B5EF4-FFF2-40B4-BE49-F238E27FC236}">
                      <a16:creationId xmlns:a16="http://schemas.microsoft.com/office/drawing/2014/main" id="{C08B093C-EDB9-CE27-A2E2-7B1D43A8A1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48" name="Graphic 847">
                  <a:extLst>
                    <a:ext uri="{FF2B5EF4-FFF2-40B4-BE49-F238E27FC236}">
                      <a16:creationId xmlns:a16="http://schemas.microsoft.com/office/drawing/2014/main" id="{B0E61A3A-552D-8409-1FA6-18689252A2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49" name="Graphic 848">
                  <a:extLst>
                    <a:ext uri="{FF2B5EF4-FFF2-40B4-BE49-F238E27FC236}">
                      <a16:creationId xmlns:a16="http://schemas.microsoft.com/office/drawing/2014/main" id="{0CB4278F-9E97-4E45-1445-2D5F411107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50" name="Graphic 849">
                  <a:extLst>
                    <a:ext uri="{FF2B5EF4-FFF2-40B4-BE49-F238E27FC236}">
                      <a16:creationId xmlns:a16="http://schemas.microsoft.com/office/drawing/2014/main" id="{5D7CA66E-26B6-D106-6EA0-AD627DA67E1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51" name="Graphic 850">
                  <a:extLst>
                    <a:ext uri="{FF2B5EF4-FFF2-40B4-BE49-F238E27FC236}">
                      <a16:creationId xmlns:a16="http://schemas.microsoft.com/office/drawing/2014/main" id="{036DC6E2-141B-DDCB-A4F4-0862F625ECD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52" name="Graphic 851">
                  <a:extLst>
                    <a:ext uri="{FF2B5EF4-FFF2-40B4-BE49-F238E27FC236}">
                      <a16:creationId xmlns:a16="http://schemas.microsoft.com/office/drawing/2014/main" id="{A068ED48-689A-C0EA-B310-8FA21E8E895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53" name="Graphic 852">
                  <a:extLst>
                    <a:ext uri="{FF2B5EF4-FFF2-40B4-BE49-F238E27FC236}">
                      <a16:creationId xmlns:a16="http://schemas.microsoft.com/office/drawing/2014/main" id="{5B68CF70-F52E-A97F-9D25-56B8013E043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54" name="Graphic 853">
                  <a:extLst>
                    <a:ext uri="{FF2B5EF4-FFF2-40B4-BE49-F238E27FC236}">
                      <a16:creationId xmlns:a16="http://schemas.microsoft.com/office/drawing/2014/main" id="{72D4D499-D117-E940-FD66-7B8B4BD7F39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55" name="Graphic 854">
                  <a:extLst>
                    <a:ext uri="{FF2B5EF4-FFF2-40B4-BE49-F238E27FC236}">
                      <a16:creationId xmlns:a16="http://schemas.microsoft.com/office/drawing/2014/main" id="{D4FDC4B6-6FBD-F8DA-F955-427C67FADD5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856" name="Graphic 855">
                  <a:extLst>
                    <a:ext uri="{FF2B5EF4-FFF2-40B4-BE49-F238E27FC236}">
                      <a16:creationId xmlns:a16="http://schemas.microsoft.com/office/drawing/2014/main" id="{1961DA9E-5F09-DC02-3668-F7EB121EDF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57" name="Graphic 856">
                  <a:extLst>
                    <a:ext uri="{FF2B5EF4-FFF2-40B4-BE49-F238E27FC236}">
                      <a16:creationId xmlns:a16="http://schemas.microsoft.com/office/drawing/2014/main" id="{AE6A8582-F6E6-ED76-6A55-6F461B5C1C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58" name="Graphic 857">
                  <a:extLst>
                    <a:ext uri="{FF2B5EF4-FFF2-40B4-BE49-F238E27FC236}">
                      <a16:creationId xmlns:a16="http://schemas.microsoft.com/office/drawing/2014/main" id="{44605919-FDCC-5987-9CA4-C1EB8C1403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59" name="Graphic 858">
                  <a:extLst>
                    <a:ext uri="{FF2B5EF4-FFF2-40B4-BE49-F238E27FC236}">
                      <a16:creationId xmlns:a16="http://schemas.microsoft.com/office/drawing/2014/main" id="{CF16C858-8499-A238-A27F-7B9FEACF2F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60" name="Graphic 859">
                  <a:extLst>
                    <a:ext uri="{FF2B5EF4-FFF2-40B4-BE49-F238E27FC236}">
                      <a16:creationId xmlns:a16="http://schemas.microsoft.com/office/drawing/2014/main" id="{172EA08F-29CC-DC22-7C7A-9AFD21C13C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61" name="Graphic 860">
                  <a:extLst>
                    <a:ext uri="{FF2B5EF4-FFF2-40B4-BE49-F238E27FC236}">
                      <a16:creationId xmlns:a16="http://schemas.microsoft.com/office/drawing/2014/main" id="{D6D0FA58-6733-17EB-3461-3A041640A1B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835" name="Graphic 834">
                <a:extLst>
                  <a:ext uri="{FF2B5EF4-FFF2-40B4-BE49-F238E27FC236}">
                    <a16:creationId xmlns:a16="http://schemas.microsoft.com/office/drawing/2014/main" id="{01257D98-AFF8-0351-AE3E-F81AE187B3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36" name="Graphic 835">
                <a:extLst>
                  <a:ext uri="{FF2B5EF4-FFF2-40B4-BE49-F238E27FC236}">
                    <a16:creationId xmlns:a16="http://schemas.microsoft.com/office/drawing/2014/main" id="{3CEDC8D0-A061-9CD0-8619-9666189E85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37" name="Graphic 836">
                <a:extLst>
                  <a:ext uri="{FF2B5EF4-FFF2-40B4-BE49-F238E27FC236}">
                    <a16:creationId xmlns:a16="http://schemas.microsoft.com/office/drawing/2014/main" id="{574288A0-A53C-0CC6-BF26-57C07B9B14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838" name="Graphic 837">
                <a:extLst>
                  <a:ext uri="{FF2B5EF4-FFF2-40B4-BE49-F238E27FC236}">
                    <a16:creationId xmlns:a16="http://schemas.microsoft.com/office/drawing/2014/main" id="{4AD6BF1B-AA2B-EAC8-3953-A3B58A113F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839" name="Graphic 838">
                <a:extLst>
                  <a:ext uri="{FF2B5EF4-FFF2-40B4-BE49-F238E27FC236}">
                    <a16:creationId xmlns:a16="http://schemas.microsoft.com/office/drawing/2014/main" id="{9E69384B-9F23-1FCE-B6C9-9D6E7A56A7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40" name="Graphic 839">
                <a:extLst>
                  <a:ext uri="{FF2B5EF4-FFF2-40B4-BE49-F238E27FC236}">
                    <a16:creationId xmlns:a16="http://schemas.microsoft.com/office/drawing/2014/main" id="{6B398AC6-7BD0-51A3-9C1F-B4828F2CF7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41" name="Graphic 840">
                <a:extLst>
                  <a:ext uri="{FF2B5EF4-FFF2-40B4-BE49-F238E27FC236}">
                    <a16:creationId xmlns:a16="http://schemas.microsoft.com/office/drawing/2014/main" id="{B9133FA6-1232-9FCB-1475-27790528C3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42" name="Graphic 841">
                <a:extLst>
                  <a:ext uri="{FF2B5EF4-FFF2-40B4-BE49-F238E27FC236}">
                    <a16:creationId xmlns:a16="http://schemas.microsoft.com/office/drawing/2014/main" id="{DFA7ADA0-815C-85B3-D26B-2785F7B08D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843" name="Graphic 842">
                <a:extLst>
                  <a:ext uri="{FF2B5EF4-FFF2-40B4-BE49-F238E27FC236}">
                    <a16:creationId xmlns:a16="http://schemas.microsoft.com/office/drawing/2014/main" id="{74307128-D6B1-6A76-856A-50CA81F0F3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844" name="Graphic 843">
                <a:extLst>
                  <a:ext uri="{FF2B5EF4-FFF2-40B4-BE49-F238E27FC236}">
                    <a16:creationId xmlns:a16="http://schemas.microsoft.com/office/drawing/2014/main" id="{B219B0B4-0BDE-C475-3FA9-0E2553D86D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45" name="Graphic 844">
                <a:extLst>
                  <a:ext uri="{FF2B5EF4-FFF2-40B4-BE49-F238E27FC236}">
                    <a16:creationId xmlns:a16="http://schemas.microsoft.com/office/drawing/2014/main" id="{F0EBF0CA-FFCF-0328-6C53-663CCD7A93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8261" name="Group 8260">
              <a:extLst>
                <a:ext uri="{FF2B5EF4-FFF2-40B4-BE49-F238E27FC236}">
                  <a16:creationId xmlns:a16="http://schemas.microsoft.com/office/drawing/2014/main" id="{4A4D5D1F-444B-E2F0-2DE1-E46A7BBBC1ED}"/>
                </a:ext>
              </a:extLst>
            </p:cNvPr>
            <p:cNvGrpSpPr/>
            <p:nvPr/>
          </p:nvGrpSpPr>
          <p:grpSpPr>
            <a:xfrm>
              <a:off x="1151789" y="3429610"/>
              <a:ext cx="168283" cy="168283"/>
              <a:chOff x="2898967" y="1781131"/>
              <a:chExt cx="1097280" cy="1097279"/>
            </a:xfrm>
          </p:grpSpPr>
          <p:grpSp>
            <p:nvGrpSpPr>
              <p:cNvPr id="599" name="Group 598">
                <a:extLst>
                  <a:ext uri="{FF2B5EF4-FFF2-40B4-BE49-F238E27FC236}">
                    <a16:creationId xmlns:a16="http://schemas.microsoft.com/office/drawing/2014/main" id="{80F9A5C7-2A17-DC88-FBE6-ED29AF07EE5D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611" name="Group 610">
                  <a:extLst>
                    <a:ext uri="{FF2B5EF4-FFF2-40B4-BE49-F238E27FC236}">
                      <a16:creationId xmlns:a16="http://schemas.microsoft.com/office/drawing/2014/main" id="{01490175-313F-878B-B3FE-97EA062BF85E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627" name="Oval 626">
                    <a:extLst>
                      <a:ext uri="{FF2B5EF4-FFF2-40B4-BE49-F238E27FC236}">
                        <a16:creationId xmlns:a16="http://schemas.microsoft.com/office/drawing/2014/main" id="{4A2925C7-72FE-20CB-B80B-53F7122723CA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628" name="Group 627">
                    <a:extLst>
                      <a:ext uri="{FF2B5EF4-FFF2-40B4-BE49-F238E27FC236}">
                        <a16:creationId xmlns:a16="http://schemas.microsoft.com/office/drawing/2014/main" id="{9573B950-82D0-57C6-2B2D-0C05C28BF8B1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629" name="Graphic 628">
                      <a:extLst>
                        <a:ext uri="{FF2B5EF4-FFF2-40B4-BE49-F238E27FC236}">
                          <a16:creationId xmlns:a16="http://schemas.microsoft.com/office/drawing/2014/main" id="{09CE31E1-3AFC-23C1-F335-C70FF0BBE17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30" name="Graphic 629">
                      <a:extLst>
                        <a:ext uri="{FF2B5EF4-FFF2-40B4-BE49-F238E27FC236}">
                          <a16:creationId xmlns:a16="http://schemas.microsoft.com/office/drawing/2014/main" id="{3B63F353-5186-D128-516B-18459A0AAD0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31" name="Graphic 630">
                      <a:extLst>
                        <a:ext uri="{FF2B5EF4-FFF2-40B4-BE49-F238E27FC236}">
                          <a16:creationId xmlns:a16="http://schemas.microsoft.com/office/drawing/2014/main" id="{870B67DE-9EB5-C9C8-2486-A7B8829C923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32" name="Graphic 631">
                      <a:extLst>
                        <a:ext uri="{FF2B5EF4-FFF2-40B4-BE49-F238E27FC236}">
                          <a16:creationId xmlns:a16="http://schemas.microsoft.com/office/drawing/2014/main" id="{29F67739-CBB2-30DF-7240-D8AADB4D4D7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33" name="Graphic 632">
                      <a:extLst>
                        <a:ext uri="{FF2B5EF4-FFF2-40B4-BE49-F238E27FC236}">
                          <a16:creationId xmlns:a16="http://schemas.microsoft.com/office/drawing/2014/main" id="{4295F5B0-A6C2-1746-06E9-6E8711B6351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34" name="Graphic 633">
                      <a:extLst>
                        <a:ext uri="{FF2B5EF4-FFF2-40B4-BE49-F238E27FC236}">
                          <a16:creationId xmlns:a16="http://schemas.microsoft.com/office/drawing/2014/main" id="{C6C69E97-AD04-66AF-D759-86EBDCAA010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35" name="Graphic 634">
                      <a:extLst>
                        <a:ext uri="{FF2B5EF4-FFF2-40B4-BE49-F238E27FC236}">
                          <a16:creationId xmlns:a16="http://schemas.microsoft.com/office/drawing/2014/main" id="{19E22933-DFE4-DA47-C4C2-B683C2F7C28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36" name="Graphic 635">
                      <a:extLst>
                        <a:ext uri="{FF2B5EF4-FFF2-40B4-BE49-F238E27FC236}">
                          <a16:creationId xmlns:a16="http://schemas.microsoft.com/office/drawing/2014/main" id="{9FC8AD2D-1AF4-C290-4EFE-38BA2FC2371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37" name="Graphic 636">
                      <a:extLst>
                        <a:ext uri="{FF2B5EF4-FFF2-40B4-BE49-F238E27FC236}">
                          <a16:creationId xmlns:a16="http://schemas.microsoft.com/office/drawing/2014/main" id="{0896E453-76D4-F5D3-F8FC-983C04289AB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38" name="Graphic 637">
                      <a:extLst>
                        <a:ext uri="{FF2B5EF4-FFF2-40B4-BE49-F238E27FC236}">
                          <a16:creationId xmlns:a16="http://schemas.microsoft.com/office/drawing/2014/main" id="{702EDC12-AFF0-7A98-615D-68483081F91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39" name="Graphic 638">
                      <a:extLst>
                        <a:ext uri="{FF2B5EF4-FFF2-40B4-BE49-F238E27FC236}">
                          <a16:creationId xmlns:a16="http://schemas.microsoft.com/office/drawing/2014/main" id="{952762BA-30FA-614C-C70D-429B57FD7A0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841" name="Graphic 8840">
                      <a:extLst>
                        <a:ext uri="{FF2B5EF4-FFF2-40B4-BE49-F238E27FC236}">
                          <a16:creationId xmlns:a16="http://schemas.microsoft.com/office/drawing/2014/main" id="{D92BE2E4-3F02-5AA0-CA32-795A7CA4E2C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842" name="Graphic 8841">
                      <a:extLst>
                        <a:ext uri="{FF2B5EF4-FFF2-40B4-BE49-F238E27FC236}">
                          <a16:creationId xmlns:a16="http://schemas.microsoft.com/office/drawing/2014/main" id="{340483DE-C16A-C2DE-F9F9-ADD2E601197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843" name="Graphic 8842">
                      <a:extLst>
                        <a:ext uri="{FF2B5EF4-FFF2-40B4-BE49-F238E27FC236}">
                          <a16:creationId xmlns:a16="http://schemas.microsoft.com/office/drawing/2014/main" id="{FF9F2418-C9FF-E765-0548-25376012EC8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894" name="Graphic 8893">
                      <a:extLst>
                        <a:ext uri="{FF2B5EF4-FFF2-40B4-BE49-F238E27FC236}">
                          <a16:creationId xmlns:a16="http://schemas.microsoft.com/office/drawing/2014/main" id="{E3B89075-40D3-D572-81B7-36E6431A3C4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895" name="Graphic 8894">
                      <a:extLst>
                        <a:ext uri="{FF2B5EF4-FFF2-40B4-BE49-F238E27FC236}">
                          <a16:creationId xmlns:a16="http://schemas.microsoft.com/office/drawing/2014/main" id="{475A3713-722D-3A81-BB71-239D477C341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32" name="Graphic 831">
                      <a:extLst>
                        <a:ext uri="{FF2B5EF4-FFF2-40B4-BE49-F238E27FC236}">
                          <a16:creationId xmlns:a16="http://schemas.microsoft.com/office/drawing/2014/main" id="{522FC4F4-8061-3053-8A0A-AEE49B8855C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33" name="Graphic 832">
                      <a:extLst>
                        <a:ext uri="{FF2B5EF4-FFF2-40B4-BE49-F238E27FC236}">
                          <a16:creationId xmlns:a16="http://schemas.microsoft.com/office/drawing/2014/main" id="{DD16DB13-F76D-F30A-3F96-BB64D706EF6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612" name="Graphic 611">
                  <a:extLst>
                    <a:ext uri="{FF2B5EF4-FFF2-40B4-BE49-F238E27FC236}">
                      <a16:creationId xmlns:a16="http://schemas.microsoft.com/office/drawing/2014/main" id="{E9B22835-2259-2D63-06EE-9F06D57515A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613" name="Graphic 612">
                  <a:extLst>
                    <a:ext uri="{FF2B5EF4-FFF2-40B4-BE49-F238E27FC236}">
                      <a16:creationId xmlns:a16="http://schemas.microsoft.com/office/drawing/2014/main" id="{3FDED6B1-42B6-4CEF-17CE-4BCEAF6B0BA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614" name="Graphic 613">
                  <a:extLst>
                    <a:ext uri="{FF2B5EF4-FFF2-40B4-BE49-F238E27FC236}">
                      <a16:creationId xmlns:a16="http://schemas.microsoft.com/office/drawing/2014/main" id="{964B6790-3846-D668-5B8E-B3F92DF1D6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615" name="Graphic 614">
                  <a:extLst>
                    <a:ext uri="{FF2B5EF4-FFF2-40B4-BE49-F238E27FC236}">
                      <a16:creationId xmlns:a16="http://schemas.microsoft.com/office/drawing/2014/main" id="{AB22E92C-1E93-E59D-405E-1C7E99CF8D4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616" name="Graphic 615">
                  <a:extLst>
                    <a:ext uri="{FF2B5EF4-FFF2-40B4-BE49-F238E27FC236}">
                      <a16:creationId xmlns:a16="http://schemas.microsoft.com/office/drawing/2014/main" id="{940E3810-D815-F23F-89D3-F6FFCF074CF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617" name="Graphic 616">
                  <a:extLst>
                    <a:ext uri="{FF2B5EF4-FFF2-40B4-BE49-F238E27FC236}">
                      <a16:creationId xmlns:a16="http://schemas.microsoft.com/office/drawing/2014/main" id="{2EE02083-B0EE-0F12-3619-A19E53ACF3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618" name="Graphic 617">
                  <a:extLst>
                    <a:ext uri="{FF2B5EF4-FFF2-40B4-BE49-F238E27FC236}">
                      <a16:creationId xmlns:a16="http://schemas.microsoft.com/office/drawing/2014/main" id="{1196D3BC-366B-327D-D04F-19516303A49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619" name="Graphic 618">
                  <a:extLst>
                    <a:ext uri="{FF2B5EF4-FFF2-40B4-BE49-F238E27FC236}">
                      <a16:creationId xmlns:a16="http://schemas.microsoft.com/office/drawing/2014/main" id="{EE74B87F-1038-AAFD-B0F7-9A2E229F82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620" name="Graphic 619">
                  <a:extLst>
                    <a:ext uri="{FF2B5EF4-FFF2-40B4-BE49-F238E27FC236}">
                      <a16:creationId xmlns:a16="http://schemas.microsoft.com/office/drawing/2014/main" id="{1A9DE379-EF54-5CBD-6EF2-A29EE2881B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621" name="Graphic 620">
                  <a:extLst>
                    <a:ext uri="{FF2B5EF4-FFF2-40B4-BE49-F238E27FC236}">
                      <a16:creationId xmlns:a16="http://schemas.microsoft.com/office/drawing/2014/main" id="{4FDC216A-DDBA-609D-90C8-DEE3177E129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622" name="Graphic 621">
                  <a:extLst>
                    <a:ext uri="{FF2B5EF4-FFF2-40B4-BE49-F238E27FC236}">
                      <a16:creationId xmlns:a16="http://schemas.microsoft.com/office/drawing/2014/main" id="{8A7D7591-7864-6C9A-6CD5-02E32A5BE3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623" name="Graphic 622">
                  <a:extLst>
                    <a:ext uri="{FF2B5EF4-FFF2-40B4-BE49-F238E27FC236}">
                      <a16:creationId xmlns:a16="http://schemas.microsoft.com/office/drawing/2014/main" id="{EEA07344-9238-CD32-E7A5-1243C49EAB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624" name="Graphic 623">
                  <a:extLst>
                    <a:ext uri="{FF2B5EF4-FFF2-40B4-BE49-F238E27FC236}">
                      <a16:creationId xmlns:a16="http://schemas.microsoft.com/office/drawing/2014/main" id="{7CDAC60F-FFCD-46C2-5942-2B04EACCA73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625" name="Graphic 624">
                  <a:extLst>
                    <a:ext uri="{FF2B5EF4-FFF2-40B4-BE49-F238E27FC236}">
                      <a16:creationId xmlns:a16="http://schemas.microsoft.com/office/drawing/2014/main" id="{27A9ABC7-F888-0266-18FB-96A279128F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626" name="Graphic 625">
                  <a:extLst>
                    <a:ext uri="{FF2B5EF4-FFF2-40B4-BE49-F238E27FC236}">
                      <a16:creationId xmlns:a16="http://schemas.microsoft.com/office/drawing/2014/main" id="{ECFCE3EF-B95D-AFD1-ABE5-B2C49B818D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600" name="Graphic 599">
                <a:extLst>
                  <a:ext uri="{FF2B5EF4-FFF2-40B4-BE49-F238E27FC236}">
                    <a16:creationId xmlns:a16="http://schemas.microsoft.com/office/drawing/2014/main" id="{3859BAC5-DEB2-7D9E-8C6B-8B36BF7CA4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601" name="Graphic 600">
                <a:extLst>
                  <a:ext uri="{FF2B5EF4-FFF2-40B4-BE49-F238E27FC236}">
                    <a16:creationId xmlns:a16="http://schemas.microsoft.com/office/drawing/2014/main" id="{B505BC24-80E5-5E5A-A898-79CBF4008A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602" name="Graphic 601">
                <a:extLst>
                  <a:ext uri="{FF2B5EF4-FFF2-40B4-BE49-F238E27FC236}">
                    <a16:creationId xmlns:a16="http://schemas.microsoft.com/office/drawing/2014/main" id="{2269E8E3-ABBE-FB05-10C9-BE8728CFD7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603" name="Graphic 602">
                <a:extLst>
                  <a:ext uri="{FF2B5EF4-FFF2-40B4-BE49-F238E27FC236}">
                    <a16:creationId xmlns:a16="http://schemas.microsoft.com/office/drawing/2014/main" id="{E584AC3F-1076-8DED-BE56-7C4028BCEE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604" name="Graphic 603">
                <a:extLst>
                  <a:ext uri="{FF2B5EF4-FFF2-40B4-BE49-F238E27FC236}">
                    <a16:creationId xmlns:a16="http://schemas.microsoft.com/office/drawing/2014/main" id="{AB38DD14-1CB0-3164-D475-A4A6E2A197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605" name="Graphic 604">
                <a:extLst>
                  <a:ext uri="{FF2B5EF4-FFF2-40B4-BE49-F238E27FC236}">
                    <a16:creationId xmlns:a16="http://schemas.microsoft.com/office/drawing/2014/main" id="{518D9D63-AE11-AC33-5D49-7B83435449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606" name="Graphic 605">
                <a:extLst>
                  <a:ext uri="{FF2B5EF4-FFF2-40B4-BE49-F238E27FC236}">
                    <a16:creationId xmlns:a16="http://schemas.microsoft.com/office/drawing/2014/main" id="{A0C02312-A1C0-F3A2-3B5C-93F33DA28B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607" name="Graphic 606">
                <a:extLst>
                  <a:ext uri="{FF2B5EF4-FFF2-40B4-BE49-F238E27FC236}">
                    <a16:creationId xmlns:a16="http://schemas.microsoft.com/office/drawing/2014/main" id="{08000471-E0C2-2780-F7BC-CA0A629902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608" name="Graphic 607">
                <a:extLst>
                  <a:ext uri="{FF2B5EF4-FFF2-40B4-BE49-F238E27FC236}">
                    <a16:creationId xmlns:a16="http://schemas.microsoft.com/office/drawing/2014/main" id="{051125C6-2FCF-3BB9-D295-3CA64EC29B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609" name="Graphic 608">
                <a:extLst>
                  <a:ext uri="{FF2B5EF4-FFF2-40B4-BE49-F238E27FC236}">
                    <a16:creationId xmlns:a16="http://schemas.microsoft.com/office/drawing/2014/main" id="{8B2B3469-0BD0-6829-80CD-B57A008334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610" name="Graphic 609">
                <a:extLst>
                  <a:ext uri="{FF2B5EF4-FFF2-40B4-BE49-F238E27FC236}">
                    <a16:creationId xmlns:a16="http://schemas.microsoft.com/office/drawing/2014/main" id="{5B3EACE2-D263-BF1C-31FC-7C9C5C2E92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8262" name="Group 8261">
              <a:extLst>
                <a:ext uri="{FF2B5EF4-FFF2-40B4-BE49-F238E27FC236}">
                  <a16:creationId xmlns:a16="http://schemas.microsoft.com/office/drawing/2014/main" id="{4826E5AD-6197-2E5F-A37B-4A5E984BABD7}"/>
                </a:ext>
              </a:extLst>
            </p:cNvPr>
            <p:cNvGrpSpPr/>
            <p:nvPr/>
          </p:nvGrpSpPr>
          <p:grpSpPr>
            <a:xfrm>
              <a:off x="830702" y="3447559"/>
              <a:ext cx="110646" cy="110646"/>
              <a:chOff x="2898967" y="1781131"/>
              <a:chExt cx="1097280" cy="1097279"/>
            </a:xfrm>
          </p:grpSpPr>
          <p:grpSp>
            <p:nvGrpSpPr>
              <p:cNvPr id="5798" name="Group 5797">
                <a:extLst>
                  <a:ext uri="{FF2B5EF4-FFF2-40B4-BE49-F238E27FC236}">
                    <a16:creationId xmlns:a16="http://schemas.microsoft.com/office/drawing/2014/main" id="{F070DB70-5977-0B71-59BB-0ECA25A87C40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5810" name="Group 5809">
                  <a:extLst>
                    <a:ext uri="{FF2B5EF4-FFF2-40B4-BE49-F238E27FC236}">
                      <a16:creationId xmlns:a16="http://schemas.microsoft.com/office/drawing/2014/main" id="{3539EFCD-671B-0267-993F-D9FBE02155E8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578" name="Oval 577">
                    <a:extLst>
                      <a:ext uri="{FF2B5EF4-FFF2-40B4-BE49-F238E27FC236}">
                        <a16:creationId xmlns:a16="http://schemas.microsoft.com/office/drawing/2014/main" id="{D75F7029-CB77-D3BA-7255-ADDC99A02961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579" name="Group 578">
                    <a:extLst>
                      <a:ext uri="{FF2B5EF4-FFF2-40B4-BE49-F238E27FC236}">
                        <a16:creationId xmlns:a16="http://schemas.microsoft.com/office/drawing/2014/main" id="{5DD8640F-4299-C3CC-0E9C-9953D724F73C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580" name="Graphic 579">
                      <a:extLst>
                        <a:ext uri="{FF2B5EF4-FFF2-40B4-BE49-F238E27FC236}">
                          <a16:creationId xmlns:a16="http://schemas.microsoft.com/office/drawing/2014/main" id="{A0DF84C6-C3B5-31BD-17EA-95F9E794F3F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1" name="Graphic 580">
                      <a:extLst>
                        <a:ext uri="{FF2B5EF4-FFF2-40B4-BE49-F238E27FC236}">
                          <a16:creationId xmlns:a16="http://schemas.microsoft.com/office/drawing/2014/main" id="{6A886B3B-C429-FAE3-5019-79696D5B0C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2" name="Graphic 581">
                      <a:extLst>
                        <a:ext uri="{FF2B5EF4-FFF2-40B4-BE49-F238E27FC236}">
                          <a16:creationId xmlns:a16="http://schemas.microsoft.com/office/drawing/2014/main" id="{D079FFD1-18CD-57A0-4BFD-993B00D6015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3" name="Graphic 582">
                      <a:extLst>
                        <a:ext uri="{FF2B5EF4-FFF2-40B4-BE49-F238E27FC236}">
                          <a16:creationId xmlns:a16="http://schemas.microsoft.com/office/drawing/2014/main" id="{6FB28845-0786-7AF3-C462-010BEA642C5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4" name="Graphic 583">
                      <a:extLst>
                        <a:ext uri="{FF2B5EF4-FFF2-40B4-BE49-F238E27FC236}">
                          <a16:creationId xmlns:a16="http://schemas.microsoft.com/office/drawing/2014/main" id="{F40F3D47-8C16-36D6-458F-E77DB9C33E1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5" name="Graphic 584">
                      <a:extLst>
                        <a:ext uri="{FF2B5EF4-FFF2-40B4-BE49-F238E27FC236}">
                          <a16:creationId xmlns:a16="http://schemas.microsoft.com/office/drawing/2014/main" id="{D753F9C8-925E-3EAB-D904-BA2E9CB907F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6" name="Graphic 585">
                      <a:extLst>
                        <a:ext uri="{FF2B5EF4-FFF2-40B4-BE49-F238E27FC236}">
                          <a16:creationId xmlns:a16="http://schemas.microsoft.com/office/drawing/2014/main" id="{602BD4C1-4FEB-9E2C-DB8A-BF200350805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7" name="Graphic 586">
                      <a:extLst>
                        <a:ext uri="{FF2B5EF4-FFF2-40B4-BE49-F238E27FC236}">
                          <a16:creationId xmlns:a16="http://schemas.microsoft.com/office/drawing/2014/main" id="{35F50F7C-E8FC-5F3B-9710-558AA9726C9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8" name="Graphic 587">
                      <a:extLst>
                        <a:ext uri="{FF2B5EF4-FFF2-40B4-BE49-F238E27FC236}">
                          <a16:creationId xmlns:a16="http://schemas.microsoft.com/office/drawing/2014/main" id="{CFD741D5-CB63-1BBB-00C0-24228810FAF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9" name="Graphic 588">
                      <a:extLst>
                        <a:ext uri="{FF2B5EF4-FFF2-40B4-BE49-F238E27FC236}">
                          <a16:creationId xmlns:a16="http://schemas.microsoft.com/office/drawing/2014/main" id="{DB6848DF-CDF7-A090-DD0B-82AFA3DC101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90" name="Graphic 589">
                      <a:extLst>
                        <a:ext uri="{FF2B5EF4-FFF2-40B4-BE49-F238E27FC236}">
                          <a16:creationId xmlns:a16="http://schemas.microsoft.com/office/drawing/2014/main" id="{603154E0-089A-407A-FE2F-781F0B2EEA5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91" name="Graphic 590">
                      <a:extLst>
                        <a:ext uri="{FF2B5EF4-FFF2-40B4-BE49-F238E27FC236}">
                          <a16:creationId xmlns:a16="http://schemas.microsoft.com/office/drawing/2014/main" id="{827E6D5F-08CF-1AB8-003D-D6645D43F97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93" name="Graphic 592">
                      <a:extLst>
                        <a:ext uri="{FF2B5EF4-FFF2-40B4-BE49-F238E27FC236}">
                          <a16:creationId xmlns:a16="http://schemas.microsoft.com/office/drawing/2014/main" id="{CAF19833-8B2D-99ED-EE8E-906EC7DDC45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94" name="Graphic 593">
                      <a:extLst>
                        <a:ext uri="{FF2B5EF4-FFF2-40B4-BE49-F238E27FC236}">
                          <a16:creationId xmlns:a16="http://schemas.microsoft.com/office/drawing/2014/main" id="{DADFE9F8-19B8-7DA7-C618-694AE36074D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95" name="Graphic 594">
                      <a:extLst>
                        <a:ext uri="{FF2B5EF4-FFF2-40B4-BE49-F238E27FC236}">
                          <a16:creationId xmlns:a16="http://schemas.microsoft.com/office/drawing/2014/main" id="{151920DA-4CDD-E6BD-1705-2A346D40012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96" name="Graphic 595">
                      <a:extLst>
                        <a:ext uri="{FF2B5EF4-FFF2-40B4-BE49-F238E27FC236}">
                          <a16:creationId xmlns:a16="http://schemas.microsoft.com/office/drawing/2014/main" id="{C764B62F-8180-255C-AE85-99B3913DA1F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97" name="Graphic 596">
                      <a:extLst>
                        <a:ext uri="{FF2B5EF4-FFF2-40B4-BE49-F238E27FC236}">
                          <a16:creationId xmlns:a16="http://schemas.microsoft.com/office/drawing/2014/main" id="{3DD445B7-CE09-8498-A7ED-2E1CAED6EF0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98" name="Graphic 597">
                      <a:extLst>
                        <a:ext uri="{FF2B5EF4-FFF2-40B4-BE49-F238E27FC236}">
                          <a16:creationId xmlns:a16="http://schemas.microsoft.com/office/drawing/2014/main" id="{46EF43AC-6D4F-12B7-1DB5-EFDF6FC68AB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5811" name="Graphic 5810">
                  <a:extLst>
                    <a:ext uri="{FF2B5EF4-FFF2-40B4-BE49-F238E27FC236}">
                      <a16:creationId xmlns:a16="http://schemas.microsoft.com/office/drawing/2014/main" id="{D1043114-8BB8-0E70-E046-1C42935B7AB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812" name="Graphic 5811">
                  <a:extLst>
                    <a:ext uri="{FF2B5EF4-FFF2-40B4-BE49-F238E27FC236}">
                      <a16:creationId xmlns:a16="http://schemas.microsoft.com/office/drawing/2014/main" id="{142916FB-936A-751D-2CC2-91E72D9A71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813" name="Graphic 5812">
                  <a:extLst>
                    <a:ext uri="{FF2B5EF4-FFF2-40B4-BE49-F238E27FC236}">
                      <a16:creationId xmlns:a16="http://schemas.microsoft.com/office/drawing/2014/main" id="{1510C601-B14A-FF2A-69CF-A46897471F1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814" name="Graphic 5813">
                  <a:extLst>
                    <a:ext uri="{FF2B5EF4-FFF2-40B4-BE49-F238E27FC236}">
                      <a16:creationId xmlns:a16="http://schemas.microsoft.com/office/drawing/2014/main" id="{5CA9F3C3-258D-55DD-0418-ACF083CAB69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815" name="Graphic 5814">
                  <a:extLst>
                    <a:ext uri="{FF2B5EF4-FFF2-40B4-BE49-F238E27FC236}">
                      <a16:creationId xmlns:a16="http://schemas.microsoft.com/office/drawing/2014/main" id="{31A8D59F-36FE-A461-EF65-741FB176B3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816" name="Graphic 5815">
                  <a:extLst>
                    <a:ext uri="{FF2B5EF4-FFF2-40B4-BE49-F238E27FC236}">
                      <a16:creationId xmlns:a16="http://schemas.microsoft.com/office/drawing/2014/main" id="{8D8EC5E0-5EDE-AAA0-6A40-D109E1A3D4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817" name="Graphic 5816">
                  <a:extLst>
                    <a:ext uri="{FF2B5EF4-FFF2-40B4-BE49-F238E27FC236}">
                      <a16:creationId xmlns:a16="http://schemas.microsoft.com/office/drawing/2014/main" id="{F641F91A-CE91-4617-5223-1F043E70E1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818" name="Graphic 5817">
                  <a:extLst>
                    <a:ext uri="{FF2B5EF4-FFF2-40B4-BE49-F238E27FC236}">
                      <a16:creationId xmlns:a16="http://schemas.microsoft.com/office/drawing/2014/main" id="{09B31627-F9C1-1547-2744-DEC3F09C64B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819" name="Graphic 5818">
                  <a:extLst>
                    <a:ext uri="{FF2B5EF4-FFF2-40B4-BE49-F238E27FC236}">
                      <a16:creationId xmlns:a16="http://schemas.microsoft.com/office/drawing/2014/main" id="{050F2D03-0596-5F21-88B4-EEC5EBF9E8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5820" name="Graphic 5819">
                  <a:extLst>
                    <a:ext uri="{FF2B5EF4-FFF2-40B4-BE49-F238E27FC236}">
                      <a16:creationId xmlns:a16="http://schemas.microsoft.com/office/drawing/2014/main" id="{69B6F9C0-F997-B0CA-FF41-94E3C4ED61E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821" name="Graphic 5820">
                  <a:extLst>
                    <a:ext uri="{FF2B5EF4-FFF2-40B4-BE49-F238E27FC236}">
                      <a16:creationId xmlns:a16="http://schemas.microsoft.com/office/drawing/2014/main" id="{B3DDDCA3-585C-E4F8-F3AE-40A7DD11D8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822" name="Graphic 5821">
                  <a:extLst>
                    <a:ext uri="{FF2B5EF4-FFF2-40B4-BE49-F238E27FC236}">
                      <a16:creationId xmlns:a16="http://schemas.microsoft.com/office/drawing/2014/main" id="{7C8962E6-6327-0A8E-3338-1535ADE3962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823" name="Graphic 5822">
                  <a:extLst>
                    <a:ext uri="{FF2B5EF4-FFF2-40B4-BE49-F238E27FC236}">
                      <a16:creationId xmlns:a16="http://schemas.microsoft.com/office/drawing/2014/main" id="{EB0DF89B-629E-9A9A-192D-9C12C8D39AD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76" name="Graphic 575">
                  <a:extLst>
                    <a:ext uri="{FF2B5EF4-FFF2-40B4-BE49-F238E27FC236}">
                      <a16:creationId xmlns:a16="http://schemas.microsoft.com/office/drawing/2014/main" id="{564E0402-2A52-6D17-EC34-EFDE74CA8ED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77" name="Graphic 576">
                  <a:extLst>
                    <a:ext uri="{FF2B5EF4-FFF2-40B4-BE49-F238E27FC236}">
                      <a16:creationId xmlns:a16="http://schemas.microsoft.com/office/drawing/2014/main" id="{A5E6841B-0B55-831E-AA92-69D752CD89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5799" name="Graphic 5798">
                <a:extLst>
                  <a:ext uri="{FF2B5EF4-FFF2-40B4-BE49-F238E27FC236}">
                    <a16:creationId xmlns:a16="http://schemas.microsoft.com/office/drawing/2014/main" id="{BBB348C9-A4F0-4EE9-768C-8458D49D30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5800" name="Graphic 5799">
                <a:extLst>
                  <a:ext uri="{FF2B5EF4-FFF2-40B4-BE49-F238E27FC236}">
                    <a16:creationId xmlns:a16="http://schemas.microsoft.com/office/drawing/2014/main" id="{B72A5AC3-EAAA-1504-FE2F-59A4912C73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5801" name="Graphic 5800">
                <a:extLst>
                  <a:ext uri="{FF2B5EF4-FFF2-40B4-BE49-F238E27FC236}">
                    <a16:creationId xmlns:a16="http://schemas.microsoft.com/office/drawing/2014/main" id="{E6842AE2-FE78-9565-D3C2-50996890C2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5802" name="Graphic 5801">
                <a:extLst>
                  <a:ext uri="{FF2B5EF4-FFF2-40B4-BE49-F238E27FC236}">
                    <a16:creationId xmlns:a16="http://schemas.microsoft.com/office/drawing/2014/main" id="{804A7467-1102-59D2-30DF-AABA03E5DF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5803" name="Graphic 5802">
                <a:extLst>
                  <a:ext uri="{FF2B5EF4-FFF2-40B4-BE49-F238E27FC236}">
                    <a16:creationId xmlns:a16="http://schemas.microsoft.com/office/drawing/2014/main" id="{07EFC528-627C-9E8C-277B-6F9B9C9D55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5804" name="Graphic 5803">
                <a:extLst>
                  <a:ext uri="{FF2B5EF4-FFF2-40B4-BE49-F238E27FC236}">
                    <a16:creationId xmlns:a16="http://schemas.microsoft.com/office/drawing/2014/main" id="{975FD2B8-1A1D-E1B9-E80B-2551DAD24B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5805" name="Graphic 5804">
                <a:extLst>
                  <a:ext uri="{FF2B5EF4-FFF2-40B4-BE49-F238E27FC236}">
                    <a16:creationId xmlns:a16="http://schemas.microsoft.com/office/drawing/2014/main" id="{E31948AB-173D-7B79-62EB-2ACAA93037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5806" name="Graphic 5805">
                <a:extLst>
                  <a:ext uri="{FF2B5EF4-FFF2-40B4-BE49-F238E27FC236}">
                    <a16:creationId xmlns:a16="http://schemas.microsoft.com/office/drawing/2014/main" id="{F63F2EF6-0F95-BB8D-CD48-51AC2CB53E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5807" name="Graphic 5806">
                <a:extLst>
                  <a:ext uri="{FF2B5EF4-FFF2-40B4-BE49-F238E27FC236}">
                    <a16:creationId xmlns:a16="http://schemas.microsoft.com/office/drawing/2014/main" id="{0A01C42D-B513-8CDB-81DF-8D68FBEAF5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5808" name="Graphic 5807">
                <a:extLst>
                  <a:ext uri="{FF2B5EF4-FFF2-40B4-BE49-F238E27FC236}">
                    <a16:creationId xmlns:a16="http://schemas.microsoft.com/office/drawing/2014/main" id="{2F48DD84-2C38-5382-4C25-B2225339C0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5809" name="Graphic 5808">
                <a:extLst>
                  <a:ext uri="{FF2B5EF4-FFF2-40B4-BE49-F238E27FC236}">
                    <a16:creationId xmlns:a16="http://schemas.microsoft.com/office/drawing/2014/main" id="{777813DD-6239-0B61-D2C5-D354D8DFB8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8263" name="Group 8262">
              <a:extLst>
                <a:ext uri="{FF2B5EF4-FFF2-40B4-BE49-F238E27FC236}">
                  <a16:creationId xmlns:a16="http://schemas.microsoft.com/office/drawing/2014/main" id="{A0F15773-4025-93EE-5DFD-1DC998187167}"/>
                </a:ext>
              </a:extLst>
            </p:cNvPr>
            <p:cNvGrpSpPr/>
            <p:nvPr/>
          </p:nvGrpSpPr>
          <p:grpSpPr>
            <a:xfrm>
              <a:off x="1978951" y="3736984"/>
              <a:ext cx="165485" cy="165485"/>
              <a:chOff x="2898967" y="1781131"/>
              <a:chExt cx="1097280" cy="1097279"/>
            </a:xfrm>
          </p:grpSpPr>
          <p:grpSp>
            <p:nvGrpSpPr>
              <p:cNvPr id="272" name="Group 271">
                <a:extLst>
                  <a:ext uri="{FF2B5EF4-FFF2-40B4-BE49-F238E27FC236}">
                    <a16:creationId xmlns:a16="http://schemas.microsoft.com/office/drawing/2014/main" id="{B0CCA057-BAF5-9EC3-026E-519DE5F3889C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284" name="Group 283">
                  <a:extLst>
                    <a:ext uri="{FF2B5EF4-FFF2-40B4-BE49-F238E27FC236}">
                      <a16:creationId xmlns:a16="http://schemas.microsoft.com/office/drawing/2014/main" id="{F1A377E4-9DB1-5127-7161-EB9E4328B73A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302" name="Oval 301">
                    <a:extLst>
                      <a:ext uri="{FF2B5EF4-FFF2-40B4-BE49-F238E27FC236}">
                        <a16:creationId xmlns:a16="http://schemas.microsoft.com/office/drawing/2014/main" id="{E2E83A5B-0AD4-EE76-7E1A-63E9D1F46DD8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03" name="Group 302">
                    <a:extLst>
                      <a:ext uri="{FF2B5EF4-FFF2-40B4-BE49-F238E27FC236}">
                        <a16:creationId xmlns:a16="http://schemas.microsoft.com/office/drawing/2014/main" id="{F4658739-5D5D-C4A6-D164-C3D988B409B0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304" name="Graphic 303">
                      <a:extLst>
                        <a:ext uri="{FF2B5EF4-FFF2-40B4-BE49-F238E27FC236}">
                          <a16:creationId xmlns:a16="http://schemas.microsoft.com/office/drawing/2014/main" id="{9743BB59-BAB6-9841-3858-B34B0982D00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5" name="Graphic 304">
                      <a:extLst>
                        <a:ext uri="{FF2B5EF4-FFF2-40B4-BE49-F238E27FC236}">
                          <a16:creationId xmlns:a16="http://schemas.microsoft.com/office/drawing/2014/main" id="{0F82902F-6F74-DB89-904D-CEC0057F4B6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6" name="Graphic 305">
                      <a:extLst>
                        <a:ext uri="{FF2B5EF4-FFF2-40B4-BE49-F238E27FC236}">
                          <a16:creationId xmlns:a16="http://schemas.microsoft.com/office/drawing/2014/main" id="{675C0163-BC49-050C-0CD0-C2EB4D091E2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7" name="Graphic 306">
                      <a:extLst>
                        <a:ext uri="{FF2B5EF4-FFF2-40B4-BE49-F238E27FC236}">
                          <a16:creationId xmlns:a16="http://schemas.microsoft.com/office/drawing/2014/main" id="{1F36EB9C-FD18-1DD2-BCEE-978430BAB88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8" name="Graphic 307">
                      <a:extLst>
                        <a:ext uri="{FF2B5EF4-FFF2-40B4-BE49-F238E27FC236}">
                          <a16:creationId xmlns:a16="http://schemas.microsoft.com/office/drawing/2014/main" id="{64692605-7075-1DB4-8B97-41FE9D1B0EA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9" name="Graphic 308">
                      <a:extLst>
                        <a:ext uri="{FF2B5EF4-FFF2-40B4-BE49-F238E27FC236}">
                          <a16:creationId xmlns:a16="http://schemas.microsoft.com/office/drawing/2014/main" id="{ED19E126-36DC-6AFF-9653-6F96743733D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0" name="Graphic 309">
                      <a:extLst>
                        <a:ext uri="{FF2B5EF4-FFF2-40B4-BE49-F238E27FC236}">
                          <a16:creationId xmlns:a16="http://schemas.microsoft.com/office/drawing/2014/main" id="{E2F08447-BAEE-ADAA-53BB-ED8852AA481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5" name="Graphic 314">
                      <a:extLst>
                        <a:ext uri="{FF2B5EF4-FFF2-40B4-BE49-F238E27FC236}">
                          <a16:creationId xmlns:a16="http://schemas.microsoft.com/office/drawing/2014/main" id="{DDF72EED-2379-B2BD-0BF0-23BA15EE598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6" name="Graphic 315">
                      <a:extLst>
                        <a:ext uri="{FF2B5EF4-FFF2-40B4-BE49-F238E27FC236}">
                          <a16:creationId xmlns:a16="http://schemas.microsoft.com/office/drawing/2014/main" id="{46D4B958-DC87-369F-347F-C3FCD52CC0C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7" name="Graphic 316">
                      <a:extLst>
                        <a:ext uri="{FF2B5EF4-FFF2-40B4-BE49-F238E27FC236}">
                          <a16:creationId xmlns:a16="http://schemas.microsoft.com/office/drawing/2014/main" id="{C2A84A31-488C-952F-FD21-E22E7A21C0E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8" name="Graphic 317">
                      <a:extLst>
                        <a:ext uri="{FF2B5EF4-FFF2-40B4-BE49-F238E27FC236}">
                          <a16:creationId xmlns:a16="http://schemas.microsoft.com/office/drawing/2014/main" id="{D5F2EDD2-EC98-5317-85C4-420969776BC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9" name="Graphic 318">
                      <a:extLst>
                        <a:ext uri="{FF2B5EF4-FFF2-40B4-BE49-F238E27FC236}">
                          <a16:creationId xmlns:a16="http://schemas.microsoft.com/office/drawing/2014/main" id="{5E896037-A479-8FD8-5B61-B1C9A6541D0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792" name="Graphic 5791">
                      <a:extLst>
                        <a:ext uri="{FF2B5EF4-FFF2-40B4-BE49-F238E27FC236}">
                          <a16:creationId xmlns:a16="http://schemas.microsoft.com/office/drawing/2014/main" id="{8285959F-DB00-D268-B54D-A05ACD07857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793" name="Graphic 5792">
                      <a:extLst>
                        <a:ext uri="{FF2B5EF4-FFF2-40B4-BE49-F238E27FC236}">
                          <a16:creationId xmlns:a16="http://schemas.microsoft.com/office/drawing/2014/main" id="{57CB3A3B-D8E5-3CBB-9551-6AC1E164D28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794" name="Graphic 5793">
                      <a:extLst>
                        <a:ext uri="{FF2B5EF4-FFF2-40B4-BE49-F238E27FC236}">
                          <a16:creationId xmlns:a16="http://schemas.microsoft.com/office/drawing/2014/main" id="{B86E5E48-E501-1257-5D69-1BE6C3E9307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795" name="Graphic 5794">
                      <a:extLst>
                        <a:ext uri="{FF2B5EF4-FFF2-40B4-BE49-F238E27FC236}">
                          <a16:creationId xmlns:a16="http://schemas.microsoft.com/office/drawing/2014/main" id="{7A9086B8-12D3-0EF9-BCA3-DEFE97C3B2C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796" name="Graphic 5795">
                      <a:extLst>
                        <a:ext uri="{FF2B5EF4-FFF2-40B4-BE49-F238E27FC236}">
                          <a16:creationId xmlns:a16="http://schemas.microsoft.com/office/drawing/2014/main" id="{5B684C3E-69EA-4D6F-0FEA-BE2FAF0E7A9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797" name="Graphic 5796">
                      <a:extLst>
                        <a:ext uri="{FF2B5EF4-FFF2-40B4-BE49-F238E27FC236}">
                          <a16:creationId xmlns:a16="http://schemas.microsoft.com/office/drawing/2014/main" id="{2B309212-75A7-ACA5-0F84-196F029B353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285" name="Graphic 284">
                  <a:extLst>
                    <a:ext uri="{FF2B5EF4-FFF2-40B4-BE49-F238E27FC236}">
                      <a16:creationId xmlns:a16="http://schemas.microsoft.com/office/drawing/2014/main" id="{FB8DB567-04E3-D512-9395-308E53A8D4F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86" name="Graphic 285">
                  <a:extLst>
                    <a:ext uri="{FF2B5EF4-FFF2-40B4-BE49-F238E27FC236}">
                      <a16:creationId xmlns:a16="http://schemas.microsoft.com/office/drawing/2014/main" id="{443CFA07-629D-8D97-1B82-5E6AF2471C3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87" name="Graphic 286">
                  <a:extLst>
                    <a:ext uri="{FF2B5EF4-FFF2-40B4-BE49-F238E27FC236}">
                      <a16:creationId xmlns:a16="http://schemas.microsoft.com/office/drawing/2014/main" id="{124E57DF-94E2-F33C-75EA-0ED91C9770C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89" name="Graphic 288">
                  <a:extLst>
                    <a:ext uri="{FF2B5EF4-FFF2-40B4-BE49-F238E27FC236}">
                      <a16:creationId xmlns:a16="http://schemas.microsoft.com/office/drawing/2014/main" id="{0B35FC08-0C4F-911E-31DC-DCA8E5A294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290" name="Graphic 289">
                  <a:extLst>
                    <a:ext uri="{FF2B5EF4-FFF2-40B4-BE49-F238E27FC236}">
                      <a16:creationId xmlns:a16="http://schemas.microsoft.com/office/drawing/2014/main" id="{2D3F0D92-0E10-C13D-B91E-41F75515770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291" name="Graphic 290">
                  <a:extLst>
                    <a:ext uri="{FF2B5EF4-FFF2-40B4-BE49-F238E27FC236}">
                      <a16:creationId xmlns:a16="http://schemas.microsoft.com/office/drawing/2014/main" id="{F3AF91FC-4D36-D174-C211-3A6B922229A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92" name="Graphic 291">
                  <a:extLst>
                    <a:ext uri="{FF2B5EF4-FFF2-40B4-BE49-F238E27FC236}">
                      <a16:creationId xmlns:a16="http://schemas.microsoft.com/office/drawing/2014/main" id="{6848A578-5C7B-D8FD-5FFF-A6140F4122B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293" name="Graphic 292">
                  <a:extLst>
                    <a:ext uri="{FF2B5EF4-FFF2-40B4-BE49-F238E27FC236}">
                      <a16:creationId xmlns:a16="http://schemas.microsoft.com/office/drawing/2014/main" id="{A543C42F-E37C-BAA2-E25A-8F299A3D841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295" name="Graphic 294">
                  <a:extLst>
                    <a:ext uri="{FF2B5EF4-FFF2-40B4-BE49-F238E27FC236}">
                      <a16:creationId xmlns:a16="http://schemas.microsoft.com/office/drawing/2014/main" id="{8AD89CB7-AC24-2B71-794B-0DB37BF674C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296" name="Graphic 295">
                  <a:extLst>
                    <a:ext uri="{FF2B5EF4-FFF2-40B4-BE49-F238E27FC236}">
                      <a16:creationId xmlns:a16="http://schemas.microsoft.com/office/drawing/2014/main" id="{DC0E87B0-53D9-19FA-4615-73A18F830E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297" name="Graphic 296">
                  <a:extLst>
                    <a:ext uri="{FF2B5EF4-FFF2-40B4-BE49-F238E27FC236}">
                      <a16:creationId xmlns:a16="http://schemas.microsoft.com/office/drawing/2014/main" id="{8C8A54BD-7B20-3BF0-6633-85AC3CC815F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298" name="Graphic 297">
                  <a:extLst>
                    <a:ext uri="{FF2B5EF4-FFF2-40B4-BE49-F238E27FC236}">
                      <a16:creationId xmlns:a16="http://schemas.microsoft.com/office/drawing/2014/main" id="{6661626F-4E9B-9028-3328-81574B4B7F4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99" name="Graphic 298">
                  <a:extLst>
                    <a:ext uri="{FF2B5EF4-FFF2-40B4-BE49-F238E27FC236}">
                      <a16:creationId xmlns:a16="http://schemas.microsoft.com/office/drawing/2014/main" id="{3A16044F-7B90-EE19-80F3-F92C3A0D2C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300" name="Graphic 299">
                  <a:extLst>
                    <a:ext uri="{FF2B5EF4-FFF2-40B4-BE49-F238E27FC236}">
                      <a16:creationId xmlns:a16="http://schemas.microsoft.com/office/drawing/2014/main" id="{D141BD01-A401-D29B-036C-923121066E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301" name="Graphic 300">
                  <a:extLst>
                    <a:ext uri="{FF2B5EF4-FFF2-40B4-BE49-F238E27FC236}">
                      <a16:creationId xmlns:a16="http://schemas.microsoft.com/office/drawing/2014/main" id="{E6D9ECE2-3515-0B4E-3EF6-C3850F2D456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273" name="Graphic 272">
                <a:extLst>
                  <a:ext uri="{FF2B5EF4-FFF2-40B4-BE49-F238E27FC236}">
                    <a16:creationId xmlns:a16="http://schemas.microsoft.com/office/drawing/2014/main" id="{016F4702-8796-A1D7-9C9B-EA56D1BCBB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274" name="Graphic 273">
                <a:extLst>
                  <a:ext uri="{FF2B5EF4-FFF2-40B4-BE49-F238E27FC236}">
                    <a16:creationId xmlns:a16="http://schemas.microsoft.com/office/drawing/2014/main" id="{27C4C4BA-07DF-15C2-B708-0A11639D0F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275" name="Graphic 274">
                <a:extLst>
                  <a:ext uri="{FF2B5EF4-FFF2-40B4-BE49-F238E27FC236}">
                    <a16:creationId xmlns:a16="http://schemas.microsoft.com/office/drawing/2014/main" id="{94A899BF-7D72-A0F6-AF40-154039E014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276" name="Graphic 275">
                <a:extLst>
                  <a:ext uri="{FF2B5EF4-FFF2-40B4-BE49-F238E27FC236}">
                    <a16:creationId xmlns:a16="http://schemas.microsoft.com/office/drawing/2014/main" id="{C3107FA3-C055-7312-34E3-35B229DDE2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277" name="Graphic 276">
                <a:extLst>
                  <a:ext uri="{FF2B5EF4-FFF2-40B4-BE49-F238E27FC236}">
                    <a16:creationId xmlns:a16="http://schemas.microsoft.com/office/drawing/2014/main" id="{561F5994-AB3B-7C61-EBDF-7283F3015F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278" name="Graphic 277">
                <a:extLst>
                  <a:ext uri="{FF2B5EF4-FFF2-40B4-BE49-F238E27FC236}">
                    <a16:creationId xmlns:a16="http://schemas.microsoft.com/office/drawing/2014/main" id="{F3639066-DF7B-0CC7-8FD3-97540109F9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279" name="Graphic 278">
                <a:extLst>
                  <a:ext uri="{FF2B5EF4-FFF2-40B4-BE49-F238E27FC236}">
                    <a16:creationId xmlns:a16="http://schemas.microsoft.com/office/drawing/2014/main" id="{E93B25BD-B513-D269-FE22-00FFC94A4E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280" name="Graphic 279">
                <a:extLst>
                  <a:ext uri="{FF2B5EF4-FFF2-40B4-BE49-F238E27FC236}">
                    <a16:creationId xmlns:a16="http://schemas.microsoft.com/office/drawing/2014/main" id="{0FF8266B-4F52-A427-EA71-9694757921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281" name="Graphic 280">
                <a:extLst>
                  <a:ext uri="{FF2B5EF4-FFF2-40B4-BE49-F238E27FC236}">
                    <a16:creationId xmlns:a16="http://schemas.microsoft.com/office/drawing/2014/main" id="{FD889913-969F-0CDF-2D4F-5226403516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282" name="Graphic 281">
                <a:extLst>
                  <a:ext uri="{FF2B5EF4-FFF2-40B4-BE49-F238E27FC236}">
                    <a16:creationId xmlns:a16="http://schemas.microsoft.com/office/drawing/2014/main" id="{CC40371B-C481-7C89-267C-3B4D2AA9F5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283" name="Graphic 282">
                <a:extLst>
                  <a:ext uri="{FF2B5EF4-FFF2-40B4-BE49-F238E27FC236}">
                    <a16:creationId xmlns:a16="http://schemas.microsoft.com/office/drawing/2014/main" id="{A56AD6DB-7F1B-DC16-24E9-B089F8125A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8264" name="Group 8263">
              <a:extLst>
                <a:ext uri="{FF2B5EF4-FFF2-40B4-BE49-F238E27FC236}">
                  <a16:creationId xmlns:a16="http://schemas.microsoft.com/office/drawing/2014/main" id="{573C54C9-5E17-A988-1908-6F27F0983DD0}"/>
                </a:ext>
              </a:extLst>
            </p:cNvPr>
            <p:cNvGrpSpPr/>
            <p:nvPr/>
          </p:nvGrpSpPr>
          <p:grpSpPr>
            <a:xfrm>
              <a:off x="2926692" y="3176577"/>
              <a:ext cx="139126" cy="139126"/>
              <a:chOff x="2898967" y="1781131"/>
              <a:chExt cx="1097280" cy="1097279"/>
            </a:xfrm>
          </p:grpSpPr>
          <p:grpSp>
            <p:nvGrpSpPr>
              <p:cNvPr id="173" name="Group 172">
                <a:extLst>
                  <a:ext uri="{FF2B5EF4-FFF2-40B4-BE49-F238E27FC236}">
                    <a16:creationId xmlns:a16="http://schemas.microsoft.com/office/drawing/2014/main" id="{ACF9CA4F-358B-C7CD-E0C7-B791CD0DBAE9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185" name="Group 184">
                  <a:extLst>
                    <a:ext uri="{FF2B5EF4-FFF2-40B4-BE49-F238E27FC236}">
                      <a16:creationId xmlns:a16="http://schemas.microsoft.com/office/drawing/2014/main" id="{9BB47229-A856-544B-2581-686F0205D968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5641" name="Oval 5640">
                    <a:extLst>
                      <a:ext uri="{FF2B5EF4-FFF2-40B4-BE49-F238E27FC236}">
                        <a16:creationId xmlns:a16="http://schemas.microsoft.com/office/drawing/2014/main" id="{2F085BA0-82E0-E111-9709-489E58DFB400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5642" name="Group 5641">
                    <a:extLst>
                      <a:ext uri="{FF2B5EF4-FFF2-40B4-BE49-F238E27FC236}">
                        <a16:creationId xmlns:a16="http://schemas.microsoft.com/office/drawing/2014/main" id="{F69E6C5B-E1D8-6D0A-5889-EBD564E39E17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5643" name="Graphic 5642">
                      <a:extLst>
                        <a:ext uri="{FF2B5EF4-FFF2-40B4-BE49-F238E27FC236}">
                          <a16:creationId xmlns:a16="http://schemas.microsoft.com/office/drawing/2014/main" id="{2CDF52B7-72E9-F512-5C45-5860627C197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644" name="Graphic 5643">
                      <a:extLst>
                        <a:ext uri="{FF2B5EF4-FFF2-40B4-BE49-F238E27FC236}">
                          <a16:creationId xmlns:a16="http://schemas.microsoft.com/office/drawing/2014/main" id="{7D843E44-91BE-E661-059A-1993909AF26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56" name="Graphic 255">
                      <a:extLst>
                        <a:ext uri="{FF2B5EF4-FFF2-40B4-BE49-F238E27FC236}">
                          <a16:creationId xmlns:a16="http://schemas.microsoft.com/office/drawing/2014/main" id="{8F6FD682-0484-BDFD-6408-29378842E78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57" name="Graphic 256">
                      <a:extLst>
                        <a:ext uri="{FF2B5EF4-FFF2-40B4-BE49-F238E27FC236}">
                          <a16:creationId xmlns:a16="http://schemas.microsoft.com/office/drawing/2014/main" id="{152FDC9B-5E10-2136-7320-865DF0802B8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58" name="Graphic 257">
                      <a:extLst>
                        <a:ext uri="{FF2B5EF4-FFF2-40B4-BE49-F238E27FC236}">
                          <a16:creationId xmlns:a16="http://schemas.microsoft.com/office/drawing/2014/main" id="{C97C477D-6C00-C23E-D95D-54AC0C77228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59" name="Graphic 258">
                      <a:extLst>
                        <a:ext uri="{FF2B5EF4-FFF2-40B4-BE49-F238E27FC236}">
                          <a16:creationId xmlns:a16="http://schemas.microsoft.com/office/drawing/2014/main" id="{1B576AFD-172A-A6CF-59B2-E3814AADFF4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0" name="Graphic 259">
                      <a:extLst>
                        <a:ext uri="{FF2B5EF4-FFF2-40B4-BE49-F238E27FC236}">
                          <a16:creationId xmlns:a16="http://schemas.microsoft.com/office/drawing/2014/main" id="{5269E6C5-1066-9279-12BC-1707B26A4D2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1" name="Graphic 260">
                      <a:extLst>
                        <a:ext uri="{FF2B5EF4-FFF2-40B4-BE49-F238E27FC236}">
                          <a16:creationId xmlns:a16="http://schemas.microsoft.com/office/drawing/2014/main" id="{261B3345-E87F-89C0-26C3-339F631F32B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2" name="Graphic 261">
                      <a:extLst>
                        <a:ext uri="{FF2B5EF4-FFF2-40B4-BE49-F238E27FC236}">
                          <a16:creationId xmlns:a16="http://schemas.microsoft.com/office/drawing/2014/main" id="{62FBA27B-0CC9-0748-8DCD-626AFB10634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3" name="Graphic 262">
                      <a:extLst>
                        <a:ext uri="{FF2B5EF4-FFF2-40B4-BE49-F238E27FC236}">
                          <a16:creationId xmlns:a16="http://schemas.microsoft.com/office/drawing/2014/main" id="{C7FC2BE6-19E1-CCB8-A888-20EF72F70B8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4" name="Graphic 263">
                      <a:extLst>
                        <a:ext uri="{FF2B5EF4-FFF2-40B4-BE49-F238E27FC236}">
                          <a16:creationId xmlns:a16="http://schemas.microsoft.com/office/drawing/2014/main" id="{1C5318DF-A713-596B-5D26-FE0A0E4B90E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5" name="Graphic 264">
                      <a:extLst>
                        <a:ext uri="{FF2B5EF4-FFF2-40B4-BE49-F238E27FC236}">
                          <a16:creationId xmlns:a16="http://schemas.microsoft.com/office/drawing/2014/main" id="{C500A601-861D-9B95-F06C-647432F3496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6" name="Graphic 265">
                      <a:extLst>
                        <a:ext uri="{FF2B5EF4-FFF2-40B4-BE49-F238E27FC236}">
                          <a16:creationId xmlns:a16="http://schemas.microsoft.com/office/drawing/2014/main" id="{841B74BB-4850-01D4-6400-6C3CD726BE1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7" name="Graphic 266">
                      <a:extLst>
                        <a:ext uri="{FF2B5EF4-FFF2-40B4-BE49-F238E27FC236}">
                          <a16:creationId xmlns:a16="http://schemas.microsoft.com/office/drawing/2014/main" id="{150BA066-527D-9528-ADEA-3705E958136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8" name="Graphic 267">
                      <a:extLst>
                        <a:ext uri="{FF2B5EF4-FFF2-40B4-BE49-F238E27FC236}">
                          <a16:creationId xmlns:a16="http://schemas.microsoft.com/office/drawing/2014/main" id="{095A9560-27A6-E2AD-A50B-7C2BC8F242C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9" name="Graphic 268">
                      <a:extLst>
                        <a:ext uri="{FF2B5EF4-FFF2-40B4-BE49-F238E27FC236}">
                          <a16:creationId xmlns:a16="http://schemas.microsoft.com/office/drawing/2014/main" id="{C09BF60D-A265-8B3D-3EFE-874C050BD7C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70" name="Graphic 269">
                      <a:extLst>
                        <a:ext uri="{FF2B5EF4-FFF2-40B4-BE49-F238E27FC236}">
                          <a16:creationId xmlns:a16="http://schemas.microsoft.com/office/drawing/2014/main" id="{6A987348-B79D-4722-071B-1CD41733368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71" name="Graphic 270">
                      <a:extLst>
                        <a:ext uri="{FF2B5EF4-FFF2-40B4-BE49-F238E27FC236}">
                          <a16:creationId xmlns:a16="http://schemas.microsoft.com/office/drawing/2014/main" id="{17A90950-10A8-426E-22B1-888E82324C3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186" name="Graphic 185">
                  <a:extLst>
                    <a:ext uri="{FF2B5EF4-FFF2-40B4-BE49-F238E27FC236}">
                      <a16:creationId xmlns:a16="http://schemas.microsoft.com/office/drawing/2014/main" id="{143152A1-74AC-F88C-7D98-4268916C3C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87" name="Graphic 186">
                  <a:extLst>
                    <a:ext uri="{FF2B5EF4-FFF2-40B4-BE49-F238E27FC236}">
                      <a16:creationId xmlns:a16="http://schemas.microsoft.com/office/drawing/2014/main" id="{5721E1A4-3526-AB8D-53D9-1C4723B29C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88" name="Graphic 187">
                  <a:extLst>
                    <a:ext uri="{FF2B5EF4-FFF2-40B4-BE49-F238E27FC236}">
                      <a16:creationId xmlns:a16="http://schemas.microsoft.com/office/drawing/2014/main" id="{F9BC290F-5B6A-EA6E-4B60-3E6A5CB2C58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89" name="Graphic 188">
                  <a:extLst>
                    <a:ext uri="{FF2B5EF4-FFF2-40B4-BE49-F238E27FC236}">
                      <a16:creationId xmlns:a16="http://schemas.microsoft.com/office/drawing/2014/main" id="{710E5C19-7965-FB69-74DA-79F1794B98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90" name="Graphic 189">
                  <a:extLst>
                    <a:ext uri="{FF2B5EF4-FFF2-40B4-BE49-F238E27FC236}">
                      <a16:creationId xmlns:a16="http://schemas.microsoft.com/office/drawing/2014/main" id="{3B9BEEFE-33D0-C480-BAC3-59BE24D6231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91" name="Graphic 190">
                  <a:extLst>
                    <a:ext uri="{FF2B5EF4-FFF2-40B4-BE49-F238E27FC236}">
                      <a16:creationId xmlns:a16="http://schemas.microsoft.com/office/drawing/2014/main" id="{C2811C2D-FA7A-89B3-326D-318C8925B88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632" name="Graphic 5631">
                  <a:extLst>
                    <a:ext uri="{FF2B5EF4-FFF2-40B4-BE49-F238E27FC236}">
                      <a16:creationId xmlns:a16="http://schemas.microsoft.com/office/drawing/2014/main" id="{3DD8D319-2096-A551-5ADF-63131FED4A3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633" name="Graphic 5632">
                  <a:extLst>
                    <a:ext uri="{FF2B5EF4-FFF2-40B4-BE49-F238E27FC236}">
                      <a16:creationId xmlns:a16="http://schemas.microsoft.com/office/drawing/2014/main" id="{07E88F73-6325-36DB-0DC4-5EEFB4124EC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634" name="Graphic 5633">
                  <a:extLst>
                    <a:ext uri="{FF2B5EF4-FFF2-40B4-BE49-F238E27FC236}">
                      <a16:creationId xmlns:a16="http://schemas.microsoft.com/office/drawing/2014/main" id="{B9B650D6-ED10-F231-B9D7-1B467A1BE90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5635" name="Graphic 5634">
                  <a:extLst>
                    <a:ext uri="{FF2B5EF4-FFF2-40B4-BE49-F238E27FC236}">
                      <a16:creationId xmlns:a16="http://schemas.microsoft.com/office/drawing/2014/main" id="{4576F136-96A2-DD0A-9421-B014EDB7AA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636" name="Graphic 5635">
                  <a:extLst>
                    <a:ext uri="{FF2B5EF4-FFF2-40B4-BE49-F238E27FC236}">
                      <a16:creationId xmlns:a16="http://schemas.microsoft.com/office/drawing/2014/main" id="{97DD83EA-A165-D367-F467-9D3809ACA61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637" name="Graphic 5636">
                  <a:extLst>
                    <a:ext uri="{FF2B5EF4-FFF2-40B4-BE49-F238E27FC236}">
                      <a16:creationId xmlns:a16="http://schemas.microsoft.com/office/drawing/2014/main" id="{CE3017EB-2B3C-F61B-2B44-9C261D8D8F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638" name="Graphic 5637">
                  <a:extLst>
                    <a:ext uri="{FF2B5EF4-FFF2-40B4-BE49-F238E27FC236}">
                      <a16:creationId xmlns:a16="http://schemas.microsoft.com/office/drawing/2014/main" id="{11465BD2-0C1F-29DC-76B6-0BC410BD015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639" name="Graphic 5638">
                  <a:extLst>
                    <a:ext uri="{FF2B5EF4-FFF2-40B4-BE49-F238E27FC236}">
                      <a16:creationId xmlns:a16="http://schemas.microsoft.com/office/drawing/2014/main" id="{A261C30D-C691-9D36-F52F-F8FA064C301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640" name="Graphic 5639">
                  <a:extLst>
                    <a:ext uri="{FF2B5EF4-FFF2-40B4-BE49-F238E27FC236}">
                      <a16:creationId xmlns:a16="http://schemas.microsoft.com/office/drawing/2014/main" id="{3DFB2D12-9A7E-AB6F-2F3C-B5C2E6E061E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174" name="Graphic 173">
                <a:extLst>
                  <a:ext uri="{FF2B5EF4-FFF2-40B4-BE49-F238E27FC236}">
                    <a16:creationId xmlns:a16="http://schemas.microsoft.com/office/drawing/2014/main" id="{DCA5525D-A147-5AA9-ED21-46242F422E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75" name="Graphic 174">
                <a:extLst>
                  <a:ext uri="{FF2B5EF4-FFF2-40B4-BE49-F238E27FC236}">
                    <a16:creationId xmlns:a16="http://schemas.microsoft.com/office/drawing/2014/main" id="{F0A61534-166F-AE07-10D5-1D270B3F97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76" name="Graphic 175">
                <a:extLst>
                  <a:ext uri="{FF2B5EF4-FFF2-40B4-BE49-F238E27FC236}">
                    <a16:creationId xmlns:a16="http://schemas.microsoft.com/office/drawing/2014/main" id="{39DD7764-BF32-FC97-368A-0683FE5F67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177" name="Graphic 176">
                <a:extLst>
                  <a:ext uri="{FF2B5EF4-FFF2-40B4-BE49-F238E27FC236}">
                    <a16:creationId xmlns:a16="http://schemas.microsoft.com/office/drawing/2014/main" id="{31107D57-896A-0587-C46B-0884EC8CBE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178" name="Graphic 177">
                <a:extLst>
                  <a:ext uri="{FF2B5EF4-FFF2-40B4-BE49-F238E27FC236}">
                    <a16:creationId xmlns:a16="http://schemas.microsoft.com/office/drawing/2014/main" id="{EA09856F-9BB5-B94A-281F-CD03FBA600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79" name="Graphic 178">
                <a:extLst>
                  <a:ext uri="{FF2B5EF4-FFF2-40B4-BE49-F238E27FC236}">
                    <a16:creationId xmlns:a16="http://schemas.microsoft.com/office/drawing/2014/main" id="{5A778CB3-E86A-BEBD-917C-B814B1B88D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80" name="Graphic 179">
                <a:extLst>
                  <a:ext uri="{FF2B5EF4-FFF2-40B4-BE49-F238E27FC236}">
                    <a16:creationId xmlns:a16="http://schemas.microsoft.com/office/drawing/2014/main" id="{2DDCE8F7-5939-0A40-D5B4-133C965259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81" name="Graphic 180">
                <a:extLst>
                  <a:ext uri="{FF2B5EF4-FFF2-40B4-BE49-F238E27FC236}">
                    <a16:creationId xmlns:a16="http://schemas.microsoft.com/office/drawing/2014/main" id="{6714514B-539F-567A-E234-C1151BD3DA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182" name="Graphic 181">
                <a:extLst>
                  <a:ext uri="{FF2B5EF4-FFF2-40B4-BE49-F238E27FC236}">
                    <a16:creationId xmlns:a16="http://schemas.microsoft.com/office/drawing/2014/main" id="{F4F2DB18-3CEB-46F5-F534-B7C340C72D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183" name="Graphic 182">
                <a:extLst>
                  <a:ext uri="{FF2B5EF4-FFF2-40B4-BE49-F238E27FC236}">
                    <a16:creationId xmlns:a16="http://schemas.microsoft.com/office/drawing/2014/main" id="{37784615-D789-5C76-FB84-0B6B373AE7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184" name="Graphic 183">
                <a:extLst>
                  <a:ext uri="{FF2B5EF4-FFF2-40B4-BE49-F238E27FC236}">
                    <a16:creationId xmlns:a16="http://schemas.microsoft.com/office/drawing/2014/main" id="{E46F1630-EAF0-0D6E-D25D-4459EB0960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8265" name="Group 8264">
              <a:extLst>
                <a:ext uri="{FF2B5EF4-FFF2-40B4-BE49-F238E27FC236}">
                  <a16:creationId xmlns:a16="http://schemas.microsoft.com/office/drawing/2014/main" id="{E1AECDB3-BCB9-C560-B6B9-7FB612379399}"/>
                </a:ext>
              </a:extLst>
            </p:cNvPr>
            <p:cNvGrpSpPr/>
            <p:nvPr/>
          </p:nvGrpSpPr>
          <p:grpSpPr>
            <a:xfrm>
              <a:off x="1853978" y="3811811"/>
              <a:ext cx="81816" cy="81816"/>
              <a:chOff x="2898967" y="1781131"/>
              <a:chExt cx="1097280" cy="1097279"/>
            </a:xfrm>
          </p:grpSpPr>
          <p:grpSp>
            <p:nvGrpSpPr>
              <p:cNvPr id="5613" name="Group 5612">
                <a:extLst>
                  <a:ext uri="{FF2B5EF4-FFF2-40B4-BE49-F238E27FC236}">
                    <a16:creationId xmlns:a16="http://schemas.microsoft.com/office/drawing/2014/main" id="{92CCE88F-7265-AF81-AF48-471F63C4EF28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5625" name="Group 5624">
                  <a:extLst>
                    <a:ext uri="{FF2B5EF4-FFF2-40B4-BE49-F238E27FC236}">
                      <a16:creationId xmlns:a16="http://schemas.microsoft.com/office/drawing/2014/main" id="{90F5D284-88EE-646A-89E4-9AD1CC88C03F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140" name="Oval 139">
                    <a:extLst>
                      <a:ext uri="{FF2B5EF4-FFF2-40B4-BE49-F238E27FC236}">
                        <a16:creationId xmlns:a16="http://schemas.microsoft.com/office/drawing/2014/main" id="{7BB1B8E5-9D8F-DAD4-BA58-EBAF92A3588C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41" name="Group 140">
                    <a:extLst>
                      <a:ext uri="{FF2B5EF4-FFF2-40B4-BE49-F238E27FC236}">
                        <a16:creationId xmlns:a16="http://schemas.microsoft.com/office/drawing/2014/main" id="{3946015D-E2E5-70EB-770F-6956EBADE44F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142" name="Graphic 141">
                      <a:extLst>
                        <a:ext uri="{FF2B5EF4-FFF2-40B4-BE49-F238E27FC236}">
                          <a16:creationId xmlns:a16="http://schemas.microsoft.com/office/drawing/2014/main" id="{2FEC6CF1-930F-878D-1730-46E4F76FED7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43" name="Graphic 142">
                      <a:extLst>
                        <a:ext uri="{FF2B5EF4-FFF2-40B4-BE49-F238E27FC236}">
                          <a16:creationId xmlns:a16="http://schemas.microsoft.com/office/drawing/2014/main" id="{EDB1E5D2-97B8-51DF-232E-41D0624CA36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44" name="Graphic 143">
                      <a:extLst>
                        <a:ext uri="{FF2B5EF4-FFF2-40B4-BE49-F238E27FC236}">
                          <a16:creationId xmlns:a16="http://schemas.microsoft.com/office/drawing/2014/main" id="{F3A1A3BD-DDEB-FAD9-2FE7-90CFFB1B916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45" name="Graphic 144">
                      <a:extLst>
                        <a:ext uri="{FF2B5EF4-FFF2-40B4-BE49-F238E27FC236}">
                          <a16:creationId xmlns:a16="http://schemas.microsoft.com/office/drawing/2014/main" id="{505A1C3D-3FD7-C437-6EA8-B50B32D5EDD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46" name="Graphic 145">
                      <a:extLst>
                        <a:ext uri="{FF2B5EF4-FFF2-40B4-BE49-F238E27FC236}">
                          <a16:creationId xmlns:a16="http://schemas.microsoft.com/office/drawing/2014/main" id="{D9A23223-6F42-8196-3115-DA8A2F38AA5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47" name="Graphic 146">
                      <a:extLst>
                        <a:ext uri="{FF2B5EF4-FFF2-40B4-BE49-F238E27FC236}">
                          <a16:creationId xmlns:a16="http://schemas.microsoft.com/office/drawing/2014/main" id="{F81BCC8F-B9EC-AFF4-4C21-616B71C0718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48" name="Graphic 147">
                      <a:extLst>
                        <a:ext uri="{FF2B5EF4-FFF2-40B4-BE49-F238E27FC236}">
                          <a16:creationId xmlns:a16="http://schemas.microsoft.com/office/drawing/2014/main" id="{B7044A81-413E-6FA7-F54E-E04BB5428EF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49" name="Graphic 148">
                      <a:extLst>
                        <a:ext uri="{FF2B5EF4-FFF2-40B4-BE49-F238E27FC236}">
                          <a16:creationId xmlns:a16="http://schemas.microsoft.com/office/drawing/2014/main" id="{ED807133-249E-5384-CF31-C8B3D02E72F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50" name="Graphic 149">
                      <a:extLst>
                        <a:ext uri="{FF2B5EF4-FFF2-40B4-BE49-F238E27FC236}">
                          <a16:creationId xmlns:a16="http://schemas.microsoft.com/office/drawing/2014/main" id="{FB7295BF-4859-7542-2A6D-90AB53F4136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51" name="Graphic 150">
                      <a:extLst>
                        <a:ext uri="{FF2B5EF4-FFF2-40B4-BE49-F238E27FC236}">
                          <a16:creationId xmlns:a16="http://schemas.microsoft.com/office/drawing/2014/main" id="{ED221A22-AE4D-4CF8-E93E-E4B41989D47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52" name="Graphic 151">
                      <a:extLst>
                        <a:ext uri="{FF2B5EF4-FFF2-40B4-BE49-F238E27FC236}">
                          <a16:creationId xmlns:a16="http://schemas.microsoft.com/office/drawing/2014/main" id="{5B68E6F0-8A49-6D0D-04DF-1DF95946FF4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53" name="Graphic 152">
                      <a:extLst>
                        <a:ext uri="{FF2B5EF4-FFF2-40B4-BE49-F238E27FC236}">
                          <a16:creationId xmlns:a16="http://schemas.microsoft.com/office/drawing/2014/main" id="{1A82BC05-AB94-C017-8FAD-8BF14CF8455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54" name="Graphic 153">
                      <a:extLst>
                        <a:ext uri="{FF2B5EF4-FFF2-40B4-BE49-F238E27FC236}">
                          <a16:creationId xmlns:a16="http://schemas.microsoft.com/office/drawing/2014/main" id="{BC8E7C1F-E862-96EF-D3F4-735CD8B98FB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57" name="Graphic 156">
                      <a:extLst>
                        <a:ext uri="{FF2B5EF4-FFF2-40B4-BE49-F238E27FC236}">
                          <a16:creationId xmlns:a16="http://schemas.microsoft.com/office/drawing/2014/main" id="{ED416AD9-E75C-1009-8872-24C73FD56D4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58" name="Graphic 157">
                      <a:extLst>
                        <a:ext uri="{FF2B5EF4-FFF2-40B4-BE49-F238E27FC236}">
                          <a16:creationId xmlns:a16="http://schemas.microsoft.com/office/drawing/2014/main" id="{D9ED65E8-4A9E-0D67-08B5-CC5C14293F4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59" name="Graphic 158">
                      <a:extLst>
                        <a:ext uri="{FF2B5EF4-FFF2-40B4-BE49-F238E27FC236}">
                          <a16:creationId xmlns:a16="http://schemas.microsoft.com/office/drawing/2014/main" id="{113400DC-9B47-C11F-961D-3BCE597729E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3" name="Graphic 162">
                      <a:extLst>
                        <a:ext uri="{FF2B5EF4-FFF2-40B4-BE49-F238E27FC236}">
                          <a16:creationId xmlns:a16="http://schemas.microsoft.com/office/drawing/2014/main" id="{045753B6-9E05-EBE5-D2A3-209AB98E707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5" name="Graphic 164">
                      <a:extLst>
                        <a:ext uri="{FF2B5EF4-FFF2-40B4-BE49-F238E27FC236}">
                          <a16:creationId xmlns:a16="http://schemas.microsoft.com/office/drawing/2014/main" id="{F036E81A-82E7-8FBF-D2BA-09614BFF612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5626" name="Graphic 5625">
                  <a:extLst>
                    <a:ext uri="{FF2B5EF4-FFF2-40B4-BE49-F238E27FC236}">
                      <a16:creationId xmlns:a16="http://schemas.microsoft.com/office/drawing/2014/main" id="{EAF45574-61E8-3CE9-7A8D-0B431F7044C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627" name="Graphic 5626">
                  <a:extLst>
                    <a:ext uri="{FF2B5EF4-FFF2-40B4-BE49-F238E27FC236}">
                      <a16:creationId xmlns:a16="http://schemas.microsoft.com/office/drawing/2014/main" id="{CFABAFAC-E7E7-4CB9-738A-2C3AE2538F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628" name="Graphic 5627">
                  <a:extLst>
                    <a:ext uri="{FF2B5EF4-FFF2-40B4-BE49-F238E27FC236}">
                      <a16:creationId xmlns:a16="http://schemas.microsoft.com/office/drawing/2014/main" id="{C9A6309A-7CD5-D0B3-0DAC-B286747FBC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629" name="Graphic 5628">
                  <a:extLst>
                    <a:ext uri="{FF2B5EF4-FFF2-40B4-BE49-F238E27FC236}">
                      <a16:creationId xmlns:a16="http://schemas.microsoft.com/office/drawing/2014/main" id="{82098ABE-1E65-50E8-843D-3F5F47E652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630" name="Graphic 5629">
                  <a:extLst>
                    <a:ext uri="{FF2B5EF4-FFF2-40B4-BE49-F238E27FC236}">
                      <a16:creationId xmlns:a16="http://schemas.microsoft.com/office/drawing/2014/main" id="{E9D75FD4-3088-1F34-F410-7AA6A0463F5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5631" name="Graphic 5630">
                  <a:extLst>
                    <a:ext uri="{FF2B5EF4-FFF2-40B4-BE49-F238E27FC236}">
                      <a16:creationId xmlns:a16="http://schemas.microsoft.com/office/drawing/2014/main" id="{1563E638-C496-1B93-ED1B-683C5D91C89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30" name="Graphic 129">
                  <a:extLst>
                    <a:ext uri="{FF2B5EF4-FFF2-40B4-BE49-F238E27FC236}">
                      <a16:creationId xmlns:a16="http://schemas.microsoft.com/office/drawing/2014/main" id="{5FA29705-2929-A2CA-0E05-9574B8333A7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31" name="Graphic 130">
                  <a:extLst>
                    <a:ext uri="{FF2B5EF4-FFF2-40B4-BE49-F238E27FC236}">
                      <a16:creationId xmlns:a16="http://schemas.microsoft.com/office/drawing/2014/main" id="{C84C7D26-B16C-2E60-2EAB-168C75148EF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32" name="Graphic 131">
                  <a:extLst>
                    <a:ext uri="{FF2B5EF4-FFF2-40B4-BE49-F238E27FC236}">
                      <a16:creationId xmlns:a16="http://schemas.microsoft.com/office/drawing/2014/main" id="{622DFE7E-A0EB-F8A3-392B-05F55CEE47F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133" name="Graphic 132">
                  <a:extLst>
                    <a:ext uri="{FF2B5EF4-FFF2-40B4-BE49-F238E27FC236}">
                      <a16:creationId xmlns:a16="http://schemas.microsoft.com/office/drawing/2014/main" id="{00A457FE-4AB6-F69D-600E-CB2212E825C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34" name="Graphic 133">
                  <a:extLst>
                    <a:ext uri="{FF2B5EF4-FFF2-40B4-BE49-F238E27FC236}">
                      <a16:creationId xmlns:a16="http://schemas.microsoft.com/office/drawing/2014/main" id="{97358DC4-420B-DBB7-99D8-0DBB40C7B30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35" name="Graphic 134">
                  <a:extLst>
                    <a:ext uri="{FF2B5EF4-FFF2-40B4-BE49-F238E27FC236}">
                      <a16:creationId xmlns:a16="http://schemas.microsoft.com/office/drawing/2014/main" id="{A528CAA4-EA75-79A2-5F9F-3B18699D50B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36" name="Graphic 135">
                  <a:extLst>
                    <a:ext uri="{FF2B5EF4-FFF2-40B4-BE49-F238E27FC236}">
                      <a16:creationId xmlns:a16="http://schemas.microsoft.com/office/drawing/2014/main" id="{6EAF6D65-86B3-E11C-D4FF-6F8FA27CC26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37" name="Graphic 136">
                  <a:extLst>
                    <a:ext uri="{FF2B5EF4-FFF2-40B4-BE49-F238E27FC236}">
                      <a16:creationId xmlns:a16="http://schemas.microsoft.com/office/drawing/2014/main" id="{087E865A-F9A7-5D91-19B1-4F694CDBD44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39" name="Graphic 138">
                  <a:extLst>
                    <a:ext uri="{FF2B5EF4-FFF2-40B4-BE49-F238E27FC236}">
                      <a16:creationId xmlns:a16="http://schemas.microsoft.com/office/drawing/2014/main" id="{B47F1D3B-3322-C71D-FC6F-1F96AABEDE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5614" name="Graphic 5613">
                <a:extLst>
                  <a:ext uri="{FF2B5EF4-FFF2-40B4-BE49-F238E27FC236}">
                    <a16:creationId xmlns:a16="http://schemas.microsoft.com/office/drawing/2014/main" id="{97A47C01-5161-2F55-AABC-1CB9DB5C9A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5615" name="Graphic 5614">
                <a:extLst>
                  <a:ext uri="{FF2B5EF4-FFF2-40B4-BE49-F238E27FC236}">
                    <a16:creationId xmlns:a16="http://schemas.microsoft.com/office/drawing/2014/main" id="{EC80FE90-37EF-7936-5E40-C60CD7AA47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5616" name="Graphic 5615">
                <a:extLst>
                  <a:ext uri="{FF2B5EF4-FFF2-40B4-BE49-F238E27FC236}">
                    <a16:creationId xmlns:a16="http://schemas.microsoft.com/office/drawing/2014/main" id="{7DE0D469-83EB-7F79-3EE7-EA10348607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5617" name="Graphic 5616">
                <a:extLst>
                  <a:ext uri="{FF2B5EF4-FFF2-40B4-BE49-F238E27FC236}">
                    <a16:creationId xmlns:a16="http://schemas.microsoft.com/office/drawing/2014/main" id="{1A0E3C8C-E0DC-C79F-E4AE-3F30C4FBC2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5618" name="Graphic 5617">
                <a:extLst>
                  <a:ext uri="{FF2B5EF4-FFF2-40B4-BE49-F238E27FC236}">
                    <a16:creationId xmlns:a16="http://schemas.microsoft.com/office/drawing/2014/main" id="{DD450EBB-3EED-177B-2B9C-C3F15FEEE6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5619" name="Graphic 5618">
                <a:extLst>
                  <a:ext uri="{FF2B5EF4-FFF2-40B4-BE49-F238E27FC236}">
                    <a16:creationId xmlns:a16="http://schemas.microsoft.com/office/drawing/2014/main" id="{9BA6A94F-18BB-0A08-EDCA-CCEC5CC10A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5620" name="Graphic 5619">
                <a:extLst>
                  <a:ext uri="{FF2B5EF4-FFF2-40B4-BE49-F238E27FC236}">
                    <a16:creationId xmlns:a16="http://schemas.microsoft.com/office/drawing/2014/main" id="{CF697FF9-0411-47F9-8BDA-FC80C2E9F9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5621" name="Graphic 5620">
                <a:extLst>
                  <a:ext uri="{FF2B5EF4-FFF2-40B4-BE49-F238E27FC236}">
                    <a16:creationId xmlns:a16="http://schemas.microsoft.com/office/drawing/2014/main" id="{CDC3F217-53AC-A038-D263-8DC28418EF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5622" name="Graphic 5621">
                <a:extLst>
                  <a:ext uri="{FF2B5EF4-FFF2-40B4-BE49-F238E27FC236}">
                    <a16:creationId xmlns:a16="http://schemas.microsoft.com/office/drawing/2014/main" id="{97B4198A-BA59-AEAA-FCC2-830EC34375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5623" name="Graphic 5622">
                <a:extLst>
                  <a:ext uri="{FF2B5EF4-FFF2-40B4-BE49-F238E27FC236}">
                    <a16:creationId xmlns:a16="http://schemas.microsoft.com/office/drawing/2014/main" id="{1AFE7279-6C7F-8AC7-B791-EDAEC9C443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5624" name="Graphic 5623">
                <a:extLst>
                  <a:ext uri="{FF2B5EF4-FFF2-40B4-BE49-F238E27FC236}">
                    <a16:creationId xmlns:a16="http://schemas.microsoft.com/office/drawing/2014/main" id="{F5F0CE71-26F4-185A-B53F-E39FC87D43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8266" name="Group 8265">
              <a:extLst>
                <a:ext uri="{FF2B5EF4-FFF2-40B4-BE49-F238E27FC236}">
                  <a16:creationId xmlns:a16="http://schemas.microsoft.com/office/drawing/2014/main" id="{06A25583-E9E4-93D7-6D6D-DA3244EC8128}"/>
                </a:ext>
              </a:extLst>
            </p:cNvPr>
            <p:cNvGrpSpPr/>
            <p:nvPr/>
          </p:nvGrpSpPr>
          <p:grpSpPr>
            <a:xfrm>
              <a:off x="2083326" y="3584457"/>
              <a:ext cx="106635" cy="106635"/>
              <a:chOff x="2898967" y="1781131"/>
              <a:chExt cx="1097280" cy="1097279"/>
            </a:xfrm>
          </p:grpSpPr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94F40B8F-E860-BE8D-4771-7420709DBA63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90" name="Group 89">
                  <a:extLst>
                    <a:ext uri="{FF2B5EF4-FFF2-40B4-BE49-F238E27FC236}">
                      <a16:creationId xmlns:a16="http://schemas.microsoft.com/office/drawing/2014/main" id="{C5037013-DE5C-AA3B-ABBA-52BAA2FC24BC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106" name="Oval 105">
                    <a:extLst>
                      <a:ext uri="{FF2B5EF4-FFF2-40B4-BE49-F238E27FC236}">
                        <a16:creationId xmlns:a16="http://schemas.microsoft.com/office/drawing/2014/main" id="{44F63983-ED95-164C-6C98-CE849EAC3203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07" name="Group 106">
                    <a:extLst>
                      <a:ext uri="{FF2B5EF4-FFF2-40B4-BE49-F238E27FC236}">
                        <a16:creationId xmlns:a16="http://schemas.microsoft.com/office/drawing/2014/main" id="{E1378755-6DC6-C385-3E8C-A6E6C3F45B08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108" name="Graphic 107">
                      <a:extLst>
                        <a:ext uri="{FF2B5EF4-FFF2-40B4-BE49-F238E27FC236}">
                          <a16:creationId xmlns:a16="http://schemas.microsoft.com/office/drawing/2014/main" id="{ED31B0E9-87C8-8DA6-1A11-4A01F4BBFA4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596" name="Graphic 5595">
                      <a:extLst>
                        <a:ext uri="{FF2B5EF4-FFF2-40B4-BE49-F238E27FC236}">
                          <a16:creationId xmlns:a16="http://schemas.microsoft.com/office/drawing/2014/main" id="{27CD2B95-3A50-C55F-DEDF-0667DE29A35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597" name="Graphic 5596">
                      <a:extLst>
                        <a:ext uri="{FF2B5EF4-FFF2-40B4-BE49-F238E27FC236}">
                          <a16:creationId xmlns:a16="http://schemas.microsoft.com/office/drawing/2014/main" id="{F1055CA9-B71B-2569-2E35-D032FC78BEB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598" name="Graphic 5597">
                      <a:extLst>
                        <a:ext uri="{FF2B5EF4-FFF2-40B4-BE49-F238E27FC236}">
                          <a16:creationId xmlns:a16="http://schemas.microsoft.com/office/drawing/2014/main" id="{61F77966-C115-959F-14ED-40A4871D413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599" name="Graphic 5598">
                      <a:extLst>
                        <a:ext uri="{FF2B5EF4-FFF2-40B4-BE49-F238E27FC236}">
                          <a16:creationId xmlns:a16="http://schemas.microsoft.com/office/drawing/2014/main" id="{D195551D-2309-8127-C2F7-C82BAA18744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600" name="Graphic 5599">
                      <a:extLst>
                        <a:ext uri="{FF2B5EF4-FFF2-40B4-BE49-F238E27FC236}">
                          <a16:creationId xmlns:a16="http://schemas.microsoft.com/office/drawing/2014/main" id="{14ECF34A-B4BD-7FCF-E013-35BA8C3DFDB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601" name="Graphic 5600">
                      <a:extLst>
                        <a:ext uri="{FF2B5EF4-FFF2-40B4-BE49-F238E27FC236}">
                          <a16:creationId xmlns:a16="http://schemas.microsoft.com/office/drawing/2014/main" id="{04389FEC-8C2C-64F0-6852-A0449E9566C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602" name="Graphic 5601">
                      <a:extLst>
                        <a:ext uri="{FF2B5EF4-FFF2-40B4-BE49-F238E27FC236}">
                          <a16:creationId xmlns:a16="http://schemas.microsoft.com/office/drawing/2014/main" id="{93B520CD-EC5E-F441-D815-BB7FE774A22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603" name="Graphic 5602">
                      <a:extLst>
                        <a:ext uri="{FF2B5EF4-FFF2-40B4-BE49-F238E27FC236}">
                          <a16:creationId xmlns:a16="http://schemas.microsoft.com/office/drawing/2014/main" id="{FC76F2C3-1F6B-04CB-D641-A0981BB7E6D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604" name="Graphic 5603">
                      <a:extLst>
                        <a:ext uri="{FF2B5EF4-FFF2-40B4-BE49-F238E27FC236}">
                          <a16:creationId xmlns:a16="http://schemas.microsoft.com/office/drawing/2014/main" id="{D32172E9-AB73-6346-A137-A396DCB5C88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605" name="Graphic 5604">
                      <a:extLst>
                        <a:ext uri="{FF2B5EF4-FFF2-40B4-BE49-F238E27FC236}">
                          <a16:creationId xmlns:a16="http://schemas.microsoft.com/office/drawing/2014/main" id="{B5A5EC70-BA72-B8EB-8723-B7403CB2EDE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606" name="Graphic 5605">
                      <a:extLst>
                        <a:ext uri="{FF2B5EF4-FFF2-40B4-BE49-F238E27FC236}">
                          <a16:creationId xmlns:a16="http://schemas.microsoft.com/office/drawing/2014/main" id="{1AA10CDE-01D3-8599-696D-E6B733AFCCA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607" name="Graphic 5606">
                      <a:extLst>
                        <a:ext uri="{FF2B5EF4-FFF2-40B4-BE49-F238E27FC236}">
                          <a16:creationId xmlns:a16="http://schemas.microsoft.com/office/drawing/2014/main" id="{56A4F5AF-A81D-FB24-A73E-8A17BCF5ABE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608" name="Graphic 5607">
                      <a:extLst>
                        <a:ext uri="{FF2B5EF4-FFF2-40B4-BE49-F238E27FC236}">
                          <a16:creationId xmlns:a16="http://schemas.microsoft.com/office/drawing/2014/main" id="{3D5CCF46-9E65-4579-061F-DEA98E1696A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609" name="Graphic 5608">
                      <a:extLst>
                        <a:ext uri="{FF2B5EF4-FFF2-40B4-BE49-F238E27FC236}">
                          <a16:creationId xmlns:a16="http://schemas.microsoft.com/office/drawing/2014/main" id="{0392280A-359F-9542-4CCD-A9F712C38CB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610" name="Graphic 5609">
                      <a:extLst>
                        <a:ext uri="{FF2B5EF4-FFF2-40B4-BE49-F238E27FC236}">
                          <a16:creationId xmlns:a16="http://schemas.microsoft.com/office/drawing/2014/main" id="{1B1E370B-FB5B-112B-DB43-C03AA279774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611" name="Graphic 5610">
                      <a:extLst>
                        <a:ext uri="{FF2B5EF4-FFF2-40B4-BE49-F238E27FC236}">
                          <a16:creationId xmlns:a16="http://schemas.microsoft.com/office/drawing/2014/main" id="{05B95572-B632-B740-3473-21B50EDAF04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612" name="Graphic 5611">
                      <a:extLst>
                        <a:ext uri="{FF2B5EF4-FFF2-40B4-BE49-F238E27FC236}">
                          <a16:creationId xmlns:a16="http://schemas.microsoft.com/office/drawing/2014/main" id="{229F7DE8-2346-25F7-E372-BCF3AC38979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1" name="Graphic 90">
                  <a:extLst>
                    <a:ext uri="{FF2B5EF4-FFF2-40B4-BE49-F238E27FC236}">
                      <a16:creationId xmlns:a16="http://schemas.microsoft.com/office/drawing/2014/main" id="{8E565B1A-0D96-5967-01F3-BA6EFB33F87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2" name="Graphic 91">
                  <a:extLst>
                    <a:ext uri="{FF2B5EF4-FFF2-40B4-BE49-F238E27FC236}">
                      <a16:creationId xmlns:a16="http://schemas.microsoft.com/office/drawing/2014/main" id="{28E33B58-BBEB-6C33-6EBE-B096E11981C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3" name="Graphic 92">
                  <a:extLst>
                    <a:ext uri="{FF2B5EF4-FFF2-40B4-BE49-F238E27FC236}">
                      <a16:creationId xmlns:a16="http://schemas.microsoft.com/office/drawing/2014/main" id="{547B244B-41C3-882C-BE17-3D6B14B6E90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" name="Graphic 93">
                  <a:extLst>
                    <a:ext uri="{FF2B5EF4-FFF2-40B4-BE49-F238E27FC236}">
                      <a16:creationId xmlns:a16="http://schemas.microsoft.com/office/drawing/2014/main" id="{1DC92C81-0FCB-36BC-28FE-5E966E0782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5" name="Graphic 94">
                  <a:extLst>
                    <a:ext uri="{FF2B5EF4-FFF2-40B4-BE49-F238E27FC236}">
                      <a16:creationId xmlns:a16="http://schemas.microsoft.com/office/drawing/2014/main" id="{A9C4BFEE-480C-A6D2-87FB-B2AE59704EE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6" name="Graphic 95">
                  <a:extLst>
                    <a:ext uri="{FF2B5EF4-FFF2-40B4-BE49-F238E27FC236}">
                      <a16:creationId xmlns:a16="http://schemas.microsoft.com/office/drawing/2014/main" id="{12EC74C6-F2F6-FEA1-7668-FE3EBA40CAA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7" name="Graphic 96">
                  <a:extLst>
                    <a:ext uri="{FF2B5EF4-FFF2-40B4-BE49-F238E27FC236}">
                      <a16:creationId xmlns:a16="http://schemas.microsoft.com/office/drawing/2014/main" id="{421D8425-5DB7-25F6-4840-3329F37A362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8" name="Graphic 97">
                  <a:extLst>
                    <a:ext uri="{FF2B5EF4-FFF2-40B4-BE49-F238E27FC236}">
                      <a16:creationId xmlns:a16="http://schemas.microsoft.com/office/drawing/2014/main" id="{CB94E283-ACA1-F933-F265-D17C6D2E3F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9" name="Graphic 98">
                  <a:extLst>
                    <a:ext uri="{FF2B5EF4-FFF2-40B4-BE49-F238E27FC236}">
                      <a16:creationId xmlns:a16="http://schemas.microsoft.com/office/drawing/2014/main" id="{0ADBA323-3B51-B71F-BA76-81580EFF79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100" name="Graphic 99">
                  <a:extLst>
                    <a:ext uri="{FF2B5EF4-FFF2-40B4-BE49-F238E27FC236}">
                      <a16:creationId xmlns:a16="http://schemas.microsoft.com/office/drawing/2014/main" id="{C685FCEB-7C8C-B101-EBA0-7A2431C32B5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01" name="Graphic 100">
                  <a:extLst>
                    <a:ext uri="{FF2B5EF4-FFF2-40B4-BE49-F238E27FC236}">
                      <a16:creationId xmlns:a16="http://schemas.microsoft.com/office/drawing/2014/main" id="{C07102F0-33D3-B1A6-1E48-3E73658D8AD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02" name="Graphic 101">
                  <a:extLst>
                    <a:ext uri="{FF2B5EF4-FFF2-40B4-BE49-F238E27FC236}">
                      <a16:creationId xmlns:a16="http://schemas.microsoft.com/office/drawing/2014/main" id="{52251C8B-19A7-E34A-BF64-75549B480A5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03" name="Graphic 102">
                  <a:extLst>
                    <a:ext uri="{FF2B5EF4-FFF2-40B4-BE49-F238E27FC236}">
                      <a16:creationId xmlns:a16="http://schemas.microsoft.com/office/drawing/2014/main" id="{6FD25780-713F-8876-5C88-76E51F529AB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04" name="Graphic 103">
                  <a:extLst>
                    <a:ext uri="{FF2B5EF4-FFF2-40B4-BE49-F238E27FC236}">
                      <a16:creationId xmlns:a16="http://schemas.microsoft.com/office/drawing/2014/main" id="{FA426036-A48C-4C49-4484-4C2824F4570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105" name="Graphic 104">
                  <a:extLst>
                    <a:ext uri="{FF2B5EF4-FFF2-40B4-BE49-F238E27FC236}">
                      <a16:creationId xmlns:a16="http://schemas.microsoft.com/office/drawing/2014/main" id="{4907A914-A043-89F4-8121-F1B9E4EA85E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79" name="Graphic 78">
                <a:extLst>
                  <a:ext uri="{FF2B5EF4-FFF2-40B4-BE49-F238E27FC236}">
                    <a16:creationId xmlns:a16="http://schemas.microsoft.com/office/drawing/2014/main" id="{CBC89177-038D-7FAE-E861-0AA738CE72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0" name="Graphic 79">
                <a:extLst>
                  <a:ext uri="{FF2B5EF4-FFF2-40B4-BE49-F238E27FC236}">
                    <a16:creationId xmlns:a16="http://schemas.microsoft.com/office/drawing/2014/main" id="{3AE229ED-F723-8020-1206-71433B5CAD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1" name="Graphic 80">
                <a:extLst>
                  <a:ext uri="{FF2B5EF4-FFF2-40B4-BE49-F238E27FC236}">
                    <a16:creationId xmlns:a16="http://schemas.microsoft.com/office/drawing/2014/main" id="{C45CA1AB-04D1-C8E0-0FBC-D86E88654F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82" name="Graphic 81">
                <a:extLst>
                  <a:ext uri="{FF2B5EF4-FFF2-40B4-BE49-F238E27FC236}">
                    <a16:creationId xmlns:a16="http://schemas.microsoft.com/office/drawing/2014/main" id="{CB1276B7-662B-AC4D-596A-805B62EBE3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83" name="Graphic 82">
                <a:extLst>
                  <a:ext uri="{FF2B5EF4-FFF2-40B4-BE49-F238E27FC236}">
                    <a16:creationId xmlns:a16="http://schemas.microsoft.com/office/drawing/2014/main" id="{372D90FA-3542-36E8-0959-F61FC8468E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4" name="Graphic 83">
                <a:extLst>
                  <a:ext uri="{FF2B5EF4-FFF2-40B4-BE49-F238E27FC236}">
                    <a16:creationId xmlns:a16="http://schemas.microsoft.com/office/drawing/2014/main" id="{E0D10E75-3D16-CE35-CD3E-CAE25B86F3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5" name="Graphic 84">
                <a:extLst>
                  <a:ext uri="{FF2B5EF4-FFF2-40B4-BE49-F238E27FC236}">
                    <a16:creationId xmlns:a16="http://schemas.microsoft.com/office/drawing/2014/main" id="{C89E3D11-6EBD-BAAC-5E93-E18FEE17B2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6" name="Graphic 85">
                <a:extLst>
                  <a:ext uri="{FF2B5EF4-FFF2-40B4-BE49-F238E27FC236}">
                    <a16:creationId xmlns:a16="http://schemas.microsoft.com/office/drawing/2014/main" id="{244041DE-1E34-6D99-1A17-5045CAFC93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87" name="Graphic 86">
                <a:extLst>
                  <a:ext uri="{FF2B5EF4-FFF2-40B4-BE49-F238E27FC236}">
                    <a16:creationId xmlns:a16="http://schemas.microsoft.com/office/drawing/2014/main" id="{EB5325BC-9AE2-6CEA-9301-330E4F8427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88" name="Graphic 87">
                <a:extLst>
                  <a:ext uri="{FF2B5EF4-FFF2-40B4-BE49-F238E27FC236}">
                    <a16:creationId xmlns:a16="http://schemas.microsoft.com/office/drawing/2014/main" id="{2DCB8144-17C0-D142-09B6-9FE62D0198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9" name="Graphic 88">
                <a:extLst>
                  <a:ext uri="{FF2B5EF4-FFF2-40B4-BE49-F238E27FC236}">
                    <a16:creationId xmlns:a16="http://schemas.microsoft.com/office/drawing/2014/main" id="{5937A5A2-1D8D-85D3-5791-DE69D6CB33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  <p:grpSp>
          <p:nvGrpSpPr>
            <p:cNvPr id="8267" name="Group 8266">
              <a:extLst>
                <a:ext uri="{FF2B5EF4-FFF2-40B4-BE49-F238E27FC236}">
                  <a16:creationId xmlns:a16="http://schemas.microsoft.com/office/drawing/2014/main" id="{A70B25D0-094B-7361-DB67-3757224B2740}"/>
                </a:ext>
              </a:extLst>
            </p:cNvPr>
            <p:cNvGrpSpPr/>
            <p:nvPr/>
          </p:nvGrpSpPr>
          <p:grpSpPr>
            <a:xfrm>
              <a:off x="2176272" y="3666744"/>
              <a:ext cx="165485" cy="165485"/>
              <a:chOff x="2898967" y="1781131"/>
              <a:chExt cx="1097280" cy="1097279"/>
            </a:xfrm>
          </p:grpSpPr>
          <p:grpSp>
            <p:nvGrpSpPr>
              <p:cNvPr id="8268" name="Group 8267">
                <a:extLst>
                  <a:ext uri="{FF2B5EF4-FFF2-40B4-BE49-F238E27FC236}">
                    <a16:creationId xmlns:a16="http://schemas.microsoft.com/office/drawing/2014/main" id="{20DA121F-9DF4-2FA7-A9A5-343CAD2400E1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8280" name="Group 8279">
                  <a:extLst>
                    <a:ext uri="{FF2B5EF4-FFF2-40B4-BE49-F238E27FC236}">
                      <a16:creationId xmlns:a16="http://schemas.microsoft.com/office/drawing/2014/main" id="{A319EB9E-DDA0-834B-AA21-C87B673BFFD4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8296" name="Oval 8295">
                    <a:extLst>
                      <a:ext uri="{FF2B5EF4-FFF2-40B4-BE49-F238E27FC236}">
                        <a16:creationId xmlns:a16="http://schemas.microsoft.com/office/drawing/2014/main" id="{C9A69CB6-7E9C-7573-01E2-A64C35A549A1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8297" name="Group 8296">
                    <a:extLst>
                      <a:ext uri="{FF2B5EF4-FFF2-40B4-BE49-F238E27FC236}">
                        <a16:creationId xmlns:a16="http://schemas.microsoft.com/office/drawing/2014/main" id="{A3DA10F3-55CE-F38D-5F44-0353E3BA3AEC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8298" name="Graphic 8297">
                      <a:extLst>
                        <a:ext uri="{FF2B5EF4-FFF2-40B4-BE49-F238E27FC236}">
                          <a16:creationId xmlns:a16="http://schemas.microsoft.com/office/drawing/2014/main" id="{6104DB88-8A5E-04C0-9613-56B501D11D5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299" name="Graphic 8298">
                      <a:extLst>
                        <a:ext uri="{FF2B5EF4-FFF2-40B4-BE49-F238E27FC236}">
                          <a16:creationId xmlns:a16="http://schemas.microsoft.com/office/drawing/2014/main" id="{56F5B595-78AD-30ED-5683-3DDF6E87326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300" name="Graphic 8299">
                      <a:extLst>
                        <a:ext uri="{FF2B5EF4-FFF2-40B4-BE49-F238E27FC236}">
                          <a16:creationId xmlns:a16="http://schemas.microsoft.com/office/drawing/2014/main" id="{1B2112DF-6367-F239-9706-51275CD855D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301" name="Graphic 8300">
                      <a:extLst>
                        <a:ext uri="{FF2B5EF4-FFF2-40B4-BE49-F238E27FC236}">
                          <a16:creationId xmlns:a16="http://schemas.microsoft.com/office/drawing/2014/main" id="{6DDF9EB0-B23A-6F18-283E-ABFA46E73F6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4" name="Graphic 63">
                      <a:extLst>
                        <a:ext uri="{FF2B5EF4-FFF2-40B4-BE49-F238E27FC236}">
                          <a16:creationId xmlns:a16="http://schemas.microsoft.com/office/drawing/2014/main" id="{BD0D69F6-6768-6984-5647-55571FE0D17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5" name="Graphic 64">
                      <a:extLst>
                        <a:ext uri="{FF2B5EF4-FFF2-40B4-BE49-F238E27FC236}">
                          <a16:creationId xmlns:a16="http://schemas.microsoft.com/office/drawing/2014/main" id="{47AB7173-AE7B-D0DD-7387-FDF80836599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6" name="Graphic 65">
                      <a:extLst>
                        <a:ext uri="{FF2B5EF4-FFF2-40B4-BE49-F238E27FC236}">
                          <a16:creationId xmlns:a16="http://schemas.microsoft.com/office/drawing/2014/main" id="{B4F18441-9B33-842A-CC75-8D8E9AC604F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7" name="Graphic 66">
                      <a:extLst>
                        <a:ext uri="{FF2B5EF4-FFF2-40B4-BE49-F238E27FC236}">
                          <a16:creationId xmlns:a16="http://schemas.microsoft.com/office/drawing/2014/main" id="{F02BB5D6-7329-A624-B233-8E4F1875ACE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8" name="Graphic 67">
                      <a:extLst>
                        <a:ext uri="{FF2B5EF4-FFF2-40B4-BE49-F238E27FC236}">
                          <a16:creationId xmlns:a16="http://schemas.microsoft.com/office/drawing/2014/main" id="{89F27F67-A9EE-7ADC-D524-2D27C8C556F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9" name="Graphic 68">
                      <a:extLst>
                        <a:ext uri="{FF2B5EF4-FFF2-40B4-BE49-F238E27FC236}">
                          <a16:creationId xmlns:a16="http://schemas.microsoft.com/office/drawing/2014/main" id="{14AC20EF-9DB4-9AD4-8CBC-7F58DCE8ADD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70" name="Graphic 69">
                      <a:extLst>
                        <a:ext uri="{FF2B5EF4-FFF2-40B4-BE49-F238E27FC236}">
                          <a16:creationId xmlns:a16="http://schemas.microsoft.com/office/drawing/2014/main" id="{4234BF35-0953-8903-40F9-463CF3459CE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71" name="Graphic 70">
                      <a:extLst>
                        <a:ext uri="{FF2B5EF4-FFF2-40B4-BE49-F238E27FC236}">
                          <a16:creationId xmlns:a16="http://schemas.microsoft.com/office/drawing/2014/main" id="{D7781497-74DD-364C-F02D-BD1914E5511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72" name="Graphic 71">
                      <a:extLst>
                        <a:ext uri="{FF2B5EF4-FFF2-40B4-BE49-F238E27FC236}">
                          <a16:creationId xmlns:a16="http://schemas.microsoft.com/office/drawing/2014/main" id="{E07F4A02-D93F-6C81-6851-AC23B2513B5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73" name="Graphic 72">
                      <a:extLst>
                        <a:ext uri="{FF2B5EF4-FFF2-40B4-BE49-F238E27FC236}">
                          <a16:creationId xmlns:a16="http://schemas.microsoft.com/office/drawing/2014/main" id="{7E2940E0-AB73-DD7C-F665-EBBEC6FFEF7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74" name="Graphic 73">
                      <a:extLst>
                        <a:ext uri="{FF2B5EF4-FFF2-40B4-BE49-F238E27FC236}">
                          <a16:creationId xmlns:a16="http://schemas.microsoft.com/office/drawing/2014/main" id="{3A02A346-C1BE-3B7C-0761-3EB5BB08F9A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75" name="Graphic 74">
                      <a:extLst>
                        <a:ext uri="{FF2B5EF4-FFF2-40B4-BE49-F238E27FC236}">
                          <a16:creationId xmlns:a16="http://schemas.microsoft.com/office/drawing/2014/main" id="{C5EDDD05-F3D4-9CB5-796B-1C1392BF8D0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76" name="Graphic 75">
                      <a:extLst>
                        <a:ext uri="{FF2B5EF4-FFF2-40B4-BE49-F238E27FC236}">
                          <a16:creationId xmlns:a16="http://schemas.microsoft.com/office/drawing/2014/main" id="{4B17BEBC-6815-F254-2930-B0972B5F663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77" name="Graphic 76">
                      <a:extLst>
                        <a:ext uri="{FF2B5EF4-FFF2-40B4-BE49-F238E27FC236}">
                          <a16:creationId xmlns:a16="http://schemas.microsoft.com/office/drawing/2014/main" id="{99280392-EE1E-EFB6-3331-C3B4F83A099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8281" name="Graphic 8280">
                  <a:extLst>
                    <a:ext uri="{FF2B5EF4-FFF2-40B4-BE49-F238E27FC236}">
                      <a16:creationId xmlns:a16="http://schemas.microsoft.com/office/drawing/2014/main" id="{867F05CF-E044-A898-119D-02411788E2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282" name="Graphic 8281">
                  <a:extLst>
                    <a:ext uri="{FF2B5EF4-FFF2-40B4-BE49-F238E27FC236}">
                      <a16:creationId xmlns:a16="http://schemas.microsoft.com/office/drawing/2014/main" id="{3A5F37C1-387E-BC1F-4625-46697F10957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283" name="Graphic 8282">
                  <a:extLst>
                    <a:ext uri="{FF2B5EF4-FFF2-40B4-BE49-F238E27FC236}">
                      <a16:creationId xmlns:a16="http://schemas.microsoft.com/office/drawing/2014/main" id="{CEDF3CF8-F98C-6D0F-AF1B-3E3BD4C3925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284" name="Graphic 8283">
                  <a:extLst>
                    <a:ext uri="{FF2B5EF4-FFF2-40B4-BE49-F238E27FC236}">
                      <a16:creationId xmlns:a16="http://schemas.microsoft.com/office/drawing/2014/main" id="{68AED27C-8F26-FA07-B313-DFD9109C78C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285" name="Graphic 8284">
                  <a:extLst>
                    <a:ext uri="{FF2B5EF4-FFF2-40B4-BE49-F238E27FC236}">
                      <a16:creationId xmlns:a16="http://schemas.microsoft.com/office/drawing/2014/main" id="{5988FEF4-02C8-F6A0-162A-CB4CBEDB511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286" name="Graphic 8285">
                  <a:extLst>
                    <a:ext uri="{FF2B5EF4-FFF2-40B4-BE49-F238E27FC236}">
                      <a16:creationId xmlns:a16="http://schemas.microsoft.com/office/drawing/2014/main" id="{BB0E5FE9-6E1F-81ED-BF3D-EFE9D3DFAD7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287" name="Graphic 8286">
                  <a:extLst>
                    <a:ext uri="{FF2B5EF4-FFF2-40B4-BE49-F238E27FC236}">
                      <a16:creationId xmlns:a16="http://schemas.microsoft.com/office/drawing/2014/main" id="{55A1A0BC-74A1-4C2E-113F-E6A3C4DD8FB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288" name="Graphic 8287">
                  <a:extLst>
                    <a:ext uri="{FF2B5EF4-FFF2-40B4-BE49-F238E27FC236}">
                      <a16:creationId xmlns:a16="http://schemas.microsoft.com/office/drawing/2014/main" id="{C8BECD6B-C188-E7DF-8F2D-7955FF8D49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289" name="Graphic 8288">
                  <a:extLst>
                    <a:ext uri="{FF2B5EF4-FFF2-40B4-BE49-F238E27FC236}">
                      <a16:creationId xmlns:a16="http://schemas.microsoft.com/office/drawing/2014/main" id="{A53FA17A-E6FD-0602-6DC1-EB58646157D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8290" name="Graphic 8289">
                  <a:extLst>
                    <a:ext uri="{FF2B5EF4-FFF2-40B4-BE49-F238E27FC236}">
                      <a16:creationId xmlns:a16="http://schemas.microsoft.com/office/drawing/2014/main" id="{19025278-1A91-F621-FC31-DCB74EA0358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291" name="Graphic 8290">
                  <a:extLst>
                    <a:ext uri="{FF2B5EF4-FFF2-40B4-BE49-F238E27FC236}">
                      <a16:creationId xmlns:a16="http://schemas.microsoft.com/office/drawing/2014/main" id="{53721007-485D-5DB5-175C-6DCCDC513E1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292" name="Graphic 8291">
                  <a:extLst>
                    <a:ext uri="{FF2B5EF4-FFF2-40B4-BE49-F238E27FC236}">
                      <a16:creationId xmlns:a16="http://schemas.microsoft.com/office/drawing/2014/main" id="{8C748BFE-912E-E3FB-9947-24DE4DE04F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293" name="Graphic 8292">
                  <a:extLst>
                    <a:ext uri="{FF2B5EF4-FFF2-40B4-BE49-F238E27FC236}">
                      <a16:creationId xmlns:a16="http://schemas.microsoft.com/office/drawing/2014/main" id="{6EE0F47C-7894-8FB3-C8BF-4ECDF337F2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294" name="Graphic 8293">
                  <a:extLst>
                    <a:ext uri="{FF2B5EF4-FFF2-40B4-BE49-F238E27FC236}">
                      <a16:creationId xmlns:a16="http://schemas.microsoft.com/office/drawing/2014/main" id="{FC92DD9F-0007-FA6E-FB7A-0F0A1847BB5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8295" name="Graphic 8294">
                  <a:extLst>
                    <a:ext uri="{FF2B5EF4-FFF2-40B4-BE49-F238E27FC236}">
                      <a16:creationId xmlns:a16="http://schemas.microsoft.com/office/drawing/2014/main" id="{034C0989-F213-FB22-0B17-6E4540A523B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8269" name="Graphic 8268">
                <a:extLst>
                  <a:ext uri="{FF2B5EF4-FFF2-40B4-BE49-F238E27FC236}">
                    <a16:creationId xmlns:a16="http://schemas.microsoft.com/office/drawing/2014/main" id="{E590AA04-E05C-5661-A255-2FF843A3F1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270" name="Graphic 8269">
                <a:extLst>
                  <a:ext uri="{FF2B5EF4-FFF2-40B4-BE49-F238E27FC236}">
                    <a16:creationId xmlns:a16="http://schemas.microsoft.com/office/drawing/2014/main" id="{CCB4093A-A447-0967-AE26-FA9E903654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271" name="Graphic 8270">
                <a:extLst>
                  <a:ext uri="{FF2B5EF4-FFF2-40B4-BE49-F238E27FC236}">
                    <a16:creationId xmlns:a16="http://schemas.microsoft.com/office/drawing/2014/main" id="{DE82B14C-4BE5-0E7A-ECCB-27AA18CF90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8272" name="Graphic 8271">
                <a:extLst>
                  <a:ext uri="{FF2B5EF4-FFF2-40B4-BE49-F238E27FC236}">
                    <a16:creationId xmlns:a16="http://schemas.microsoft.com/office/drawing/2014/main" id="{E92C2CDF-10B2-E990-B793-49AF8BF934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8273" name="Graphic 8272">
                <a:extLst>
                  <a:ext uri="{FF2B5EF4-FFF2-40B4-BE49-F238E27FC236}">
                    <a16:creationId xmlns:a16="http://schemas.microsoft.com/office/drawing/2014/main" id="{1923FB9A-4D1B-03FB-D1D4-F1ED87BFF7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274" name="Graphic 8273">
                <a:extLst>
                  <a:ext uri="{FF2B5EF4-FFF2-40B4-BE49-F238E27FC236}">
                    <a16:creationId xmlns:a16="http://schemas.microsoft.com/office/drawing/2014/main" id="{86DDFDE2-8380-80ED-5F63-F294F923EA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275" name="Graphic 8274">
                <a:extLst>
                  <a:ext uri="{FF2B5EF4-FFF2-40B4-BE49-F238E27FC236}">
                    <a16:creationId xmlns:a16="http://schemas.microsoft.com/office/drawing/2014/main" id="{17F0739E-899A-D3B2-DD66-F0842A00FD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276" name="Graphic 8275">
                <a:extLst>
                  <a:ext uri="{FF2B5EF4-FFF2-40B4-BE49-F238E27FC236}">
                    <a16:creationId xmlns:a16="http://schemas.microsoft.com/office/drawing/2014/main" id="{665B2B78-0FBB-2C0D-992B-E0511320C7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8277" name="Graphic 8276">
                <a:extLst>
                  <a:ext uri="{FF2B5EF4-FFF2-40B4-BE49-F238E27FC236}">
                    <a16:creationId xmlns:a16="http://schemas.microsoft.com/office/drawing/2014/main" id="{4795C8A1-CE82-443C-1771-B8A3E613DF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8278" name="Graphic 8277">
                <a:extLst>
                  <a:ext uri="{FF2B5EF4-FFF2-40B4-BE49-F238E27FC236}">
                    <a16:creationId xmlns:a16="http://schemas.microsoft.com/office/drawing/2014/main" id="{F1E2CDD1-FF71-30AF-9490-28841ED4B7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8279" name="Graphic 8278">
                <a:extLst>
                  <a:ext uri="{FF2B5EF4-FFF2-40B4-BE49-F238E27FC236}">
                    <a16:creationId xmlns:a16="http://schemas.microsoft.com/office/drawing/2014/main" id="{3B41859D-A6CE-A6BD-4AF9-D5D1295AD7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</p:grpSp>
      <p:sp>
        <p:nvSpPr>
          <p:cNvPr id="9580" name="Rectangle 9579">
            <a:extLst>
              <a:ext uri="{FF2B5EF4-FFF2-40B4-BE49-F238E27FC236}">
                <a16:creationId xmlns:a16="http://schemas.microsoft.com/office/drawing/2014/main" id="{20CD87BA-DE43-2994-9B4B-BD66CC467E03}"/>
              </a:ext>
            </a:extLst>
          </p:cNvPr>
          <p:cNvSpPr/>
          <p:nvPr/>
        </p:nvSpPr>
        <p:spPr>
          <a:xfrm>
            <a:off x="498232" y="1483965"/>
            <a:ext cx="221016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766">
              <a:defRPr/>
            </a:pPr>
            <a:r>
              <a:rPr lang="de" sz="1100" b="1">
                <a:solidFill>
                  <a:srgbClr val="7030A0"/>
                </a:solidFill>
                <a:ea typeface="Arial"/>
                <a:cs typeface="Arial"/>
              </a:rPr>
              <a:t>PANKREAS</a:t>
            </a:r>
          </a:p>
        </p:txBody>
      </p:sp>
      <p:grpSp>
        <p:nvGrpSpPr>
          <p:cNvPr id="9581" name="Group 9580">
            <a:extLst>
              <a:ext uri="{FF2B5EF4-FFF2-40B4-BE49-F238E27FC236}">
                <a16:creationId xmlns:a16="http://schemas.microsoft.com/office/drawing/2014/main" id="{4B0CE0B1-494E-19B0-9382-C962BE56FE82}"/>
              </a:ext>
            </a:extLst>
          </p:cNvPr>
          <p:cNvGrpSpPr/>
          <p:nvPr/>
        </p:nvGrpSpPr>
        <p:grpSpPr>
          <a:xfrm>
            <a:off x="1986907" y="1483964"/>
            <a:ext cx="3428175" cy="2159369"/>
            <a:chOff x="2392534" y="2291189"/>
            <a:chExt cx="4570899" cy="2879160"/>
          </a:xfrm>
        </p:grpSpPr>
        <p:sp>
          <p:nvSpPr>
            <p:cNvPr id="9582" name="Rectangle 9581">
              <a:extLst>
                <a:ext uri="{FF2B5EF4-FFF2-40B4-BE49-F238E27FC236}">
                  <a16:creationId xmlns:a16="http://schemas.microsoft.com/office/drawing/2014/main" id="{E1B4EFBC-D8E8-5BB3-1606-BC70E280C0F7}"/>
                </a:ext>
              </a:extLst>
            </p:cNvPr>
            <p:cNvSpPr/>
            <p:nvPr/>
          </p:nvSpPr>
          <p:spPr>
            <a:xfrm>
              <a:off x="3621224" y="4554795"/>
              <a:ext cx="3342209" cy="615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766">
                <a:defRPr/>
              </a:pPr>
              <a:r>
                <a:rPr lang="de" sz="800">
                  <a:solidFill>
                    <a:srgbClr val="404040"/>
                  </a:solidFill>
                  <a:ea typeface="Arial"/>
                  <a:cs typeface="Arial"/>
                </a:rPr>
                <a:t>Pankreasinseln enthalten mehrere Zelltypen, die den Blutzuckerspiegel regulieren, einschließlich Alpha- und Betazellen.</a:t>
              </a:r>
              <a:endParaRPr lang="en-US" sz="800" baseline="30000">
                <a:solidFill>
                  <a:srgbClr val="000000">
                    <a:lumMod val="75000"/>
                    <a:lumOff val="25000"/>
                  </a:srgb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583" name="Rectangle 9582">
              <a:extLst>
                <a:ext uri="{FF2B5EF4-FFF2-40B4-BE49-F238E27FC236}">
                  <a16:creationId xmlns:a16="http://schemas.microsoft.com/office/drawing/2014/main" id="{D616ECF5-2502-AD07-111B-712242B9363D}"/>
                </a:ext>
              </a:extLst>
            </p:cNvPr>
            <p:cNvSpPr/>
            <p:nvPr/>
          </p:nvSpPr>
          <p:spPr>
            <a:xfrm>
              <a:off x="3783976" y="2291189"/>
              <a:ext cx="3026897" cy="3488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85766">
                <a:defRPr/>
              </a:pPr>
              <a:r>
                <a:rPr lang="de" sz="1100" b="1">
                  <a:solidFill>
                    <a:srgbClr val="7030A0"/>
                  </a:solidFill>
                  <a:ea typeface="Arial"/>
                  <a:cs typeface="Arial"/>
                </a:rPr>
                <a:t>LANGERHANS‘SCHE INSEL</a:t>
              </a:r>
            </a:p>
          </p:txBody>
        </p:sp>
        <p:sp>
          <p:nvSpPr>
            <p:cNvPr id="9584" name="Freeform 19">
              <a:extLst>
                <a:ext uri="{FF2B5EF4-FFF2-40B4-BE49-F238E27FC236}">
                  <a16:creationId xmlns:a16="http://schemas.microsoft.com/office/drawing/2014/main" id="{41430FA0-D6B3-C332-5899-A48C485721A9}"/>
                </a:ext>
              </a:extLst>
            </p:cNvPr>
            <p:cNvSpPr/>
            <p:nvPr/>
          </p:nvSpPr>
          <p:spPr>
            <a:xfrm>
              <a:off x="2392534" y="2968412"/>
              <a:ext cx="2946890" cy="1404459"/>
            </a:xfrm>
            <a:custGeom>
              <a:avLst/>
              <a:gdLst>
                <a:gd name="connsiteX0" fmla="*/ 0 w 2336800"/>
                <a:gd name="connsiteY0" fmla="*/ 474133 h 1210733"/>
                <a:gd name="connsiteX1" fmla="*/ 2336800 w 2336800"/>
                <a:gd name="connsiteY1" fmla="*/ 0 h 1210733"/>
                <a:gd name="connsiteX2" fmla="*/ 2336800 w 2336800"/>
                <a:gd name="connsiteY2" fmla="*/ 1210733 h 1210733"/>
                <a:gd name="connsiteX3" fmla="*/ 0 w 2336800"/>
                <a:gd name="connsiteY3" fmla="*/ 474133 h 1210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36800" h="1210733">
                  <a:moveTo>
                    <a:pt x="0" y="474133"/>
                  </a:moveTo>
                  <a:lnTo>
                    <a:pt x="2336800" y="0"/>
                  </a:lnTo>
                  <a:lnTo>
                    <a:pt x="2336800" y="1210733"/>
                  </a:lnTo>
                  <a:lnTo>
                    <a:pt x="0" y="474133"/>
                  </a:lnTo>
                  <a:close/>
                </a:path>
              </a:pathLst>
            </a:custGeom>
            <a:gradFill>
              <a:gsLst>
                <a:gs pos="0">
                  <a:schemeClr val="accent5">
                    <a:lumMod val="20000"/>
                    <a:lumOff val="80000"/>
                    <a:alpha val="50000"/>
                  </a:schemeClr>
                </a:gs>
                <a:gs pos="100000">
                  <a:schemeClr val="accent5"/>
                </a:gs>
                <a:gs pos="67000">
                  <a:schemeClr val="accent5">
                    <a:alpha val="5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66">
                <a:defRPr/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grpSp>
          <p:nvGrpSpPr>
            <p:cNvPr id="9585" name="Group 9584">
              <a:extLst>
                <a:ext uri="{FF2B5EF4-FFF2-40B4-BE49-F238E27FC236}">
                  <a16:creationId xmlns:a16="http://schemas.microsoft.com/office/drawing/2014/main" id="{D5120CF4-40F8-F5F0-DD19-408083DCA4A9}"/>
                </a:ext>
              </a:extLst>
            </p:cNvPr>
            <p:cNvGrpSpPr/>
            <p:nvPr/>
          </p:nvGrpSpPr>
          <p:grpSpPr>
            <a:xfrm>
              <a:off x="4565902" y="2905435"/>
              <a:ext cx="1463040" cy="1463040"/>
              <a:chOff x="2898967" y="1781131"/>
              <a:chExt cx="1097280" cy="1097279"/>
            </a:xfrm>
          </p:grpSpPr>
          <p:grpSp>
            <p:nvGrpSpPr>
              <p:cNvPr id="9586" name="Group 9585">
                <a:extLst>
                  <a:ext uri="{FF2B5EF4-FFF2-40B4-BE49-F238E27FC236}">
                    <a16:creationId xmlns:a16="http://schemas.microsoft.com/office/drawing/2014/main" id="{29329C2A-70E2-294D-46A3-86A389B37092}"/>
                  </a:ext>
                </a:extLst>
              </p:cNvPr>
              <p:cNvGrpSpPr/>
              <p:nvPr/>
            </p:nvGrpSpPr>
            <p:grpSpPr>
              <a:xfrm>
                <a:off x="2898967" y="1781131"/>
                <a:ext cx="1097280" cy="1097279"/>
                <a:chOff x="4849676" y="2570012"/>
                <a:chExt cx="1784077" cy="1870450"/>
              </a:xfrm>
            </p:grpSpPr>
            <p:grpSp>
              <p:nvGrpSpPr>
                <p:cNvPr id="9598" name="Group 9597">
                  <a:extLst>
                    <a:ext uri="{FF2B5EF4-FFF2-40B4-BE49-F238E27FC236}">
                      <a16:creationId xmlns:a16="http://schemas.microsoft.com/office/drawing/2014/main" id="{115FDA3B-BB5C-169E-1A9E-DA63F5ED126B}"/>
                    </a:ext>
                  </a:extLst>
                </p:cNvPr>
                <p:cNvGrpSpPr/>
                <p:nvPr/>
              </p:nvGrpSpPr>
              <p:grpSpPr>
                <a:xfrm>
                  <a:off x="4849676" y="2570012"/>
                  <a:ext cx="1784077" cy="1870450"/>
                  <a:chOff x="1789223" y="3310260"/>
                  <a:chExt cx="911697" cy="1097908"/>
                </a:xfrm>
              </p:grpSpPr>
              <p:sp>
                <p:nvSpPr>
                  <p:cNvPr id="9614" name="Oval 9613">
                    <a:extLst>
                      <a:ext uri="{FF2B5EF4-FFF2-40B4-BE49-F238E27FC236}">
                        <a16:creationId xmlns:a16="http://schemas.microsoft.com/office/drawing/2014/main" id="{B6DBAAB1-D3C0-1C4B-5654-1E56B648043E}"/>
                      </a:ext>
                    </a:extLst>
                  </p:cNvPr>
                  <p:cNvSpPr/>
                  <p:nvPr/>
                </p:nvSpPr>
                <p:spPr>
                  <a:xfrm>
                    <a:off x="1789223" y="3310260"/>
                    <a:ext cx="911697" cy="109790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200">
                      <a:solidFill>
                        <a:srgbClr val="FFFFFF"/>
                      </a:solidFill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615" name="Group 9614">
                    <a:extLst>
                      <a:ext uri="{FF2B5EF4-FFF2-40B4-BE49-F238E27FC236}">
                        <a16:creationId xmlns:a16="http://schemas.microsoft.com/office/drawing/2014/main" id="{EE4F47B2-2D93-9D44-2A8C-3222CFF7F111}"/>
                      </a:ext>
                    </a:extLst>
                  </p:cNvPr>
                  <p:cNvGrpSpPr/>
                  <p:nvPr/>
                </p:nvGrpSpPr>
                <p:grpSpPr>
                  <a:xfrm>
                    <a:off x="1914667" y="3499462"/>
                    <a:ext cx="758049" cy="632250"/>
                    <a:chOff x="6655611" y="1328513"/>
                    <a:chExt cx="4036885" cy="3366966"/>
                  </a:xfrm>
                </p:grpSpPr>
                <p:pic>
                  <p:nvPicPr>
                    <p:cNvPr id="9616" name="Graphic 9615">
                      <a:extLst>
                        <a:ext uri="{FF2B5EF4-FFF2-40B4-BE49-F238E27FC236}">
                          <a16:creationId xmlns:a16="http://schemas.microsoft.com/office/drawing/2014/main" id="{27137592-AAFF-B832-7845-08B5E78DB62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17" name="Graphic 9616">
                      <a:extLst>
                        <a:ext uri="{FF2B5EF4-FFF2-40B4-BE49-F238E27FC236}">
                          <a16:creationId xmlns:a16="http://schemas.microsoft.com/office/drawing/2014/main" id="{03B9F18E-AF11-F171-67C7-C7D8D7AAC2E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18" name="Graphic 9617">
                      <a:extLst>
                        <a:ext uri="{FF2B5EF4-FFF2-40B4-BE49-F238E27FC236}">
                          <a16:creationId xmlns:a16="http://schemas.microsoft.com/office/drawing/2014/main" id="{3202A228-A133-5596-FC52-7A25DC66F47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19" name="Graphic 9618">
                      <a:extLst>
                        <a:ext uri="{FF2B5EF4-FFF2-40B4-BE49-F238E27FC236}">
                          <a16:creationId xmlns:a16="http://schemas.microsoft.com/office/drawing/2014/main" id="{B4806535-4484-9729-5A11-8F50FF55FAF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20" name="Graphic 9619">
                      <a:extLst>
                        <a:ext uri="{FF2B5EF4-FFF2-40B4-BE49-F238E27FC236}">
                          <a16:creationId xmlns:a16="http://schemas.microsoft.com/office/drawing/2014/main" id="{2AACC9A8-DB3B-D60F-58DD-D0D860B9CE1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940221"/>
                      <a:ext cx="536966" cy="50680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21" name="Graphic 9620">
                      <a:extLst>
                        <a:ext uri="{FF2B5EF4-FFF2-40B4-BE49-F238E27FC236}">
                          <a16:creationId xmlns:a16="http://schemas.microsoft.com/office/drawing/2014/main" id="{148812E2-30BB-CE37-DC44-65E6266432D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22" name="Graphic 9621">
                      <a:extLst>
                        <a:ext uri="{FF2B5EF4-FFF2-40B4-BE49-F238E27FC236}">
                          <a16:creationId xmlns:a16="http://schemas.microsoft.com/office/drawing/2014/main" id="{5C74D39C-DCB3-C600-02AD-91D6488E89C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23" name="Graphic 9622">
                      <a:extLst>
                        <a:ext uri="{FF2B5EF4-FFF2-40B4-BE49-F238E27FC236}">
                          <a16:creationId xmlns:a16="http://schemas.microsoft.com/office/drawing/2014/main" id="{A830BA84-F6AC-BCF2-5387-AC551A0C427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24" name="Graphic 9623">
                      <a:extLst>
                        <a:ext uri="{FF2B5EF4-FFF2-40B4-BE49-F238E27FC236}">
                          <a16:creationId xmlns:a16="http://schemas.microsoft.com/office/drawing/2014/main" id="{DB470AC2-9FE6-A8CA-957E-2A623EA8ECB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25" name="Graphic 9624">
                      <a:extLst>
                        <a:ext uri="{FF2B5EF4-FFF2-40B4-BE49-F238E27FC236}">
                          <a16:creationId xmlns:a16="http://schemas.microsoft.com/office/drawing/2014/main" id="{DD385D5E-599B-B826-27D3-B80634EEEA4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26" name="Graphic 9625">
                      <a:extLst>
                        <a:ext uri="{FF2B5EF4-FFF2-40B4-BE49-F238E27FC236}">
                          <a16:creationId xmlns:a16="http://schemas.microsoft.com/office/drawing/2014/main" id="{9111B923-9A63-F166-9894-2494CEC756E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27" name="Graphic 9626">
                      <a:extLst>
                        <a:ext uri="{FF2B5EF4-FFF2-40B4-BE49-F238E27FC236}">
                          <a16:creationId xmlns:a16="http://schemas.microsoft.com/office/drawing/2014/main" id="{C25399C0-73C5-04BE-8990-84E45A181AA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28" name="Graphic 9627">
                      <a:extLst>
                        <a:ext uri="{FF2B5EF4-FFF2-40B4-BE49-F238E27FC236}">
                          <a16:creationId xmlns:a16="http://schemas.microsoft.com/office/drawing/2014/main" id="{6827E4C6-C72F-9ED3-8747-7A839F744A2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29" name="Graphic 9628">
                      <a:extLst>
                        <a:ext uri="{FF2B5EF4-FFF2-40B4-BE49-F238E27FC236}">
                          <a16:creationId xmlns:a16="http://schemas.microsoft.com/office/drawing/2014/main" id="{F1BD2AA4-E05A-DAF0-5ED5-09D3C2E0C05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30" name="Graphic 9629">
                      <a:extLst>
                        <a:ext uri="{FF2B5EF4-FFF2-40B4-BE49-F238E27FC236}">
                          <a16:creationId xmlns:a16="http://schemas.microsoft.com/office/drawing/2014/main" id="{3AD8BBF3-16DC-0FB8-91F6-08F4E4243F1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31" name="Graphic 9630">
                      <a:extLst>
                        <a:ext uri="{FF2B5EF4-FFF2-40B4-BE49-F238E27FC236}">
                          <a16:creationId xmlns:a16="http://schemas.microsoft.com/office/drawing/2014/main" id="{F29B44F1-E26F-BA83-C51D-6FA6E3F0D8E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655611" y="2662499"/>
                      <a:ext cx="678525" cy="64040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32" name="Graphic 9631">
                      <a:extLst>
                        <a:ext uri="{FF2B5EF4-FFF2-40B4-BE49-F238E27FC236}">
                          <a16:creationId xmlns:a16="http://schemas.microsoft.com/office/drawing/2014/main" id="{C5B5D1A9-C12F-211D-BB40-4C3EC66D63E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633" name="Graphic 9632">
                      <a:extLst>
                        <a:ext uri="{FF2B5EF4-FFF2-40B4-BE49-F238E27FC236}">
                          <a16:creationId xmlns:a16="http://schemas.microsoft.com/office/drawing/2014/main" id="{29845499-2802-2D1B-1CA1-38646700CE6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599" name="Graphic 9598">
                  <a:extLst>
                    <a:ext uri="{FF2B5EF4-FFF2-40B4-BE49-F238E27FC236}">
                      <a16:creationId xmlns:a16="http://schemas.microsoft.com/office/drawing/2014/main" id="{D761152F-E0FE-6585-85D6-D8C8CC5318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93910" y="389017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600" name="Graphic 9599">
                  <a:extLst>
                    <a:ext uri="{FF2B5EF4-FFF2-40B4-BE49-F238E27FC236}">
                      <a16:creationId xmlns:a16="http://schemas.microsoft.com/office/drawing/2014/main" id="{04A39460-53E4-781B-7DF6-9E66FC51574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4302" y="354249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601" name="Graphic 9600">
                  <a:extLst>
                    <a:ext uri="{FF2B5EF4-FFF2-40B4-BE49-F238E27FC236}">
                      <a16:creationId xmlns:a16="http://schemas.microsoft.com/office/drawing/2014/main" id="{0835E28E-5B66-E83E-9D8F-A32F244C259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465" y="295884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602" name="Graphic 9601">
                  <a:extLst>
                    <a:ext uri="{FF2B5EF4-FFF2-40B4-BE49-F238E27FC236}">
                      <a16:creationId xmlns:a16="http://schemas.microsoft.com/office/drawing/2014/main" id="{4678E3E5-83E4-63F7-4F30-7E6AF87905B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6642" y="383854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603" name="Graphic 9602">
                  <a:extLst>
                    <a:ext uri="{FF2B5EF4-FFF2-40B4-BE49-F238E27FC236}">
                      <a16:creationId xmlns:a16="http://schemas.microsoft.com/office/drawing/2014/main" id="{A00F8DD8-CF60-5025-D884-88E29F9227C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0116" y="3813531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604" name="Graphic 9603">
                  <a:extLst>
                    <a:ext uri="{FF2B5EF4-FFF2-40B4-BE49-F238E27FC236}">
                      <a16:creationId xmlns:a16="http://schemas.microsoft.com/office/drawing/2014/main" id="{370C7FDF-8988-0C0A-E72E-E81C7BF9F08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01552" y="3839088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605" name="Graphic 9604">
                  <a:extLst>
                    <a:ext uri="{FF2B5EF4-FFF2-40B4-BE49-F238E27FC236}">
                      <a16:creationId xmlns:a16="http://schemas.microsoft.com/office/drawing/2014/main" id="{C06C983E-8B74-DAE4-A388-E419E60E01A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523" y="27828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606" name="Graphic 9605">
                  <a:extLst>
                    <a:ext uri="{FF2B5EF4-FFF2-40B4-BE49-F238E27FC236}">
                      <a16:creationId xmlns:a16="http://schemas.microsoft.com/office/drawing/2014/main" id="{1359A76E-3990-F971-7C74-40DED647CD1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62313" y="3142793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607" name="Graphic 9606">
                  <a:extLst>
                    <a:ext uri="{FF2B5EF4-FFF2-40B4-BE49-F238E27FC236}">
                      <a16:creationId xmlns:a16="http://schemas.microsoft.com/office/drawing/2014/main" id="{970E4DC2-D86A-E7E1-228F-F8C20359A84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6188" y="3551116"/>
                  <a:ext cx="205440" cy="168807"/>
                </a:xfrm>
                <a:prstGeom prst="rect">
                  <a:avLst/>
                </a:prstGeom>
              </p:spPr>
            </p:pic>
            <p:pic>
              <p:nvPicPr>
                <p:cNvPr id="9608" name="Graphic 9607">
                  <a:extLst>
                    <a:ext uri="{FF2B5EF4-FFF2-40B4-BE49-F238E27FC236}">
                      <a16:creationId xmlns:a16="http://schemas.microsoft.com/office/drawing/2014/main" id="{5303BE73-12D4-B41F-75C6-704727B671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44966" y="2744422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609" name="Graphic 9608">
                  <a:extLst>
                    <a:ext uri="{FF2B5EF4-FFF2-40B4-BE49-F238E27FC236}">
                      <a16:creationId xmlns:a16="http://schemas.microsoft.com/office/drawing/2014/main" id="{03A5B153-ECAE-AEC5-2A2C-8A5B811BA3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5951506" y="4067096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610" name="Graphic 9609">
                  <a:extLst>
                    <a:ext uri="{FF2B5EF4-FFF2-40B4-BE49-F238E27FC236}">
                      <a16:creationId xmlns:a16="http://schemas.microsoft.com/office/drawing/2014/main" id="{851750A4-FE83-A9F5-427B-D90529BF76F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60423" y="396481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611" name="Graphic 9610">
                  <a:extLst>
                    <a:ext uri="{FF2B5EF4-FFF2-40B4-BE49-F238E27FC236}">
                      <a16:creationId xmlns:a16="http://schemas.microsoft.com/office/drawing/2014/main" id="{54521021-EB51-B038-CB53-B2487759E32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900000">
                  <a:off x="5752213" y="2756909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612" name="Graphic 9611">
                  <a:extLst>
                    <a:ext uri="{FF2B5EF4-FFF2-40B4-BE49-F238E27FC236}">
                      <a16:creationId xmlns:a16="http://schemas.microsoft.com/office/drawing/2014/main" id="{B3C63E9B-088C-494E-A26C-A10E7EAB85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5327" y="2687708"/>
                  <a:ext cx="249333" cy="204874"/>
                </a:xfrm>
                <a:prstGeom prst="rect">
                  <a:avLst/>
                </a:prstGeom>
              </p:spPr>
            </p:pic>
            <p:pic>
              <p:nvPicPr>
                <p:cNvPr id="9613" name="Graphic 9612">
                  <a:extLst>
                    <a:ext uri="{FF2B5EF4-FFF2-40B4-BE49-F238E27FC236}">
                      <a16:creationId xmlns:a16="http://schemas.microsoft.com/office/drawing/2014/main" id="{8383C403-396D-BC9B-9976-0813FCF235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7100000">
                  <a:off x="4860673" y="3370999"/>
                  <a:ext cx="249332" cy="204873"/>
                </a:xfrm>
                <a:prstGeom prst="rect">
                  <a:avLst/>
                </a:prstGeom>
              </p:spPr>
            </p:pic>
          </p:grpSp>
          <p:pic>
            <p:nvPicPr>
              <p:cNvPr id="9587" name="Graphic 9586">
                <a:extLst>
                  <a:ext uri="{FF2B5EF4-FFF2-40B4-BE49-F238E27FC236}">
                    <a16:creationId xmlns:a16="http://schemas.microsoft.com/office/drawing/2014/main" id="{5AE7EE5F-8576-755C-542C-12B467A46D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367900" y="222079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88" name="Graphic 9587">
                <a:extLst>
                  <a:ext uri="{FF2B5EF4-FFF2-40B4-BE49-F238E27FC236}">
                    <a16:creationId xmlns:a16="http://schemas.microsoft.com/office/drawing/2014/main" id="{44D17A10-27DC-5CAA-DC43-8EA713F1C1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3437218" y="268388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89" name="Graphic 9588">
                <a:extLst>
                  <a:ext uri="{FF2B5EF4-FFF2-40B4-BE49-F238E27FC236}">
                    <a16:creationId xmlns:a16="http://schemas.microsoft.com/office/drawing/2014/main" id="{3EF6B87F-0E59-05D9-45B4-2C98E30B52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28664" y="2636590"/>
                <a:ext cx="101873" cy="79842"/>
              </a:xfrm>
              <a:prstGeom prst="rect">
                <a:avLst/>
              </a:prstGeom>
            </p:spPr>
          </p:pic>
          <p:pic>
            <p:nvPicPr>
              <p:cNvPr id="9590" name="Graphic 9589">
                <a:extLst>
                  <a:ext uri="{FF2B5EF4-FFF2-40B4-BE49-F238E27FC236}">
                    <a16:creationId xmlns:a16="http://schemas.microsoft.com/office/drawing/2014/main" id="{9A05DF15-FA91-082E-FFE7-16F6587FD5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854762" y="2299145"/>
                <a:ext cx="137864" cy="108050"/>
              </a:xfrm>
              <a:prstGeom prst="rect">
                <a:avLst/>
              </a:prstGeom>
            </p:spPr>
          </p:pic>
          <p:pic>
            <p:nvPicPr>
              <p:cNvPr id="9591" name="Graphic 9590">
                <a:extLst>
                  <a:ext uri="{FF2B5EF4-FFF2-40B4-BE49-F238E27FC236}">
                    <a16:creationId xmlns:a16="http://schemas.microsoft.com/office/drawing/2014/main" id="{16073A60-429A-1580-6D5B-599F1E1CA0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4500000">
                <a:off x="3318467" y="2720703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92" name="Graphic 9591">
                <a:extLst>
                  <a:ext uri="{FF2B5EF4-FFF2-40B4-BE49-F238E27FC236}">
                    <a16:creationId xmlns:a16="http://schemas.microsoft.com/office/drawing/2014/main" id="{D03D282A-4249-EA6E-BC2F-3085A66756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3148110" y="2658937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93" name="Graphic 9592">
                <a:extLst>
                  <a:ext uri="{FF2B5EF4-FFF2-40B4-BE49-F238E27FC236}">
                    <a16:creationId xmlns:a16="http://schemas.microsoft.com/office/drawing/2014/main" id="{E911A240-C5BB-1597-3889-235D0AEF24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7200000">
                <a:off x="2988353" y="249155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94" name="Graphic 9593">
                <a:extLst>
                  <a:ext uri="{FF2B5EF4-FFF2-40B4-BE49-F238E27FC236}">
                    <a16:creationId xmlns:a16="http://schemas.microsoft.com/office/drawing/2014/main" id="{300A7BF9-4234-506B-0F59-9A26425CBA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800000">
                <a:off x="3058300" y="2618539"/>
                <a:ext cx="102863" cy="80618"/>
              </a:xfrm>
              <a:prstGeom prst="rect">
                <a:avLst/>
              </a:prstGeom>
            </p:spPr>
          </p:pic>
          <p:pic>
            <p:nvPicPr>
              <p:cNvPr id="9595" name="Graphic 9594">
                <a:extLst>
                  <a:ext uri="{FF2B5EF4-FFF2-40B4-BE49-F238E27FC236}">
                    <a16:creationId xmlns:a16="http://schemas.microsoft.com/office/drawing/2014/main" id="{93AB5B16-4F36-89D1-427A-BC3EDBC37C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700000">
                <a:off x="2920755" y="2403018"/>
                <a:ext cx="105240" cy="82481"/>
              </a:xfrm>
              <a:prstGeom prst="rect">
                <a:avLst/>
              </a:prstGeom>
            </p:spPr>
          </p:pic>
          <p:pic>
            <p:nvPicPr>
              <p:cNvPr id="9596" name="Graphic 9595">
                <a:extLst>
                  <a:ext uri="{FF2B5EF4-FFF2-40B4-BE49-F238E27FC236}">
                    <a16:creationId xmlns:a16="http://schemas.microsoft.com/office/drawing/2014/main" id="{E154F716-7B0A-74E2-06FC-BBE71C02B6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6595814">
                <a:off x="3023331" y="1988535"/>
                <a:ext cx="153350" cy="120187"/>
              </a:xfrm>
              <a:prstGeom prst="rect">
                <a:avLst/>
              </a:prstGeom>
            </p:spPr>
          </p:pic>
          <p:pic>
            <p:nvPicPr>
              <p:cNvPr id="9597" name="Graphic 9596">
                <a:extLst>
                  <a:ext uri="{FF2B5EF4-FFF2-40B4-BE49-F238E27FC236}">
                    <a16:creationId xmlns:a16="http://schemas.microsoft.com/office/drawing/2014/main" id="{41CDBAC4-95F5-0131-99E9-F3D625387F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561036" y="1828364"/>
                <a:ext cx="130304" cy="102125"/>
              </a:xfrm>
              <a:prstGeom prst="rect">
                <a:avLst/>
              </a:prstGeom>
            </p:spPr>
          </p:pic>
        </p:grpSp>
      </p:grpSp>
      <p:grpSp>
        <p:nvGrpSpPr>
          <p:cNvPr id="9634" name="Group 9633">
            <a:extLst>
              <a:ext uri="{FF2B5EF4-FFF2-40B4-BE49-F238E27FC236}">
                <a16:creationId xmlns:a16="http://schemas.microsoft.com/office/drawing/2014/main" id="{5911B75A-E1D3-2411-9A79-649748735775}"/>
              </a:ext>
            </a:extLst>
          </p:cNvPr>
          <p:cNvGrpSpPr/>
          <p:nvPr/>
        </p:nvGrpSpPr>
        <p:grpSpPr>
          <a:xfrm>
            <a:off x="4457057" y="1483964"/>
            <a:ext cx="4393675" cy="2159369"/>
            <a:chOff x="5686067" y="2291189"/>
            <a:chExt cx="5858233" cy="2879160"/>
          </a:xfrm>
        </p:grpSpPr>
        <p:grpSp>
          <p:nvGrpSpPr>
            <p:cNvPr id="9635" name="Group 9634">
              <a:extLst>
                <a:ext uri="{FF2B5EF4-FFF2-40B4-BE49-F238E27FC236}">
                  <a16:creationId xmlns:a16="http://schemas.microsoft.com/office/drawing/2014/main" id="{86FD228E-A66C-D19F-200D-62F6D32088CE}"/>
                </a:ext>
              </a:extLst>
            </p:cNvPr>
            <p:cNvGrpSpPr/>
            <p:nvPr/>
          </p:nvGrpSpPr>
          <p:grpSpPr>
            <a:xfrm>
              <a:off x="5686067" y="2291189"/>
              <a:ext cx="5858233" cy="2879160"/>
              <a:chOff x="5686067" y="2291189"/>
              <a:chExt cx="5858233" cy="2879160"/>
            </a:xfrm>
          </p:grpSpPr>
          <p:sp>
            <p:nvSpPr>
              <p:cNvPr id="9645" name="Freeform 1859">
                <a:extLst>
                  <a:ext uri="{FF2B5EF4-FFF2-40B4-BE49-F238E27FC236}">
                    <a16:creationId xmlns:a16="http://schemas.microsoft.com/office/drawing/2014/main" id="{1410199D-66B6-CC64-69BF-A490ED95783E}"/>
                  </a:ext>
                </a:extLst>
              </p:cNvPr>
              <p:cNvSpPr/>
              <p:nvPr/>
            </p:nvSpPr>
            <p:spPr>
              <a:xfrm>
                <a:off x="5686067" y="3224347"/>
                <a:ext cx="2946890" cy="1093831"/>
              </a:xfrm>
              <a:custGeom>
                <a:avLst/>
                <a:gdLst>
                  <a:gd name="connsiteX0" fmla="*/ 0 w 2336800"/>
                  <a:gd name="connsiteY0" fmla="*/ 474133 h 1210733"/>
                  <a:gd name="connsiteX1" fmla="*/ 2336800 w 2336800"/>
                  <a:gd name="connsiteY1" fmla="*/ 0 h 1210733"/>
                  <a:gd name="connsiteX2" fmla="*/ 2336800 w 2336800"/>
                  <a:gd name="connsiteY2" fmla="*/ 1210733 h 1210733"/>
                  <a:gd name="connsiteX3" fmla="*/ 0 w 2336800"/>
                  <a:gd name="connsiteY3" fmla="*/ 474133 h 1210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36800" h="1210733">
                    <a:moveTo>
                      <a:pt x="0" y="474133"/>
                    </a:moveTo>
                    <a:lnTo>
                      <a:pt x="2336800" y="0"/>
                    </a:lnTo>
                    <a:lnTo>
                      <a:pt x="2336800" y="1210733"/>
                    </a:lnTo>
                    <a:lnTo>
                      <a:pt x="0" y="474133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5">
                      <a:lumMod val="20000"/>
                      <a:lumOff val="80000"/>
                      <a:alpha val="50000"/>
                    </a:schemeClr>
                  </a:gs>
                  <a:gs pos="100000">
                    <a:srgbClr val="D1D7EE"/>
                  </a:gs>
                  <a:gs pos="66000">
                    <a:srgbClr val="D1D7EE">
                      <a:alpha val="25000"/>
                    </a:srgb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66">
                  <a:defRPr/>
                </a:pPr>
                <a:endParaRPr lang="en-US" sz="1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646" name="Rectangle 9645">
                <a:extLst>
                  <a:ext uri="{FF2B5EF4-FFF2-40B4-BE49-F238E27FC236}">
                    <a16:creationId xmlns:a16="http://schemas.microsoft.com/office/drawing/2014/main" id="{C89588EB-3B57-E9B1-CB2C-8CD91ECCB9A2}"/>
                  </a:ext>
                </a:extLst>
              </p:cNvPr>
              <p:cNvSpPr/>
              <p:nvPr/>
            </p:nvSpPr>
            <p:spPr>
              <a:xfrm>
                <a:off x="7246783" y="4554795"/>
                <a:ext cx="4297517" cy="6155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685766">
                  <a:defRPr/>
                </a:pPr>
                <a:r>
                  <a:rPr lang="de" sz="800">
                    <a:solidFill>
                      <a:srgbClr val="404040"/>
                    </a:solidFill>
                    <a:ea typeface="Arial"/>
                    <a:cs typeface="Arial"/>
                  </a:rPr>
                  <a:t>Als Reaktion auf steigende Glukosespiegel sezernieren</a:t>
                </a:r>
                <a:br>
                  <a:rPr sz="800"/>
                </a:br>
                <a:r>
                  <a:rPr lang="de" sz="800">
                    <a:solidFill>
                      <a:srgbClr val="404040"/>
                    </a:solidFill>
                    <a:ea typeface="Arial"/>
                    <a:cs typeface="Arial"/>
                  </a:rPr>
                  <a:t>Pankreas-Betazellen Insulin, um den</a:t>
                </a:r>
                <a:br>
                  <a:rPr sz="800"/>
                </a:br>
                <a:r>
                  <a:rPr lang="de" sz="800">
                    <a:solidFill>
                      <a:srgbClr val="404040"/>
                    </a:solidFill>
                    <a:ea typeface="Arial"/>
                    <a:cs typeface="Arial"/>
                  </a:rPr>
                  <a:t>Blutzuckerspiegel im Normalbereich zu halten.</a:t>
                </a:r>
                <a:endParaRPr lang="en-US" sz="800" baseline="30000">
                  <a:solidFill>
                    <a:srgbClr val="000000">
                      <a:lumMod val="75000"/>
                      <a:lumOff val="25000"/>
                    </a:srgbClr>
                  </a:solidFill>
                  <a:ea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647" name="Rectangle 9646">
                <a:extLst>
                  <a:ext uri="{FF2B5EF4-FFF2-40B4-BE49-F238E27FC236}">
                    <a16:creationId xmlns:a16="http://schemas.microsoft.com/office/drawing/2014/main" id="{AA3A613C-E318-281B-2A81-03C0B6DB4079}"/>
                  </a:ext>
                </a:extLst>
              </p:cNvPr>
              <p:cNvSpPr/>
              <p:nvPr/>
            </p:nvSpPr>
            <p:spPr>
              <a:xfrm>
                <a:off x="7608539" y="2291189"/>
                <a:ext cx="3342224" cy="34881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685766">
                  <a:defRPr/>
                </a:pPr>
                <a:r>
                  <a:rPr lang="de" sz="1100" b="1">
                    <a:solidFill>
                      <a:srgbClr val="7030A0"/>
                    </a:solidFill>
                    <a:ea typeface="Arial"/>
                    <a:cs typeface="Arial"/>
                  </a:rPr>
                  <a:t>PANKREATISCHE BETAZELLE</a:t>
                </a:r>
              </a:p>
            </p:txBody>
          </p:sp>
          <p:grpSp>
            <p:nvGrpSpPr>
              <p:cNvPr id="9648" name="Group 9647">
                <a:extLst>
                  <a:ext uri="{FF2B5EF4-FFF2-40B4-BE49-F238E27FC236}">
                    <a16:creationId xmlns:a16="http://schemas.microsoft.com/office/drawing/2014/main" id="{5D1390EF-13CB-833C-9BA3-5D4E4F9AF9A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069152" y="2712157"/>
                <a:ext cx="2507267" cy="1796999"/>
                <a:chOff x="6572935" y="1217200"/>
                <a:chExt cx="2652614" cy="1901171"/>
              </a:xfrm>
            </p:grpSpPr>
            <p:pic>
              <p:nvPicPr>
                <p:cNvPr id="9649" name="Graphic 9648">
                  <a:extLst>
                    <a:ext uri="{FF2B5EF4-FFF2-40B4-BE49-F238E27FC236}">
                      <a16:creationId xmlns:a16="http://schemas.microsoft.com/office/drawing/2014/main" id="{4D00D5F0-BE44-ADED-699D-185C6F72BDB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572935" y="1687564"/>
                  <a:ext cx="1673758" cy="1317234"/>
                </a:xfrm>
                <a:prstGeom prst="rect">
                  <a:avLst/>
                </a:prstGeom>
              </p:spPr>
            </p:pic>
            <p:grpSp>
              <p:nvGrpSpPr>
                <p:cNvPr id="9650" name="Group 9649">
                  <a:extLst>
                    <a:ext uri="{FF2B5EF4-FFF2-40B4-BE49-F238E27FC236}">
                      <a16:creationId xmlns:a16="http://schemas.microsoft.com/office/drawing/2014/main" id="{88EFD3A1-E83C-0ADB-93BD-A0AA16097B33}"/>
                    </a:ext>
                  </a:extLst>
                </p:cNvPr>
                <p:cNvGrpSpPr/>
                <p:nvPr/>
              </p:nvGrpSpPr>
              <p:grpSpPr>
                <a:xfrm>
                  <a:off x="6695837" y="1685223"/>
                  <a:ext cx="2529712" cy="1433148"/>
                  <a:chOff x="5539659" y="1710373"/>
                  <a:chExt cx="2529712" cy="1433148"/>
                </a:xfrm>
              </p:grpSpPr>
              <p:grpSp>
                <p:nvGrpSpPr>
                  <p:cNvPr id="9652" name="Group 9651">
                    <a:extLst>
                      <a:ext uri="{FF2B5EF4-FFF2-40B4-BE49-F238E27FC236}">
                        <a16:creationId xmlns:a16="http://schemas.microsoft.com/office/drawing/2014/main" id="{E358ED08-F701-9D75-3FD5-53BFABEC5829}"/>
                      </a:ext>
                    </a:extLst>
                  </p:cNvPr>
                  <p:cNvGrpSpPr/>
                  <p:nvPr/>
                </p:nvGrpSpPr>
                <p:grpSpPr>
                  <a:xfrm>
                    <a:off x="5539659" y="1710373"/>
                    <a:ext cx="2417010" cy="1433148"/>
                    <a:chOff x="7866235" y="1604090"/>
                    <a:chExt cx="2417010" cy="1433148"/>
                  </a:xfrm>
                </p:grpSpPr>
                <p:grpSp>
                  <p:nvGrpSpPr>
                    <p:cNvPr id="9656" name="Group 9655">
                      <a:extLst>
                        <a:ext uri="{FF2B5EF4-FFF2-40B4-BE49-F238E27FC236}">
                          <a16:creationId xmlns:a16="http://schemas.microsoft.com/office/drawing/2014/main" id="{E6B852CA-6CC5-38C3-757D-4833A2C7633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215393" y="1604090"/>
                      <a:ext cx="1067852" cy="972749"/>
                      <a:chOff x="15444524" y="2361975"/>
                      <a:chExt cx="1736229" cy="1658173"/>
                    </a:xfrm>
                  </p:grpSpPr>
                  <p:sp>
                    <p:nvSpPr>
                      <p:cNvPr id="9664" name="Rectangle 9663">
                        <a:extLst>
                          <a:ext uri="{FF2B5EF4-FFF2-40B4-BE49-F238E27FC236}">
                            <a16:creationId xmlns:a16="http://schemas.microsoft.com/office/drawing/2014/main" id="{631E9CA6-CE7E-33A0-AE61-65396D6B95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44524" y="2361975"/>
                        <a:ext cx="1736229" cy="518055"/>
                      </a:xfrm>
                      <a:prstGeom prst="rect">
                        <a:avLst/>
                      </a:prstGeom>
                    </p:spPr>
                    <p:txBody>
                      <a:bodyPr wrap="square">
                        <a:spAutoFit/>
                      </a:bodyPr>
                      <a:lstStyle/>
                      <a:p>
                        <a:pPr defTabSz="685766">
                          <a:defRPr/>
                        </a:pPr>
                        <a:r>
                          <a:rPr lang="de" sz="800">
                            <a:solidFill>
                              <a:srgbClr val="404040"/>
                            </a:solidFill>
                            <a:ea typeface="Arial"/>
                            <a:cs typeface="Arial"/>
                          </a:rPr>
                          <a:t>Glukose</a:t>
                        </a:r>
                      </a:p>
                    </p:txBody>
                  </p:sp>
                  <p:sp>
                    <p:nvSpPr>
                      <p:cNvPr id="9665" name="Rectangle 9664">
                        <a:extLst>
                          <a:ext uri="{FF2B5EF4-FFF2-40B4-BE49-F238E27FC236}">
                            <a16:creationId xmlns:a16="http://schemas.microsoft.com/office/drawing/2014/main" id="{07A9DBB8-9849-2DD6-0648-5FB6476D3A0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839129" y="3502093"/>
                        <a:ext cx="1297672" cy="518055"/>
                      </a:xfrm>
                      <a:prstGeom prst="rect">
                        <a:avLst/>
                      </a:prstGeom>
                    </p:spPr>
                    <p:txBody>
                      <a:bodyPr wrap="square">
                        <a:spAutoFit/>
                      </a:bodyPr>
                      <a:lstStyle/>
                      <a:p>
                        <a:pPr algn="ctr" defTabSz="685766">
                          <a:defRPr/>
                        </a:pPr>
                        <a:r>
                          <a:rPr lang="de" sz="800">
                            <a:solidFill>
                              <a:srgbClr val="404040"/>
                            </a:solidFill>
                            <a:ea typeface="Arial"/>
                            <a:cs typeface="Arial"/>
                          </a:rPr>
                          <a:t>Insulin</a:t>
                        </a:r>
                      </a:p>
                    </p:txBody>
                  </p:sp>
                </p:grpSp>
                <p:grpSp>
                  <p:nvGrpSpPr>
                    <p:cNvPr id="9657" name="Group 9656">
                      <a:extLst>
                        <a:ext uri="{FF2B5EF4-FFF2-40B4-BE49-F238E27FC236}">
                          <a16:creationId xmlns:a16="http://schemas.microsoft.com/office/drawing/2014/main" id="{FBFA33E7-9FB1-2BA1-1665-985A1BAA1DB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866235" y="2149480"/>
                      <a:ext cx="1864857" cy="887758"/>
                      <a:chOff x="7866235" y="2149480"/>
                      <a:chExt cx="1864857" cy="887758"/>
                    </a:xfrm>
                  </p:grpSpPr>
                  <p:pic>
                    <p:nvPicPr>
                      <p:cNvPr id="9658" name="Graphic 891">
                        <a:extLst>
                          <a:ext uri="{FF2B5EF4-FFF2-40B4-BE49-F238E27FC236}">
                            <a16:creationId xmlns:a16="http://schemas.microsoft.com/office/drawing/2014/main" id="{FAE49164-A76F-2E21-EACF-474E2B66FBDD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 rot="1470927">
                        <a:off x="9344129" y="2739760"/>
                        <a:ext cx="386963" cy="297478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9659" name="Graphic 892">
                        <a:extLst>
                          <a:ext uri="{FF2B5EF4-FFF2-40B4-BE49-F238E27FC236}">
                            <a16:creationId xmlns:a16="http://schemas.microsoft.com/office/drawing/2014/main" id="{48CE7391-977F-EF7D-879A-3ABAE959094A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 rot="1470927">
                        <a:off x="7868400" y="2403850"/>
                        <a:ext cx="386963" cy="297478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9660" name="Graphic 893">
                        <a:extLst>
                          <a:ext uri="{FF2B5EF4-FFF2-40B4-BE49-F238E27FC236}">
                            <a16:creationId xmlns:a16="http://schemas.microsoft.com/office/drawing/2014/main" id="{F7A8DF44-6625-47E0-093F-756215F3BA86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 rot="1470927">
                        <a:off x="8896545" y="2415315"/>
                        <a:ext cx="386963" cy="297478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9661" name="Graphic 894">
                        <a:extLst>
                          <a:ext uri="{FF2B5EF4-FFF2-40B4-BE49-F238E27FC236}">
                            <a16:creationId xmlns:a16="http://schemas.microsoft.com/office/drawing/2014/main" id="{360F8830-BA09-92B6-5321-18A29748EC78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 rot="10800000">
                        <a:off x="8128430" y="2605458"/>
                        <a:ext cx="386963" cy="297478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9662" name="Graphic 895">
                        <a:extLst>
                          <a:ext uri="{FF2B5EF4-FFF2-40B4-BE49-F238E27FC236}">
                            <a16:creationId xmlns:a16="http://schemas.microsoft.com/office/drawing/2014/main" id="{D66E9F66-3356-1D9D-8E29-AF0608B15476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 rot="12629067">
                        <a:off x="7866235" y="2149480"/>
                        <a:ext cx="386963" cy="297478"/>
                      </a:xfrm>
                      <a:prstGeom prst="rect">
                        <a:avLst/>
                      </a:prstGeom>
                    </p:spPr>
                  </p:pic>
                  <p:cxnSp>
                    <p:nvCxnSpPr>
                      <p:cNvPr id="9663" name="Straight Arrow Connector 9662">
                        <a:extLst>
                          <a:ext uri="{FF2B5EF4-FFF2-40B4-BE49-F238E27FC236}">
                            <a16:creationId xmlns:a16="http://schemas.microsoft.com/office/drawing/2014/main" id="{AC801A1A-DC28-38E0-5731-6F9F0C9A4672}"/>
                          </a:ext>
                        </a:extLst>
                      </p:cNvPr>
                      <p:cNvCxnSpPr/>
                      <p:nvPr/>
                    </p:nvCxnSpPr>
                    <p:spPr>
                      <a:xfrm>
                        <a:off x="8892974" y="2691180"/>
                        <a:ext cx="390551" cy="162641"/>
                      </a:xfrm>
                      <a:prstGeom prst="straightConnector1">
                        <a:avLst/>
                      </a:prstGeom>
                      <a:ln w="28575">
                        <a:solidFill>
                          <a:srgbClr val="7967BE"/>
                        </a:solidFill>
                        <a:prstDash val="solid"/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pic>
                <p:nvPicPr>
                  <p:cNvPr id="9653" name="Graphic 898">
                    <a:extLst>
                      <a:ext uri="{FF2B5EF4-FFF2-40B4-BE49-F238E27FC236}">
                        <a16:creationId xmlns:a16="http://schemas.microsoft.com/office/drawing/2014/main" id="{12EB7A49-73BD-8090-DF23-D2F90084813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 rot="1470927">
                    <a:off x="7682408" y="2674395"/>
                    <a:ext cx="386963" cy="297478"/>
                  </a:xfrm>
                  <a:prstGeom prst="rect">
                    <a:avLst/>
                  </a:prstGeom>
                </p:spPr>
              </p:pic>
              <p:pic>
                <p:nvPicPr>
                  <p:cNvPr id="9654" name="Graphic 899">
                    <a:extLst>
                      <a:ext uri="{FF2B5EF4-FFF2-40B4-BE49-F238E27FC236}">
                        <a16:creationId xmlns:a16="http://schemas.microsoft.com/office/drawing/2014/main" id="{9D68F12F-4F03-8614-7909-2635BCBFCC9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 rot="1470927">
                    <a:off x="7453735" y="2841456"/>
                    <a:ext cx="386963" cy="297478"/>
                  </a:xfrm>
                  <a:prstGeom prst="rect">
                    <a:avLst/>
                  </a:prstGeom>
                </p:spPr>
              </p:pic>
              <p:pic>
                <p:nvPicPr>
                  <p:cNvPr id="9655" name="Graphic 900">
                    <a:extLst>
                      <a:ext uri="{FF2B5EF4-FFF2-40B4-BE49-F238E27FC236}">
                        <a16:creationId xmlns:a16="http://schemas.microsoft.com/office/drawing/2014/main" id="{E04266DC-AF65-E808-D93F-29A6F62CCED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 rot="1470927">
                    <a:off x="7181443" y="2622625"/>
                    <a:ext cx="386963" cy="297478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9651" name="Graphic 9650">
                  <a:extLst>
                    <a:ext uri="{FF2B5EF4-FFF2-40B4-BE49-F238E27FC236}">
                      <a16:creationId xmlns:a16="http://schemas.microsoft.com/office/drawing/2014/main" id="{A36A8948-51A7-E3F7-36B7-3842989C45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rcRect l="8637" r="11138" b="21020"/>
                <a:stretch>
                  <a:fillRect/>
                </a:stretch>
              </p:blipFill>
              <p:spPr>
                <a:xfrm>
                  <a:off x="7442068" y="1217200"/>
                  <a:ext cx="330997" cy="325862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9636" name="Group 9635">
              <a:extLst>
                <a:ext uri="{FF2B5EF4-FFF2-40B4-BE49-F238E27FC236}">
                  <a16:creationId xmlns:a16="http://schemas.microsoft.com/office/drawing/2014/main" id="{832250E2-5F6E-90CE-876F-7275C06E981F}"/>
                </a:ext>
              </a:extLst>
            </p:cNvPr>
            <p:cNvGrpSpPr/>
            <p:nvPr/>
          </p:nvGrpSpPr>
          <p:grpSpPr>
            <a:xfrm rot="1234692">
              <a:off x="9183011" y="3027893"/>
              <a:ext cx="161954" cy="373458"/>
              <a:chOff x="8428049" y="1628270"/>
              <a:chExt cx="216569" cy="499399"/>
            </a:xfrm>
          </p:grpSpPr>
          <p:grpSp>
            <p:nvGrpSpPr>
              <p:cNvPr id="9641" name="Group 9640">
                <a:extLst>
                  <a:ext uri="{FF2B5EF4-FFF2-40B4-BE49-F238E27FC236}">
                    <a16:creationId xmlns:a16="http://schemas.microsoft.com/office/drawing/2014/main" id="{7B97789E-9014-8833-D974-D490D741B617}"/>
                  </a:ext>
                </a:extLst>
              </p:cNvPr>
              <p:cNvGrpSpPr/>
              <p:nvPr/>
            </p:nvGrpSpPr>
            <p:grpSpPr>
              <a:xfrm>
                <a:off x="8487297" y="1827898"/>
                <a:ext cx="102707" cy="299771"/>
                <a:chOff x="8164565" y="1192696"/>
                <a:chExt cx="102707" cy="299771"/>
              </a:xfrm>
            </p:grpSpPr>
            <p:sp>
              <p:nvSpPr>
                <p:cNvPr id="9643" name="Oval 9642">
                  <a:extLst>
                    <a:ext uri="{FF2B5EF4-FFF2-40B4-BE49-F238E27FC236}">
                      <a16:creationId xmlns:a16="http://schemas.microsoft.com/office/drawing/2014/main" id="{52860E55-8E24-FA83-05B4-E1270ED5451A}"/>
                    </a:ext>
                  </a:extLst>
                </p:cNvPr>
                <p:cNvSpPr/>
                <p:nvPr/>
              </p:nvSpPr>
              <p:spPr>
                <a:xfrm>
                  <a:off x="8164565" y="1192696"/>
                  <a:ext cx="45719" cy="299771"/>
                </a:xfrm>
                <a:prstGeom prst="ellipse">
                  <a:avLst/>
                </a:prstGeom>
                <a:solidFill>
                  <a:srgbClr val="5969B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766">
                    <a:defRPr/>
                  </a:pPr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644" name="Oval 9643">
                  <a:extLst>
                    <a:ext uri="{FF2B5EF4-FFF2-40B4-BE49-F238E27FC236}">
                      <a16:creationId xmlns:a16="http://schemas.microsoft.com/office/drawing/2014/main" id="{EC3D5E6E-0D18-EDAA-9E7E-2EA68FE0D023}"/>
                    </a:ext>
                  </a:extLst>
                </p:cNvPr>
                <p:cNvSpPr/>
                <p:nvPr/>
              </p:nvSpPr>
              <p:spPr>
                <a:xfrm>
                  <a:off x="8221553" y="1192696"/>
                  <a:ext cx="45719" cy="299771"/>
                </a:xfrm>
                <a:prstGeom prst="ellipse">
                  <a:avLst/>
                </a:prstGeom>
                <a:solidFill>
                  <a:srgbClr val="5969B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766">
                    <a:defRPr/>
                  </a:pPr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9642" name="Block Arc 9641">
                <a:extLst>
                  <a:ext uri="{FF2B5EF4-FFF2-40B4-BE49-F238E27FC236}">
                    <a16:creationId xmlns:a16="http://schemas.microsoft.com/office/drawing/2014/main" id="{C02D22BA-208C-4904-DCD7-1BC1B0693E0E}"/>
                  </a:ext>
                </a:extLst>
              </p:cNvPr>
              <p:cNvSpPr/>
              <p:nvPr/>
            </p:nvSpPr>
            <p:spPr>
              <a:xfrm rot="10800000">
                <a:off x="8428049" y="1628270"/>
                <a:ext cx="216569" cy="216569"/>
              </a:xfrm>
              <a:prstGeom prst="blockArc">
                <a:avLst>
                  <a:gd name="adj1" fmla="val 10800000"/>
                  <a:gd name="adj2" fmla="val 151435"/>
                  <a:gd name="adj3" fmla="val 13811"/>
                </a:avLst>
              </a:prstGeom>
              <a:solidFill>
                <a:srgbClr val="5969B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9637" name="Graphic 9636">
              <a:extLst>
                <a:ext uri="{FF2B5EF4-FFF2-40B4-BE49-F238E27FC236}">
                  <a16:creationId xmlns:a16="http://schemas.microsoft.com/office/drawing/2014/main" id="{D5BD84DA-5590-9ADC-FABB-62478FBBAB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l="8637" r="11138" b="21020"/>
            <a:stretch>
              <a:fillRect/>
            </a:stretch>
          </p:blipFill>
          <p:spPr>
            <a:xfrm>
              <a:off x="9256548" y="2707885"/>
              <a:ext cx="208547" cy="205312"/>
            </a:xfrm>
            <a:prstGeom prst="rect">
              <a:avLst/>
            </a:prstGeom>
          </p:spPr>
        </p:pic>
        <p:pic>
          <p:nvPicPr>
            <p:cNvPr id="9638" name="Graphic 9637">
              <a:extLst>
                <a:ext uri="{FF2B5EF4-FFF2-40B4-BE49-F238E27FC236}">
                  <a16:creationId xmlns:a16="http://schemas.microsoft.com/office/drawing/2014/main" id="{C5B682DD-0163-1F93-B665-77C19F533C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l="8637" r="11138" b="21020"/>
            <a:stretch>
              <a:fillRect/>
            </a:stretch>
          </p:blipFill>
          <p:spPr>
            <a:xfrm>
              <a:off x="9578037" y="2684396"/>
              <a:ext cx="259712" cy="255684"/>
            </a:xfrm>
            <a:prstGeom prst="rect">
              <a:avLst/>
            </a:prstGeom>
          </p:spPr>
        </p:pic>
        <p:sp>
          <p:nvSpPr>
            <p:cNvPr id="9639" name="Arc 9638">
              <a:extLst>
                <a:ext uri="{FF2B5EF4-FFF2-40B4-BE49-F238E27FC236}">
                  <a16:creationId xmlns:a16="http://schemas.microsoft.com/office/drawing/2014/main" id="{845BA4BA-DACB-DF18-23FE-26100C720CCA}"/>
                </a:ext>
              </a:extLst>
            </p:cNvPr>
            <p:cNvSpPr/>
            <p:nvPr/>
          </p:nvSpPr>
          <p:spPr>
            <a:xfrm>
              <a:off x="9073220" y="2933962"/>
              <a:ext cx="224687" cy="340831"/>
            </a:xfrm>
            <a:prstGeom prst="arc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766">
                <a:defRPr/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pic>
          <p:nvPicPr>
            <p:cNvPr id="9640" name="Graphic 9639">
              <a:extLst>
                <a:ext uri="{FF2B5EF4-FFF2-40B4-BE49-F238E27FC236}">
                  <a16:creationId xmlns:a16="http://schemas.microsoft.com/office/drawing/2014/main" id="{50B1AEF7-01CA-DE23-8E19-CB8FEDC377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l="8637" r="11138" b="21020"/>
            <a:stretch>
              <a:fillRect/>
            </a:stretch>
          </p:blipFill>
          <p:spPr>
            <a:xfrm>
              <a:off x="9391487" y="2874972"/>
              <a:ext cx="312860" cy="308007"/>
            </a:xfrm>
            <a:prstGeom prst="rect">
              <a:avLst/>
            </a:prstGeom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850CFE1-98E7-C656-E178-BC07A10D3D8A}"/>
              </a:ext>
            </a:extLst>
          </p:cNvPr>
          <p:cNvSpPr txBox="1"/>
          <p:nvPr/>
        </p:nvSpPr>
        <p:spPr>
          <a:xfrm>
            <a:off x="344803" y="4911675"/>
            <a:ext cx="7676598" cy="18466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685766">
              <a:buClr>
                <a:srgbClr val="2F4B95"/>
              </a:buClr>
              <a:defRPr/>
            </a:pP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1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Moede T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et al. Diabetologie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2020; 63: 2064–75.</a:t>
            </a:r>
            <a:endParaRPr lang="en-US" sz="600" dirty="0">
              <a:solidFill>
                <a:srgbClr val="404040"/>
              </a:solidFill>
            </a:endParaRPr>
          </a:p>
        </p:txBody>
      </p:sp>
      <p:sp>
        <p:nvSpPr>
          <p:cNvPr id="6" name="TextBox 28">
            <a:extLst>
              <a:ext uri="{FF2B5EF4-FFF2-40B4-BE49-F238E27FC236}">
                <a16:creationId xmlns:a16="http://schemas.microsoft.com/office/drawing/2014/main" id="{46F9F800-F14A-C935-AD84-C733CE9A3259}"/>
              </a:ext>
            </a:extLst>
          </p:cNvPr>
          <p:cNvSpPr txBox="1"/>
          <p:nvPr/>
        </p:nvSpPr>
        <p:spPr>
          <a:xfrm>
            <a:off x="398272" y="4525736"/>
            <a:ext cx="6429375" cy="2000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b">
            <a:spAutoFit/>
          </a:bodyPr>
          <a:lstStyle/>
          <a:p>
            <a:pPr defTabSz="514337">
              <a:spcAft>
                <a:spcPts val="338"/>
              </a:spcAft>
            </a:pPr>
            <a:r>
              <a:rPr lang="de" sz="70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404040"/>
                </a:solidFill>
                <a:ea typeface="Arial"/>
              </a:rPr>
              <a:t>Hinweis: Abbildung ist ein Beispiel für Veranschaulichungszwecke.</a:t>
            </a:r>
          </a:p>
        </p:txBody>
      </p:sp>
    </p:spTree>
    <p:extLst>
      <p:ext uri="{BB962C8B-B14F-4D97-AF65-F5344CB8AC3E}">
        <p14:creationId xmlns:p14="http://schemas.microsoft.com/office/powerpoint/2010/main" val="244141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5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6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7" name="Title 3">
            <a:extLst>
              <a:ext uri="{FF2B5EF4-FFF2-40B4-BE49-F238E27FC236}">
                <a16:creationId xmlns:a16="http://schemas.microsoft.com/office/drawing/2014/main" id="{A33C7F0C-52BA-9612-5D32-BC7B22B0F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531" y="130748"/>
            <a:ext cx="8485200" cy="654326"/>
          </a:xfrm>
        </p:spPr>
        <p:txBody>
          <a:bodyPr/>
          <a:lstStyle/>
          <a:p>
            <a:pPr defTabSz="914400" fontAlgn="base">
              <a:spcAft>
                <a:spcPct val="0"/>
              </a:spcAft>
              <a:defRPr/>
            </a:pPr>
            <a:r>
              <a:rPr lang="de" sz="2000" b="1" dirty="0">
                <a:solidFill>
                  <a:srgbClr val="7030A0"/>
                </a:solidFill>
                <a:latin typeface="+mj-lt"/>
                <a:cs typeface="+mn-cs"/>
              </a:rPr>
              <a:t>Autoimmunität führt zu Betazelldysfunktion und </a:t>
            </a:r>
            <a:br>
              <a:rPr lang="de" sz="2000" b="1" dirty="0">
                <a:solidFill>
                  <a:srgbClr val="7030A0"/>
                </a:solidFill>
                <a:latin typeface="+mj-lt"/>
                <a:cs typeface="+mn-cs"/>
              </a:rPr>
            </a:br>
            <a:r>
              <a:rPr lang="de" sz="2000" b="1" dirty="0">
                <a:solidFill>
                  <a:srgbClr val="7030A0"/>
                </a:solidFill>
                <a:latin typeface="+mj-lt"/>
                <a:cs typeface="+mn-cs"/>
              </a:rPr>
              <a:t>-zerstörung und dem Bedarf an exogenem Insulin</a:t>
            </a:r>
            <a:r>
              <a:rPr lang="de" sz="2000" b="1" baseline="30000" dirty="0">
                <a:solidFill>
                  <a:srgbClr val="7030A0"/>
                </a:solidFill>
                <a:latin typeface="+mj-lt"/>
                <a:cs typeface="+mn-cs"/>
              </a:rPr>
              <a:t>1</a:t>
            </a:r>
          </a:p>
        </p:txBody>
      </p:sp>
      <p:sp>
        <p:nvSpPr>
          <p:cNvPr id="1843" name="Slide Number Placeholder 2">
            <a:extLst>
              <a:ext uri="{FF2B5EF4-FFF2-40B4-BE49-F238E27FC236}">
                <a16:creationId xmlns:a16="http://schemas.microsoft.com/office/drawing/2014/main" id="{CFC2D2C8-DCD1-B34D-AAC1-AD2540A2453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66">
              <a:defRPr/>
            </a:pPr>
            <a:fld id="{4079571C-DD28-D046-9DDE-921CDB09D6DA}" type="slidenum">
              <a:rPr lang="en-US" smtClean="0"/>
              <a:pPr defTabSz="685766">
                <a:defRPr/>
              </a:pPr>
              <a:t>8</a:t>
            </a:fld>
            <a:endParaRPr lang="en-US" sz="600">
              <a:solidFill>
                <a:srgbClr val="2198DD"/>
              </a:solidFill>
            </a:endParaRPr>
          </a:p>
        </p:txBody>
      </p:sp>
      <p:sp>
        <p:nvSpPr>
          <p:cNvPr id="3038" name="TextBox 3037">
            <a:extLst>
              <a:ext uri="{FF2B5EF4-FFF2-40B4-BE49-F238E27FC236}">
                <a16:creationId xmlns:a16="http://schemas.microsoft.com/office/drawing/2014/main" id="{0488B938-E695-7308-6152-7C01333DFB64}"/>
              </a:ext>
            </a:extLst>
          </p:cNvPr>
          <p:cNvSpPr txBox="1"/>
          <p:nvPr/>
        </p:nvSpPr>
        <p:spPr>
          <a:xfrm>
            <a:off x="387531" y="4829594"/>
            <a:ext cx="6907466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685766">
              <a:buClr>
                <a:srgbClr val="2F4B95"/>
              </a:buClr>
              <a:defRPr/>
            </a:pPr>
            <a:br>
              <a:rPr sz="600" dirty="0">
                <a:solidFill>
                  <a:srgbClr val="404040"/>
                </a:solidFill>
              </a:rPr>
            </a:b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1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van Belle TL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et al. Physiole Rev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2011; 91: 79–118. </a:t>
            </a: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2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Moede T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et al. Diabetologie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2020; 63: 2064–75.</a:t>
            </a:r>
            <a:endParaRPr lang="en-US" sz="600" dirty="0">
              <a:solidFill>
                <a:srgbClr val="404040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D839A31-3ACA-C226-8BA9-5F3C055B1FA7}"/>
              </a:ext>
            </a:extLst>
          </p:cNvPr>
          <p:cNvGrpSpPr/>
          <p:nvPr/>
        </p:nvGrpSpPr>
        <p:grpSpPr>
          <a:xfrm>
            <a:off x="668704" y="2083869"/>
            <a:ext cx="1877592" cy="1042408"/>
            <a:chOff x="255881" y="3200130"/>
            <a:chExt cx="1984105" cy="1101542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A4C2CDE-B05B-355F-D9A0-1A87A60A72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881" y="3200130"/>
              <a:ext cx="1984105" cy="1101542"/>
            </a:xfrm>
            <a:prstGeom prst="rect">
              <a:avLst/>
            </a:prstGeom>
          </p:spPr>
        </p:pic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93289D16-2BEE-6263-AAD6-82822C0BEABB}"/>
                </a:ext>
              </a:extLst>
            </p:cNvPr>
            <p:cNvGrpSpPr/>
            <p:nvPr/>
          </p:nvGrpSpPr>
          <p:grpSpPr>
            <a:xfrm>
              <a:off x="1481714" y="3666619"/>
              <a:ext cx="135763" cy="134108"/>
              <a:chOff x="5071590" y="2724817"/>
              <a:chExt cx="1901239" cy="1655213"/>
            </a:xfrm>
          </p:grpSpPr>
          <p:grpSp>
            <p:nvGrpSpPr>
              <p:cNvPr id="3675" name="Group 3674">
                <a:extLst>
                  <a:ext uri="{FF2B5EF4-FFF2-40B4-BE49-F238E27FC236}">
                    <a16:creationId xmlns:a16="http://schemas.microsoft.com/office/drawing/2014/main" id="{D12E8E75-6D21-0111-33AC-66FF665FA683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680" name="Group 3679">
                  <a:extLst>
                    <a:ext uri="{FF2B5EF4-FFF2-40B4-BE49-F238E27FC236}">
                      <a16:creationId xmlns:a16="http://schemas.microsoft.com/office/drawing/2014/main" id="{4C6EFBD5-8FE8-86ED-770A-5BBFF1479CFE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694" name="Oval 3693">
                    <a:extLst>
                      <a:ext uri="{FF2B5EF4-FFF2-40B4-BE49-F238E27FC236}">
                        <a16:creationId xmlns:a16="http://schemas.microsoft.com/office/drawing/2014/main" id="{55EAE3F3-5709-DEB8-879A-AF4C2E76150F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695" name="Group 3694">
                    <a:extLst>
                      <a:ext uri="{FF2B5EF4-FFF2-40B4-BE49-F238E27FC236}">
                        <a16:creationId xmlns:a16="http://schemas.microsoft.com/office/drawing/2014/main" id="{E81476AD-2DC4-946D-1AC5-780375FC8906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696" name="Graphic 3695">
                      <a:extLst>
                        <a:ext uri="{FF2B5EF4-FFF2-40B4-BE49-F238E27FC236}">
                          <a16:creationId xmlns:a16="http://schemas.microsoft.com/office/drawing/2014/main" id="{D71B58BB-EA2D-C241-2322-2BE92563617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97" name="Graphic 3696">
                      <a:extLst>
                        <a:ext uri="{FF2B5EF4-FFF2-40B4-BE49-F238E27FC236}">
                          <a16:creationId xmlns:a16="http://schemas.microsoft.com/office/drawing/2014/main" id="{53D164DF-E334-D6E5-E830-58A15AF2CC6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98" name="Graphic 3697">
                      <a:extLst>
                        <a:ext uri="{FF2B5EF4-FFF2-40B4-BE49-F238E27FC236}">
                          <a16:creationId xmlns:a16="http://schemas.microsoft.com/office/drawing/2014/main" id="{BA72A8B5-47BE-6898-142B-61936EE0B13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99" name="Graphic 3698">
                      <a:extLst>
                        <a:ext uri="{FF2B5EF4-FFF2-40B4-BE49-F238E27FC236}">
                          <a16:creationId xmlns:a16="http://schemas.microsoft.com/office/drawing/2014/main" id="{00CBC72C-BA08-33CA-F0CC-85ED72E2A11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00" name="Graphic 3699">
                      <a:extLst>
                        <a:ext uri="{FF2B5EF4-FFF2-40B4-BE49-F238E27FC236}">
                          <a16:creationId xmlns:a16="http://schemas.microsoft.com/office/drawing/2014/main" id="{3EB12201-DFFC-F6A8-31D1-801CDC7A363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01" name="Graphic 3700">
                      <a:extLst>
                        <a:ext uri="{FF2B5EF4-FFF2-40B4-BE49-F238E27FC236}">
                          <a16:creationId xmlns:a16="http://schemas.microsoft.com/office/drawing/2014/main" id="{17FDA0F6-C3E5-B14A-0417-5333045FD69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02" name="Graphic 3701">
                      <a:extLst>
                        <a:ext uri="{FF2B5EF4-FFF2-40B4-BE49-F238E27FC236}">
                          <a16:creationId xmlns:a16="http://schemas.microsoft.com/office/drawing/2014/main" id="{5C70EB62-AFA1-6D3C-0921-94188BAF9B5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03" name="Graphic 3702">
                      <a:extLst>
                        <a:ext uri="{FF2B5EF4-FFF2-40B4-BE49-F238E27FC236}">
                          <a16:creationId xmlns:a16="http://schemas.microsoft.com/office/drawing/2014/main" id="{93EFDFC7-DC2D-71B2-BA44-8A5C4B3BACC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04" name="Graphic 3703">
                      <a:extLst>
                        <a:ext uri="{FF2B5EF4-FFF2-40B4-BE49-F238E27FC236}">
                          <a16:creationId xmlns:a16="http://schemas.microsoft.com/office/drawing/2014/main" id="{2876B0B8-60B4-B2C4-FF23-09CC0B7276F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05" name="Graphic 3704">
                      <a:extLst>
                        <a:ext uri="{FF2B5EF4-FFF2-40B4-BE49-F238E27FC236}">
                          <a16:creationId xmlns:a16="http://schemas.microsoft.com/office/drawing/2014/main" id="{69E6D900-1D71-58A1-DFD4-48A5BD8E331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06" name="Graphic 3705">
                      <a:extLst>
                        <a:ext uri="{FF2B5EF4-FFF2-40B4-BE49-F238E27FC236}">
                          <a16:creationId xmlns:a16="http://schemas.microsoft.com/office/drawing/2014/main" id="{4FE19B37-8ECD-EDD3-3FB9-83E3D1164AF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07" name="Graphic 3706">
                      <a:extLst>
                        <a:ext uri="{FF2B5EF4-FFF2-40B4-BE49-F238E27FC236}">
                          <a16:creationId xmlns:a16="http://schemas.microsoft.com/office/drawing/2014/main" id="{21642CBC-7507-BD91-9351-7C22EE65EC6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08" name="Graphic 3707">
                      <a:extLst>
                        <a:ext uri="{FF2B5EF4-FFF2-40B4-BE49-F238E27FC236}">
                          <a16:creationId xmlns:a16="http://schemas.microsoft.com/office/drawing/2014/main" id="{97E6A0F3-4FE9-7317-08BB-71A5A45595E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09" name="Graphic 3708">
                      <a:extLst>
                        <a:ext uri="{FF2B5EF4-FFF2-40B4-BE49-F238E27FC236}">
                          <a16:creationId xmlns:a16="http://schemas.microsoft.com/office/drawing/2014/main" id="{162A6D9F-ACFB-AC5E-2E05-5ACB4B5F0C8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10" name="Graphic 3709">
                      <a:extLst>
                        <a:ext uri="{FF2B5EF4-FFF2-40B4-BE49-F238E27FC236}">
                          <a16:creationId xmlns:a16="http://schemas.microsoft.com/office/drawing/2014/main" id="{BCB36831-4ADF-29C1-1E29-B94BCD2C0EA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11" name="Graphic 3710">
                      <a:extLst>
                        <a:ext uri="{FF2B5EF4-FFF2-40B4-BE49-F238E27FC236}">
                          <a16:creationId xmlns:a16="http://schemas.microsoft.com/office/drawing/2014/main" id="{5299863E-0960-86C5-B43E-12B96C74C16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12" name="Graphic 3711">
                      <a:extLst>
                        <a:ext uri="{FF2B5EF4-FFF2-40B4-BE49-F238E27FC236}">
                          <a16:creationId xmlns:a16="http://schemas.microsoft.com/office/drawing/2014/main" id="{FA090400-C0CB-0DBF-F150-01D3DC2D494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13" name="Graphic 3712">
                      <a:extLst>
                        <a:ext uri="{FF2B5EF4-FFF2-40B4-BE49-F238E27FC236}">
                          <a16:creationId xmlns:a16="http://schemas.microsoft.com/office/drawing/2014/main" id="{8077F752-56EB-B178-6DD8-24A6DA12E5B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14" name="Graphic 3713">
                      <a:extLst>
                        <a:ext uri="{FF2B5EF4-FFF2-40B4-BE49-F238E27FC236}">
                          <a16:creationId xmlns:a16="http://schemas.microsoft.com/office/drawing/2014/main" id="{13083DE5-19D4-7233-A331-52DB8A601A6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15" name="Graphic 3714">
                      <a:extLst>
                        <a:ext uri="{FF2B5EF4-FFF2-40B4-BE49-F238E27FC236}">
                          <a16:creationId xmlns:a16="http://schemas.microsoft.com/office/drawing/2014/main" id="{CA9E42F2-AE16-75A0-6936-FF994BD2F00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16" name="Graphic 3715">
                      <a:extLst>
                        <a:ext uri="{FF2B5EF4-FFF2-40B4-BE49-F238E27FC236}">
                          <a16:creationId xmlns:a16="http://schemas.microsoft.com/office/drawing/2014/main" id="{35677A8E-C8B5-C423-1F59-EBEC7DB368F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681" name="Graphic 3680">
                  <a:extLst>
                    <a:ext uri="{FF2B5EF4-FFF2-40B4-BE49-F238E27FC236}">
                      <a16:creationId xmlns:a16="http://schemas.microsoft.com/office/drawing/2014/main" id="{5A70CA5B-71C6-7D2B-EBD0-61EB3152BA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82" name="Graphic 3681">
                  <a:extLst>
                    <a:ext uri="{FF2B5EF4-FFF2-40B4-BE49-F238E27FC236}">
                      <a16:creationId xmlns:a16="http://schemas.microsoft.com/office/drawing/2014/main" id="{14B01E43-8005-CF96-6F26-C05A9591E46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83" name="Graphic 3682">
                  <a:extLst>
                    <a:ext uri="{FF2B5EF4-FFF2-40B4-BE49-F238E27FC236}">
                      <a16:creationId xmlns:a16="http://schemas.microsoft.com/office/drawing/2014/main" id="{5BF65329-ECF4-D46C-2043-5A8C5089BB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84" name="Graphic 3683">
                  <a:extLst>
                    <a:ext uri="{FF2B5EF4-FFF2-40B4-BE49-F238E27FC236}">
                      <a16:creationId xmlns:a16="http://schemas.microsoft.com/office/drawing/2014/main" id="{8B70966F-CD96-3922-3B4E-6C00C6187E4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685" name="Graphic 3684">
                  <a:extLst>
                    <a:ext uri="{FF2B5EF4-FFF2-40B4-BE49-F238E27FC236}">
                      <a16:creationId xmlns:a16="http://schemas.microsoft.com/office/drawing/2014/main" id="{8AF1B9F8-01E6-4E6D-5461-54BCEA6605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86" name="Graphic 3685">
                  <a:extLst>
                    <a:ext uri="{FF2B5EF4-FFF2-40B4-BE49-F238E27FC236}">
                      <a16:creationId xmlns:a16="http://schemas.microsoft.com/office/drawing/2014/main" id="{0C5EEF58-10CA-25D0-8D64-BC32234CFF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687" name="Graphic 3686">
                  <a:extLst>
                    <a:ext uri="{FF2B5EF4-FFF2-40B4-BE49-F238E27FC236}">
                      <a16:creationId xmlns:a16="http://schemas.microsoft.com/office/drawing/2014/main" id="{7F0E702C-3A09-AD2A-EE18-B20C070455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88" name="Graphic 3687">
                  <a:extLst>
                    <a:ext uri="{FF2B5EF4-FFF2-40B4-BE49-F238E27FC236}">
                      <a16:creationId xmlns:a16="http://schemas.microsoft.com/office/drawing/2014/main" id="{7A74683B-1B3C-0786-52BD-9CB465BBE37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89" name="Graphic 3688">
                  <a:extLst>
                    <a:ext uri="{FF2B5EF4-FFF2-40B4-BE49-F238E27FC236}">
                      <a16:creationId xmlns:a16="http://schemas.microsoft.com/office/drawing/2014/main" id="{CACFF6DE-1C59-C6B2-EB69-D6794D8974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90" name="Graphic 3689">
                  <a:extLst>
                    <a:ext uri="{FF2B5EF4-FFF2-40B4-BE49-F238E27FC236}">
                      <a16:creationId xmlns:a16="http://schemas.microsoft.com/office/drawing/2014/main" id="{3884C9D7-96AA-1D15-3EAB-27EEAD37CDB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91" name="Graphic 3690">
                  <a:extLst>
                    <a:ext uri="{FF2B5EF4-FFF2-40B4-BE49-F238E27FC236}">
                      <a16:creationId xmlns:a16="http://schemas.microsoft.com/office/drawing/2014/main" id="{DFA352A3-F2D7-D887-F147-327598B812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92" name="Graphic 3691">
                  <a:extLst>
                    <a:ext uri="{FF2B5EF4-FFF2-40B4-BE49-F238E27FC236}">
                      <a16:creationId xmlns:a16="http://schemas.microsoft.com/office/drawing/2014/main" id="{A9786CEC-31BF-575E-F3D2-AB9B03D7DA7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93" name="Graphic 3692">
                  <a:extLst>
                    <a:ext uri="{FF2B5EF4-FFF2-40B4-BE49-F238E27FC236}">
                      <a16:creationId xmlns:a16="http://schemas.microsoft.com/office/drawing/2014/main" id="{17818004-0BFB-B808-B940-E436C5D9B18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676" name="Graphic 3675">
                <a:extLst>
                  <a:ext uri="{FF2B5EF4-FFF2-40B4-BE49-F238E27FC236}">
                    <a16:creationId xmlns:a16="http://schemas.microsoft.com/office/drawing/2014/main" id="{4AE751C5-908B-8CA6-CE7F-A59FA239BA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677" name="Graphic 3676">
                <a:extLst>
                  <a:ext uri="{FF2B5EF4-FFF2-40B4-BE49-F238E27FC236}">
                    <a16:creationId xmlns:a16="http://schemas.microsoft.com/office/drawing/2014/main" id="{77B2D4C8-39B5-643A-7FF6-10159ED501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678" name="Graphic 3677">
                <a:extLst>
                  <a:ext uri="{FF2B5EF4-FFF2-40B4-BE49-F238E27FC236}">
                    <a16:creationId xmlns:a16="http://schemas.microsoft.com/office/drawing/2014/main" id="{1E7389A9-6DC1-048E-EB3D-691F2AED5C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679" name="Graphic 3678">
                <a:extLst>
                  <a:ext uri="{FF2B5EF4-FFF2-40B4-BE49-F238E27FC236}">
                    <a16:creationId xmlns:a16="http://schemas.microsoft.com/office/drawing/2014/main" id="{4F90D2A3-A181-23E6-330F-E9E3519B5A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0E321C4E-3566-4278-81B7-FC09DA34744C}"/>
                </a:ext>
              </a:extLst>
            </p:cNvPr>
            <p:cNvGrpSpPr/>
            <p:nvPr/>
          </p:nvGrpSpPr>
          <p:grpSpPr>
            <a:xfrm>
              <a:off x="997508" y="3697485"/>
              <a:ext cx="135763" cy="134108"/>
              <a:chOff x="5071590" y="2724817"/>
              <a:chExt cx="1901239" cy="1655213"/>
            </a:xfrm>
          </p:grpSpPr>
          <p:grpSp>
            <p:nvGrpSpPr>
              <p:cNvPr id="3633" name="Group 3632">
                <a:extLst>
                  <a:ext uri="{FF2B5EF4-FFF2-40B4-BE49-F238E27FC236}">
                    <a16:creationId xmlns:a16="http://schemas.microsoft.com/office/drawing/2014/main" id="{08B5F68A-CA6E-E072-CE25-E07DDA78695C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638" name="Group 3637">
                  <a:extLst>
                    <a:ext uri="{FF2B5EF4-FFF2-40B4-BE49-F238E27FC236}">
                      <a16:creationId xmlns:a16="http://schemas.microsoft.com/office/drawing/2014/main" id="{2DCB22F8-E469-6ED9-F5C0-B84030B501C3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652" name="Oval 3651">
                    <a:extLst>
                      <a:ext uri="{FF2B5EF4-FFF2-40B4-BE49-F238E27FC236}">
                        <a16:creationId xmlns:a16="http://schemas.microsoft.com/office/drawing/2014/main" id="{5A878E95-83A3-B92F-C7CE-022F3D2D8EEE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653" name="Group 3652">
                    <a:extLst>
                      <a:ext uri="{FF2B5EF4-FFF2-40B4-BE49-F238E27FC236}">
                        <a16:creationId xmlns:a16="http://schemas.microsoft.com/office/drawing/2014/main" id="{18826E95-DDCE-16C8-DB0B-1EB68527AA03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654" name="Graphic 3653">
                      <a:extLst>
                        <a:ext uri="{FF2B5EF4-FFF2-40B4-BE49-F238E27FC236}">
                          <a16:creationId xmlns:a16="http://schemas.microsoft.com/office/drawing/2014/main" id="{45FAEB68-FB65-C683-D738-E9AB3E3E077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55" name="Graphic 3654">
                      <a:extLst>
                        <a:ext uri="{FF2B5EF4-FFF2-40B4-BE49-F238E27FC236}">
                          <a16:creationId xmlns:a16="http://schemas.microsoft.com/office/drawing/2014/main" id="{CCD4C492-439B-7BD9-C655-19280EA1D81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56" name="Graphic 3655">
                      <a:extLst>
                        <a:ext uri="{FF2B5EF4-FFF2-40B4-BE49-F238E27FC236}">
                          <a16:creationId xmlns:a16="http://schemas.microsoft.com/office/drawing/2014/main" id="{F7ED76F3-C1FD-6958-512B-32941843508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57" name="Graphic 3656">
                      <a:extLst>
                        <a:ext uri="{FF2B5EF4-FFF2-40B4-BE49-F238E27FC236}">
                          <a16:creationId xmlns:a16="http://schemas.microsoft.com/office/drawing/2014/main" id="{9979EC0F-7354-B5FF-F92C-C027DB57DC1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58" name="Graphic 3657">
                      <a:extLst>
                        <a:ext uri="{FF2B5EF4-FFF2-40B4-BE49-F238E27FC236}">
                          <a16:creationId xmlns:a16="http://schemas.microsoft.com/office/drawing/2014/main" id="{61CA157D-909C-5447-8E90-86FF081F614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59" name="Graphic 3658">
                      <a:extLst>
                        <a:ext uri="{FF2B5EF4-FFF2-40B4-BE49-F238E27FC236}">
                          <a16:creationId xmlns:a16="http://schemas.microsoft.com/office/drawing/2014/main" id="{2F05E894-0BB8-1C67-D8D2-609336745B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60" name="Graphic 3659">
                      <a:extLst>
                        <a:ext uri="{FF2B5EF4-FFF2-40B4-BE49-F238E27FC236}">
                          <a16:creationId xmlns:a16="http://schemas.microsoft.com/office/drawing/2014/main" id="{DCBFE94B-2C90-10FC-C8DC-DE6721C36A6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61" name="Graphic 3660">
                      <a:extLst>
                        <a:ext uri="{FF2B5EF4-FFF2-40B4-BE49-F238E27FC236}">
                          <a16:creationId xmlns:a16="http://schemas.microsoft.com/office/drawing/2014/main" id="{21754129-9942-0BD1-966D-A5D3FF441AC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62" name="Graphic 3661">
                      <a:extLst>
                        <a:ext uri="{FF2B5EF4-FFF2-40B4-BE49-F238E27FC236}">
                          <a16:creationId xmlns:a16="http://schemas.microsoft.com/office/drawing/2014/main" id="{48684BDC-3A9D-373E-7363-E31D70360DE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63" name="Graphic 3662">
                      <a:extLst>
                        <a:ext uri="{FF2B5EF4-FFF2-40B4-BE49-F238E27FC236}">
                          <a16:creationId xmlns:a16="http://schemas.microsoft.com/office/drawing/2014/main" id="{59C32694-2371-6B5D-7721-AE267B6E9C5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64" name="Graphic 3663">
                      <a:extLst>
                        <a:ext uri="{FF2B5EF4-FFF2-40B4-BE49-F238E27FC236}">
                          <a16:creationId xmlns:a16="http://schemas.microsoft.com/office/drawing/2014/main" id="{2018DFD6-06BA-A575-2549-667BF443107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65" name="Graphic 3664">
                      <a:extLst>
                        <a:ext uri="{FF2B5EF4-FFF2-40B4-BE49-F238E27FC236}">
                          <a16:creationId xmlns:a16="http://schemas.microsoft.com/office/drawing/2014/main" id="{14E7A0A0-3AB6-1B72-6106-E9C44D5593B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66" name="Graphic 3665">
                      <a:extLst>
                        <a:ext uri="{FF2B5EF4-FFF2-40B4-BE49-F238E27FC236}">
                          <a16:creationId xmlns:a16="http://schemas.microsoft.com/office/drawing/2014/main" id="{92F02071-AFFB-DD5C-4FBB-886A373365D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67" name="Graphic 3666">
                      <a:extLst>
                        <a:ext uri="{FF2B5EF4-FFF2-40B4-BE49-F238E27FC236}">
                          <a16:creationId xmlns:a16="http://schemas.microsoft.com/office/drawing/2014/main" id="{FB61DF9F-7B48-F690-794E-63A72F0E609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68" name="Graphic 3667">
                      <a:extLst>
                        <a:ext uri="{FF2B5EF4-FFF2-40B4-BE49-F238E27FC236}">
                          <a16:creationId xmlns:a16="http://schemas.microsoft.com/office/drawing/2014/main" id="{B4D218DF-0A97-5CAB-5565-0B3A3F41111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69" name="Graphic 3668">
                      <a:extLst>
                        <a:ext uri="{FF2B5EF4-FFF2-40B4-BE49-F238E27FC236}">
                          <a16:creationId xmlns:a16="http://schemas.microsoft.com/office/drawing/2014/main" id="{A5517C75-2316-7EAA-748E-0EECED8F13E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70" name="Graphic 3669">
                      <a:extLst>
                        <a:ext uri="{FF2B5EF4-FFF2-40B4-BE49-F238E27FC236}">
                          <a16:creationId xmlns:a16="http://schemas.microsoft.com/office/drawing/2014/main" id="{729E1221-3AF1-FDC1-0B0A-F49067A9C59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71" name="Graphic 3670">
                      <a:extLst>
                        <a:ext uri="{FF2B5EF4-FFF2-40B4-BE49-F238E27FC236}">
                          <a16:creationId xmlns:a16="http://schemas.microsoft.com/office/drawing/2014/main" id="{F06A5D1F-2A16-14CB-41ED-98ED42CC154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72" name="Graphic 3671">
                      <a:extLst>
                        <a:ext uri="{FF2B5EF4-FFF2-40B4-BE49-F238E27FC236}">
                          <a16:creationId xmlns:a16="http://schemas.microsoft.com/office/drawing/2014/main" id="{BB3D70E9-0AF3-AB87-C2B2-7264A16FB87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73" name="Graphic 3672">
                      <a:extLst>
                        <a:ext uri="{FF2B5EF4-FFF2-40B4-BE49-F238E27FC236}">
                          <a16:creationId xmlns:a16="http://schemas.microsoft.com/office/drawing/2014/main" id="{558235C7-FEB8-AA24-CCCB-8143AC90B47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74" name="Graphic 3673">
                      <a:extLst>
                        <a:ext uri="{FF2B5EF4-FFF2-40B4-BE49-F238E27FC236}">
                          <a16:creationId xmlns:a16="http://schemas.microsoft.com/office/drawing/2014/main" id="{D4397959-24EF-12DB-F5EB-8FA36C96E35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639" name="Graphic 3638">
                  <a:extLst>
                    <a:ext uri="{FF2B5EF4-FFF2-40B4-BE49-F238E27FC236}">
                      <a16:creationId xmlns:a16="http://schemas.microsoft.com/office/drawing/2014/main" id="{EAB1D0B9-ED78-3B10-EBE7-F981777568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40" name="Graphic 3639">
                  <a:extLst>
                    <a:ext uri="{FF2B5EF4-FFF2-40B4-BE49-F238E27FC236}">
                      <a16:creationId xmlns:a16="http://schemas.microsoft.com/office/drawing/2014/main" id="{934DDE53-C11D-8B04-FC9F-36B64608D4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41" name="Graphic 3640">
                  <a:extLst>
                    <a:ext uri="{FF2B5EF4-FFF2-40B4-BE49-F238E27FC236}">
                      <a16:creationId xmlns:a16="http://schemas.microsoft.com/office/drawing/2014/main" id="{928520F3-F3CD-1A89-74A5-6A3F4CD84F3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42" name="Graphic 3641">
                  <a:extLst>
                    <a:ext uri="{FF2B5EF4-FFF2-40B4-BE49-F238E27FC236}">
                      <a16:creationId xmlns:a16="http://schemas.microsoft.com/office/drawing/2014/main" id="{C7FA130F-FA77-6CB9-A1BB-9BC73CC59CD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643" name="Graphic 3642">
                  <a:extLst>
                    <a:ext uri="{FF2B5EF4-FFF2-40B4-BE49-F238E27FC236}">
                      <a16:creationId xmlns:a16="http://schemas.microsoft.com/office/drawing/2014/main" id="{F0CB4F98-EE93-954B-174B-E2AC7037331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44" name="Graphic 3643">
                  <a:extLst>
                    <a:ext uri="{FF2B5EF4-FFF2-40B4-BE49-F238E27FC236}">
                      <a16:creationId xmlns:a16="http://schemas.microsoft.com/office/drawing/2014/main" id="{6D6113B6-C570-6F3D-077A-C3B410BD7FB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645" name="Graphic 3644">
                  <a:extLst>
                    <a:ext uri="{FF2B5EF4-FFF2-40B4-BE49-F238E27FC236}">
                      <a16:creationId xmlns:a16="http://schemas.microsoft.com/office/drawing/2014/main" id="{76DAF1FB-8585-854A-1EAF-7BA75C26471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46" name="Graphic 3645">
                  <a:extLst>
                    <a:ext uri="{FF2B5EF4-FFF2-40B4-BE49-F238E27FC236}">
                      <a16:creationId xmlns:a16="http://schemas.microsoft.com/office/drawing/2014/main" id="{DE2799DB-1308-9BBC-729D-90DCA7D13F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47" name="Graphic 3646">
                  <a:extLst>
                    <a:ext uri="{FF2B5EF4-FFF2-40B4-BE49-F238E27FC236}">
                      <a16:creationId xmlns:a16="http://schemas.microsoft.com/office/drawing/2014/main" id="{63E62885-F595-4F5D-CA1D-0528D9337B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48" name="Graphic 3647">
                  <a:extLst>
                    <a:ext uri="{FF2B5EF4-FFF2-40B4-BE49-F238E27FC236}">
                      <a16:creationId xmlns:a16="http://schemas.microsoft.com/office/drawing/2014/main" id="{3A9F7CA0-C57F-7120-C3D0-B8520F7B95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49" name="Graphic 3648">
                  <a:extLst>
                    <a:ext uri="{FF2B5EF4-FFF2-40B4-BE49-F238E27FC236}">
                      <a16:creationId xmlns:a16="http://schemas.microsoft.com/office/drawing/2014/main" id="{5D55F095-8E08-9F60-A0E9-D126E3C340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50" name="Graphic 3649">
                  <a:extLst>
                    <a:ext uri="{FF2B5EF4-FFF2-40B4-BE49-F238E27FC236}">
                      <a16:creationId xmlns:a16="http://schemas.microsoft.com/office/drawing/2014/main" id="{2B618288-43DB-A0ED-18E4-E5FC530E4C5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51" name="Graphic 3650">
                  <a:extLst>
                    <a:ext uri="{FF2B5EF4-FFF2-40B4-BE49-F238E27FC236}">
                      <a16:creationId xmlns:a16="http://schemas.microsoft.com/office/drawing/2014/main" id="{6A19CEBB-4651-7899-9AC4-210A90B8C73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634" name="Graphic 3633">
                <a:extLst>
                  <a:ext uri="{FF2B5EF4-FFF2-40B4-BE49-F238E27FC236}">
                    <a16:creationId xmlns:a16="http://schemas.microsoft.com/office/drawing/2014/main" id="{B8812DA4-0D6B-DC97-7678-DE35717655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635" name="Graphic 3634">
                <a:extLst>
                  <a:ext uri="{FF2B5EF4-FFF2-40B4-BE49-F238E27FC236}">
                    <a16:creationId xmlns:a16="http://schemas.microsoft.com/office/drawing/2014/main" id="{951DC282-51DC-760F-791F-997DDB290F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636" name="Graphic 3635">
                <a:extLst>
                  <a:ext uri="{FF2B5EF4-FFF2-40B4-BE49-F238E27FC236}">
                    <a16:creationId xmlns:a16="http://schemas.microsoft.com/office/drawing/2014/main" id="{AD30191E-37F4-BE81-353A-078D1DE95E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637" name="Graphic 3636">
                <a:extLst>
                  <a:ext uri="{FF2B5EF4-FFF2-40B4-BE49-F238E27FC236}">
                    <a16:creationId xmlns:a16="http://schemas.microsoft.com/office/drawing/2014/main" id="{62F53041-996D-BC1C-27F5-C71DC560E2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37135BE-489C-1A3B-510E-AEB16A2011FD}"/>
                </a:ext>
              </a:extLst>
            </p:cNvPr>
            <p:cNvGrpSpPr/>
            <p:nvPr/>
          </p:nvGrpSpPr>
          <p:grpSpPr>
            <a:xfrm>
              <a:off x="1184630" y="3583668"/>
              <a:ext cx="135763" cy="134108"/>
              <a:chOff x="5071590" y="2724817"/>
              <a:chExt cx="1901239" cy="1655213"/>
            </a:xfrm>
          </p:grpSpPr>
          <p:grpSp>
            <p:nvGrpSpPr>
              <p:cNvPr id="3591" name="Group 3590">
                <a:extLst>
                  <a:ext uri="{FF2B5EF4-FFF2-40B4-BE49-F238E27FC236}">
                    <a16:creationId xmlns:a16="http://schemas.microsoft.com/office/drawing/2014/main" id="{33172B79-2124-484C-4020-9E9CBB99614E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596" name="Group 3595">
                  <a:extLst>
                    <a:ext uri="{FF2B5EF4-FFF2-40B4-BE49-F238E27FC236}">
                      <a16:creationId xmlns:a16="http://schemas.microsoft.com/office/drawing/2014/main" id="{3AD4FEFD-8EE3-1907-256E-26DEF008504A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610" name="Oval 3609">
                    <a:extLst>
                      <a:ext uri="{FF2B5EF4-FFF2-40B4-BE49-F238E27FC236}">
                        <a16:creationId xmlns:a16="http://schemas.microsoft.com/office/drawing/2014/main" id="{626B7158-8588-2216-4B08-E411E49CA93A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611" name="Group 3610">
                    <a:extLst>
                      <a:ext uri="{FF2B5EF4-FFF2-40B4-BE49-F238E27FC236}">
                        <a16:creationId xmlns:a16="http://schemas.microsoft.com/office/drawing/2014/main" id="{29C25B6F-F037-CF1B-0E53-1522A184524F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612" name="Graphic 3611">
                      <a:extLst>
                        <a:ext uri="{FF2B5EF4-FFF2-40B4-BE49-F238E27FC236}">
                          <a16:creationId xmlns:a16="http://schemas.microsoft.com/office/drawing/2014/main" id="{961CB0A6-3E7A-F4DA-7DEC-35D7BD5CC18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13" name="Graphic 3612">
                      <a:extLst>
                        <a:ext uri="{FF2B5EF4-FFF2-40B4-BE49-F238E27FC236}">
                          <a16:creationId xmlns:a16="http://schemas.microsoft.com/office/drawing/2014/main" id="{B98CABCB-77CE-3E58-0177-939AEF04631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14" name="Graphic 3613">
                      <a:extLst>
                        <a:ext uri="{FF2B5EF4-FFF2-40B4-BE49-F238E27FC236}">
                          <a16:creationId xmlns:a16="http://schemas.microsoft.com/office/drawing/2014/main" id="{6EA83131-FD93-8C98-230E-0E5565C6B90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15" name="Graphic 3614">
                      <a:extLst>
                        <a:ext uri="{FF2B5EF4-FFF2-40B4-BE49-F238E27FC236}">
                          <a16:creationId xmlns:a16="http://schemas.microsoft.com/office/drawing/2014/main" id="{99E6C824-8CB8-7F34-4086-A4DC580345D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16" name="Graphic 3615">
                      <a:extLst>
                        <a:ext uri="{FF2B5EF4-FFF2-40B4-BE49-F238E27FC236}">
                          <a16:creationId xmlns:a16="http://schemas.microsoft.com/office/drawing/2014/main" id="{58E21640-6B74-BD63-9779-3CDDD7F03CC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17" name="Graphic 3616">
                      <a:extLst>
                        <a:ext uri="{FF2B5EF4-FFF2-40B4-BE49-F238E27FC236}">
                          <a16:creationId xmlns:a16="http://schemas.microsoft.com/office/drawing/2014/main" id="{6653A9AD-7AD6-282E-5DDF-A401780685D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18" name="Graphic 3617">
                      <a:extLst>
                        <a:ext uri="{FF2B5EF4-FFF2-40B4-BE49-F238E27FC236}">
                          <a16:creationId xmlns:a16="http://schemas.microsoft.com/office/drawing/2014/main" id="{967E1420-D320-3AB4-D760-3716FE91FAD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19" name="Graphic 3618">
                      <a:extLst>
                        <a:ext uri="{FF2B5EF4-FFF2-40B4-BE49-F238E27FC236}">
                          <a16:creationId xmlns:a16="http://schemas.microsoft.com/office/drawing/2014/main" id="{4A19A533-08BE-31CF-FE5E-C4C99E59E36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20" name="Graphic 3619">
                      <a:extLst>
                        <a:ext uri="{FF2B5EF4-FFF2-40B4-BE49-F238E27FC236}">
                          <a16:creationId xmlns:a16="http://schemas.microsoft.com/office/drawing/2014/main" id="{EB4C0098-4FE2-C411-EA52-4260ED8E493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21" name="Graphic 3620">
                      <a:extLst>
                        <a:ext uri="{FF2B5EF4-FFF2-40B4-BE49-F238E27FC236}">
                          <a16:creationId xmlns:a16="http://schemas.microsoft.com/office/drawing/2014/main" id="{AFEAA3E6-81E0-AF8F-6C74-31ABDC46AD6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22" name="Graphic 3621">
                      <a:extLst>
                        <a:ext uri="{FF2B5EF4-FFF2-40B4-BE49-F238E27FC236}">
                          <a16:creationId xmlns:a16="http://schemas.microsoft.com/office/drawing/2014/main" id="{AF49F95C-B0EF-EB68-E7BE-980F1632BB0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23" name="Graphic 3622">
                      <a:extLst>
                        <a:ext uri="{FF2B5EF4-FFF2-40B4-BE49-F238E27FC236}">
                          <a16:creationId xmlns:a16="http://schemas.microsoft.com/office/drawing/2014/main" id="{BD149F34-A752-092A-D7EA-384C318F12A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24" name="Graphic 3623">
                      <a:extLst>
                        <a:ext uri="{FF2B5EF4-FFF2-40B4-BE49-F238E27FC236}">
                          <a16:creationId xmlns:a16="http://schemas.microsoft.com/office/drawing/2014/main" id="{328E5803-598B-1FB2-D281-CB8FA194D88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25" name="Graphic 3624">
                      <a:extLst>
                        <a:ext uri="{FF2B5EF4-FFF2-40B4-BE49-F238E27FC236}">
                          <a16:creationId xmlns:a16="http://schemas.microsoft.com/office/drawing/2014/main" id="{7DB09B1B-4CF0-F6A2-A862-86A1583C2F8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26" name="Graphic 3625">
                      <a:extLst>
                        <a:ext uri="{FF2B5EF4-FFF2-40B4-BE49-F238E27FC236}">
                          <a16:creationId xmlns:a16="http://schemas.microsoft.com/office/drawing/2014/main" id="{3A51DC9D-2FA9-402D-65A8-58455389DB3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27" name="Graphic 3626">
                      <a:extLst>
                        <a:ext uri="{FF2B5EF4-FFF2-40B4-BE49-F238E27FC236}">
                          <a16:creationId xmlns:a16="http://schemas.microsoft.com/office/drawing/2014/main" id="{2FA3610C-0796-9155-FA9A-5E439FBBEAF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28" name="Graphic 3627">
                      <a:extLst>
                        <a:ext uri="{FF2B5EF4-FFF2-40B4-BE49-F238E27FC236}">
                          <a16:creationId xmlns:a16="http://schemas.microsoft.com/office/drawing/2014/main" id="{19E94EE2-ED33-C540-CF5D-62B3FCB4D87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29" name="Graphic 3628">
                      <a:extLst>
                        <a:ext uri="{FF2B5EF4-FFF2-40B4-BE49-F238E27FC236}">
                          <a16:creationId xmlns:a16="http://schemas.microsoft.com/office/drawing/2014/main" id="{3265B4C3-3466-D13A-087E-5C6DC05A5AC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30" name="Graphic 3629">
                      <a:extLst>
                        <a:ext uri="{FF2B5EF4-FFF2-40B4-BE49-F238E27FC236}">
                          <a16:creationId xmlns:a16="http://schemas.microsoft.com/office/drawing/2014/main" id="{13641282-D71E-5880-335C-1BAE6BEEA13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31" name="Graphic 3630">
                      <a:extLst>
                        <a:ext uri="{FF2B5EF4-FFF2-40B4-BE49-F238E27FC236}">
                          <a16:creationId xmlns:a16="http://schemas.microsoft.com/office/drawing/2014/main" id="{F3D02D0E-4FF7-4A63-D87C-20603F53AC9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32" name="Graphic 3631">
                      <a:extLst>
                        <a:ext uri="{FF2B5EF4-FFF2-40B4-BE49-F238E27FC236}">
                          <a16:creationId xmlns:a16="http://schemas.microsoft.com/office/drawing/2014/main" id="{7905913F-512B-B73F-0898-5BC32117B6D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597" name="Graphic 3596">
                  <a:extLst>
                    <a:ext uri="{FF2B5EF4-FFF2-40B4-BE49-F238E27FC236}">
                      <a16:creationId xmlns:a16="http://schemas.microsoft.com/office/drawing/2014/main" id="{428DD846-A05D-1CF7-195C-6D7CFFB35B6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98" name="Graphic 3597">
                  <a:extLst>
                    <a:ext uri="{FF2B5EF4-FFF2-40B4-BE49-F238E27FC236}">
                      <a16:creationId xmlns:a16="http://schemas.microsoft.com/office/drawing/2014/main" id="{99D5105B-8D21-0250-05FB-524EFBBCEE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99" name="Graphic 3598">
                  <a:extLst>
                    <a:ext uri="{FF2B5EF4-FFF2-40B4-BE49-F238E27FC236}">
                      <a16:creationId xmlns:a16="http://schemas.microsoft.com/office/drawing/2014/main" id="{09C28356-D1E1-F3E5-CE24-F87169E4A35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00" name="Graphic 3599">
                  <a:extLst>
                    <a:ext uri="{FF2B5EF4-FFF2-40B4-BE49-F238E27FC236}">
                      <a16:creationId xmlns:a16="http://schemas.microsoft.com/office/drawing/2014/main" id="{EE33F8DD-BEC2-83D4-E11D-FEE137A34EF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601" name="Graphic 3600">
                  <a:extLst>
                    <a:ext uri="{FF2B5EF4-FFF2-40B4-BE49-F238E27FC236}">
                      <a16:creationId xmlns:a16="http://schemas.microsoft.com/office/drawing/2014/main" id="{9637AB5C-E043-DDBA-617C-136BDB7E0A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02" name="Graphic 3601">
                  <a:extLst>
                    <a:ext uri="{FF2B5EF4-FFF2-40B4-BE49-F238E27FC236}">
                      <a16:creationId xmlns:a16="http://schemas.microsoft.com/office/drawing/2014/main" id="{0AEC8122-EED0-8FC4-85FF-8915C5DBABC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603" name="Graphic 3602">
                  <a:extLst>
                    <a:ext uri="{FF2B5EF4-FFF2-40B4-BE49-F238E27FC236}">
                      <a16:creationId xmlns:a16="http://schemas.microsoft.com/office/drawing/2014/main" id="{7DC27F5D-09E9-543B-A6A4-446FD216675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04" name="Graphic 3603">
                  <a:extLst>
                    <a:ext uri="{FF2B5EF4-FFF2-40B4-BE49-F238E27FC236}">
                      <a16:creationId xmlns:a16="http://schemas.microsoft.com/office/drawing/2014/main" id="{52235A86-2F29-911B-5F83-9DDAE894E65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05" name="Graphic 3604">
                  <a:extLst>
                    <a:ext uri="{FF2B5EF4-FFF2-40B4-BE49-F238E27FC236}">
                      <a16:creationId xmlns:a16="http://schemas.microsoft.com/office/drawing/2014/main" id="{D2DAD7A8-FA7E-DBAE-5C25-C37CC62628F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06" name="Graphic 3605">
                  <a:extLst>
                    <a:ext uri="{FF2B5EF4-FFF2-40B4-BE49-F238E27FC236}">
                      <a16:creationId xmlns:a16="http://schemas.microsoft.com/office/drawing/2014/main" id="{BF11F291-03B3-5508-DE2E-3027094E0A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07" name="Graphic 3606">
                  <a:extLst>
                    <a:ext uri="{FF2B5EF4-FFF2-40B4-BE49-F238E27FC236}">
                      <a16:creationId xmlns:a16="http://schemas.microsoft.com/office/drawing/2014/main" id="{A38E34D3-0931-10A7-081E-53B20CF08D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08" name="Graphic 3607">
                  <a:extLst>
                    <a:ext uri="{FF2B5EF4-FFF2-40B4-BE49-F238E27FC236}">
                      <a16:creationId xmlns:a16="http://schemas.microsoft.com/office/drawing/2014/main" id="{38E0097C-6797-8044-805A-4ADD7466602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609" name="Graphic 3608">
                  <a:extLst>
                    <a:ext uri="{FF2B5EF4-FFF2-40B4-BE49-F238E27FC236}">
                      <a16:creationId xmlns:a16="http://schemas.microsoft.com/office/drawing/2014/main" id="{FA601455-8262-8305-6D5B-27DBB95D02C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592" name="Graphic 3591">
                <a:extLst>
                  <a:ext uri="{FF2B5EF4-FFF2-40B4-BE49-F238E27FC236}">
                    <a16:creationId xmlns:a16="http://schemas.microsoft.com/office/drawing/2014/main" id="{94119E6E-D260-74BB-1370-B9E95C4C54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593" name="Graphic 3592">
                <a:extLst>
                  <a:ext uri="{FF2B5EF4-FFF2-40B4-BE49-F238E27FC236}">
                    <a16:creationId xmlns:a16="http://schemas.microsoft.com/office/drawing/2014/main" id="{398387A8-5EBA-6DBC-A650-A6F9A0FEBB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594" name="Graphic 3593">
                <a:extLst>
                  <a:ext uri="{FF2B5EF4-FFF2-40B4-BE49-F238E27FC236}">
                    <a16:creationId xmlns:a16="http://schemas.microsoft.com/office/drawing/2014/main" id="{F9B78FE4-796C-CA6D-CDB9-61C4FB4651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595" name="Graphic 3594">
                <a:extLst>
                  <a:ext uri="{FF2B5EF4-FFF2-40B4-BE49-F238E27FC236}">
                    <a16:creationId xmlns:a16="http://schemas.microsoft.com/office/drawing/2014/main" id="{AF2664FF-1A8A-9D16-3151-2C922B65E4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4C6F0A0-67A2-CD34-E375-38899087A211}"/>
                </a:ext>
              </a:extLst>
            </p:cNvPr>
            <p:cNvGrpSpPr/>
            <p:nvPr/>
          </p:nvGrpSpPr>
          <p:grpSpPr>
            <a:xfrm>
              <a:off x="1030300" y="3521930"/>
              <a:ext cx="135763" cy="134108"/>
              <a:chOff x="5071590" y="2724817"/>
              <a:chExt cx="1901239" cy="1655213"/>
            </a:xfrm>
          </p:grpSpPr>
          <p:grpSp>
            <p:nvGrpSpPr>
              <p:cNvPr id="3549" name="Group 3548">
                <a:extLst>
                  <a:ext uri="{FF2B5EF4-FFF2-40B4-BE49-F238E27FC236}">
                    <a16:creationId xmlns:a16="http://schemas.microsoft.com/office/drawing/2014/main" id="{CBF908A6-4F12-EF1A-488B-874CF17AA380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554" name="Group 3553">
                  <a:extLst>
                    <a:ext uri="{FF2B5EF4-FFF2-40B4-BE49-F238E27FC236}">
                      <a16:creationId xmlns:a16="http://schemas.microsoft.com/office/drawing/2014/main" id="{EC394A34-F138-0D81-EEC9-A97323E7AF9D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568" name="Oval 3567">
                    <a:extLst>
                      <a:ext uri="{FF2B5EF4-FFF2-40B4-BE49-F238E27FC236}">
                        <a16:creationId xmlns:a16="http://schemas.microsoft.com/office/drawing/2014/main" id="{D6C7BCC3-62F1-4C60-7844-8E23DECD2B23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569" name="Group 3568">
                    <a:extLst>
                      <a:ext uri="{FF2B5EF4-FFF2-40B4-BE49-F238E27FC236}">
                        <a16:creationId xmlns:a16="http://schemas.microsoft.com/office/drawing/2014/main" id="{6B9CBA5B-243A-1DA6-7A04-3D15E6E4AC80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570" name="Graphic 3569">
                      <a:extLst>
                        <a:ext uri="{FF2B5EF4-FFF2-40B4-BE49-F238E27FC236}">
                          <a16:creationId xmlns:a16="http://schemas.microsoft.com/office/drawing/2014/main" id="{F5724D5D-6371-E89D-BDB6-4D652F2B36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71" name="Graphic 3570">
                      <a:extLst>
                        <a:ext uri="{FF2B5EF4-FFF2-40B4-BE49-F238E27FC236}">
                          <a16:creationId xmlns:a16="http://schemas.microsoft.com/office/drawing/2014/main" id="{BB82E093-45FA-F6FD-6FC2-D6FEC0D21F5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72" name="Graphic 3571">
                      <a:extLst>
                        <a:ext uri="{FF2B5EF4-FFF2-40B4-BE49-F238E27FC236}">
                          <a16:creationId xmlns:a16="http://schemas.microsoft.com/office/drawing/2014/main" id="{B16A518E-F843-65DB-01F2-709A078E5C3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73" name="Graphic 3572">
                      <a:extLst>
                        <a:ext uri="{FF2B5EF4-FFF2-40B4-BE49-F238E27FC236}">
                          <a16:creationId xmlns:a16="http://schemas.microsoft.com/office/drawing/2014/main" id="{1A499E36-E2FB-176D-D49B-CABB8E50768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74" name="Graphic 3573">
                      <a:extLst>
                        <a:ext uri="{FF2B5EF4-FFF2-40B4-BE49-F238E27FC236}">
                          <a16:creationId xmlns:a16="http://schemas.microsoft.com/office/drawing/2014/main" id="{FD2407D5-1D6C-76DB-0173-CAEA8328D4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75" name="Graphic 3574">
                      <a:extLst>
                        <a:ext uri="{FF2B5EF4-FFF2-40B4-BE49-F238E27FC236}">
                          <a16:creationId xmlns:a16="http://schemas.microsoft.com/office/drawing/2014/main" id="{6FD9C7EF-9C70-E027-E9FD-687393009ED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76" name="Graphic 3575">
                      <a:extLst>
                        <a:ext uri="{FF2B5EF4-FFF2-40B4-BE49-F238E27FC236}">
                          <a16:creationId xmlns:a16="http://schemas.microsoft.com/office/drawing/2014/main" id="{10598F21-DC89-0863-CF12-F55677E861E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77" name="Graphic 3576">
                      <a:extLst>
                        <a:ext uri="{FF2B5EF4-FFF2-40B4-BE49-F238E27FC236}">
                          <a16:creationId xmlns:a16="http://schemas.microsoft.com/office/drawing/2014/main" id="{E64450D4-7E21-8B98-D4F2-46CCAF15570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78" name="Graphic 3577">
                      <a:extLst>
                        <a:ext uri="{FF2B5EF4-FFF2-40B4-BE49-F238E27FC236}">
                          <a16:creationId xmlns:a16="http://schemas.microsoft.com/office/drawing/2014/main" id="{1CDD074D-8D92-E183-04B0-11FCB02D84B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79" name="Graphic 3578">
                      <a:extLst>
                        <a:ext uri="{FF2B5EF4-FFF2-40B4-BE49-F238E27FC236}">
                          <a16:creationId xmlns:a16="http://schemas.microsoft.com/office/drawing/2014/main" id="{2D257D1C-576D-FCF5-FA6D-61B47790BD9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80" name="Graphic 3579">
                      <a:extLst>
                        <a:ext uri="{FF2B5EF4-FFF2-40B4-BE49-F238E27FC236}">
                          <a16:creationId xmlns:a16="http://schemas.microsoft.com/office/drawing/2014/main" id="{7B520708-887F-74DF-72BE-293D8C1D6F0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81" name="Graphic 3580">
                      <a:extLst>
                        <a:ext uri="{FF2B5EF4-FFF2-40B4-BE49-F238E27FC236}">
                          <a16:creationId xmlns:a16="http://schemas.microsoft.com/office/drawing/2014/main" id="{4CC885E0-C503-8C93-A674-5E3324A3AEA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82" name="Graphic 3581">
                      <a:extLst>
                        <a:ext uri="{FF2B5EF4-FFF2-40B4-BE49-F238E27FC236}">
                          <a16:creationId xmlns:a16="http://schemas.microsoft.com/office/drawing/2014/main" id="{19F4E656-5321-67BD-CE22-F676F85C842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83" name="Graphic 3582">
                      <a:extLst>
                        <a:ext uri="{FF2B5EF4-FFF2-40B4-BE49-F238E27FC236}">
                          <a16:creationId xmlns:a16="http://schemas.microsoft.com/office/drawing/2014/main" id="{14899829-A7B9-94BC-311B-0951DE5E561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84" name="Graphic 3583">
                      <a:extLst>
                        <a:ext uri="{FF2B5EF4-FFF2-40B4-BE49-F238E27FC236}">
                          <a16:creationId xmlns:a16="http://schemas.microsoft.com/office/drawing/2014/main" id="{FDBF98CE-71C8-CA14-102C-218B2D5C078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85" name="Graphic 3584">
                      <a:extLst>
                        <a:ext uri="{FF2B5EF4-FFF2-40B4-BE49-F238E27FC236}">
                          <a16:creationId xmlns:a16="http://schemas.microsoft.com/office/drawing/2014/main" id="{97057678-9902-13AB-491C-7A39EED5963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86" name="Graphic 3585">
                      <a:extLst>
                        <a:ext uri="{FF2B5EF4-FFF2-40B4-BE49-F238E27FC236}">
                          <a16:creationId xmlns:a16="http://schemas.microsoft.com/office/drawing/2014/main" id="{129FEEDA-8150-DB6F-6C1F-D201D84FAA6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87" name="Graphic 3586">
                      <a:extLst>
                        <a:ext uri="{FF2B5EF4-FFF2-40B4-BE49-F238E27FC236}">
                          <a16:creationId xmlns:a16="http://schemas.microsoft.com/office/drawing/2014/main" id="{7A80E10E-7966-76CA-8D1B-350C5C3663D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88" name="Graphic 3587">
                      <a:extLst>
                        <a:ext uri="{FF2B5EF4-FFF2-40B4-BE49-F238E27FC236}">
                          <a16:creationId xmlns:a16="http://schemas.microsoft.com/office/drawing/2014/main" id="{62A20595-6D80-4B6F-1C98-453BDDE6448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89" name="Graphic 3588">
                      <a:extLst>
                        <a:ext uri="{FF2B5EF4-FFF2-40B4-BE49-F238E27FC236}">
                          <a16:creationId xmlns:a16="http://schemas.microsoft.com/office/drawing/2014/main" id="{8ABFCBD9-98D0-958D-4483-6995EAFE043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90" name="Graphic 3589">
                      <a:extLst>
                        <a:ext uri="{FF2B5EF4-FFF2-40B4-BE49-F238E27FC236}">
                          <a16:creationId xmlns:a16="http://schemas.microsoft.com/office/drawing/2014/main" id="{80D286EB-7BB5-2E0A-CAE8-2BD6CB3B079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555" name="Graphic 3554">
                  <a:extLst>
                    <a:ext uri="{FF2B5EF4-FFF2-40B4-BE49-F238E27FC236}">
                      <a16:creationId xmlns:a16="http://schemas.microsoft.com/office/drawing/2014/main" id="{F654197E-CFDA-16EF-3748-F6DD7D3228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56" name="Graphic 3555">
                  <a:extLst>
                    <a:ext uri="{FF2B5EF4-FFF2-40B4-BE49-F238E27FC236}">
                      <a16:creationId xmlns:a16="http://schemas.microsoft.com/office/drawing/2014/main" id="{0B982FC9-4187-7C92-1389-0F4E05C3566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57" name="Graphic 3556">
                  <a:extLst>
                    <a:ext uri="{FF2B5EF4-FFF2-40B4-BE49-F238E27FC236}">
                      <a16:creationId xmlns:a16="http://schemas.microsoft.com/office/drawing/2014/main" id="{F88A8E53-42BA-17B4-FB2D-01155A4ECB5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58" name="Graphic 3557">
                  <a:extLst>
                    <a:ext uri="{FF2B5EF4-FFF2-40B4-BE49-F238E27FC236}">
                      <a16:creationId xmlns:a16="http://schemas.microsoft.com/office/drawing/2014/main" id="{570AA9D2-1410-EA2D-5824-6653333B0FB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559" name="Graphic 3558">
                  <a:extLst>
                    <a:ext uri="{FF2B5EF4-FFF2-40B4-BE49-F238E27FC236}">
                      <a16:creationId xmlns:a16="http://schemas.microsoft.com/office/drawing/2014/main" id="{0D74C3B0-E54A-5BEF-8708-AFDA5C42F74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60" name="Graphic 3559">
                  <a:extLst>
                    <a:ext uri="{FF2B5EF4-FFF2-40B4-BE49-F238E27FC236}">
                      <a16:creationId xmlns:a16="http://schemas.microsoft.com/office/drawing/2014/main" id="{99B50382-9F2B-1EB2-B8D7-F6B79B01227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561" name="Graphic 3560">
                  <a:extLst>
                    <a:ext uri="{FF2B5EF4-FFF2-40B4-BE49-F238E27FC236}">
                      <a16:creationId xmlns:a16="http://schemas.microsoft.com/office/drawing/2014/main" id="{EA013BA7-86BB-9A79-62A1-E7385ED7EB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62" name="Graphic 3561">
                  <a:extLst>
                    <a:ext uri="{FF2B5EF4-FFF2-40B4-BE49-F238E27FC236}">
                      <a16:creationId xmlns:a16="http://schemas.microsoft.com/office/drawing/2014/main" id="{4A821CE4-17AD-495D-B10B-D318D8D3368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63" name="Graphic 3562">
                  <a:extLst>
                    <a:ext uri="{FF2B5EF4-FFF2-40B4-BE49-F238E27FC236}">
                      <a16:creationId xmlns:a16="http://schemas.microsoft.com/office/drawing/2014/main" id="{E18F4207-F2CE-155E-261B-CF10AF5D153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64" name="Graphic 3563">
                  <a:extLst>
                    <a:ext uri="{FF2B5EF4-FFF2-40B4-BE49-F238E27FC236}">
                      <a16:creationId xmlns:a16="http://schemas.microsoft.com/office/drawing/2014/main" id="{46B8FCEC-339F-63CE-A542-AEC55A55AFE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65" name="Graphic 3564">
                  <a:extLst>
                    <a:ext uri="{FF2B5EF4-FFF2-40B4-BE49-F238E27FC236}">
                      <a16:creationId xmlns:a16="http://schemas.microsoft.com/office/drawing/2014/main" id="{CA52EF41-AB4F-1869-57A1-658F6B70388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66" name="Graphic 3565">
                  <a:extLst>
                    <a:ext uri="{FF2B5EF4-FFF2-40B4-BE49-F238E27FC236}">
                      <a16:creationId xmlns:a16="http://schemas.microsoft.com/office/drawing/2014/main" id="{3A0DC8C1-B2C5-92CF-1D11-3A1CB4372C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67" name="Graphic 3566">
                  <a:extLst>
                    <a:ext uri="{FF2B5EF4-FFF2-40B4-BE49-F238E27FC236}">
                      <a16:creationId xmlns:a16="http://schemas.microsoft.com/office/drawing/2014/main" id="{9DA07B8F-47B2-315E-AF97-01CC49F868F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550" name="Graphic 3549">
                <a:extLst>
                  <a:ext uri="{FF2B5EF4-FFF2-40B4-BE49-F238E27FC236}">
                    <a16:creationId xmlns:a16="http://schemas.microsoft.com/office/drawing/2014/main" id="{80BF5D77-EBB6-2282-9940-FDE90F4C88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551" name="Graphic 3550">
                <a:extLst>
                  <a:ext uri="{FF2B5EF4-FFF2-40B4-BE49-F238E27FC236}">
                    <a16:creationId xmlns:a16="http://schemas.microsoft.com/office/drawing/2014/main" id="{5360FF46-6794-E54B-6982-4F01AED9F4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552" name="Graphic 3551">
                <a:extLst>
                  <a:ext uri="{FF2B5EF4-FFF2-40B4-BE49-F238E27FC236}">
                    <a16:creationId xmlns:a16="http://schemas.microsoft.com/office/drawing/2014/main" id="{CD643629-7636-B0E6-F13F-B676D6C9F5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553" name="Graphic 3552">
                <a:extLst>
                  <a:ext uri="{FF2B5EF4-FFF2-40B4-BE49-F238E27FC236}">
                    <a16:creationId xmlns:a16="http://schemas.microsoft.com/office/drawing/2014/main" id="{F43A680B-42CC-2646-045B-C62AB2B81F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6D94F442-4B54-43AB-B360-9A2EA42DBD8C}"/>
                </a:ext>
              </a:extLst>
            </p:cNvPr>
            <p:cNvGrpSpPr/>
            <p:nvPr/>
          </p:nvGrpSpPr>
          <p:grpSpPr>
            <a:xfrm>
              <a:off x="1327381" y="3720626"/>
              <a:ext cx="125864" cy="124330"/>
              <a:chOff x="5071590" y="2724817"/>
              <a:chExt cx="1901239" cy="1655213"/>
            </a:xfrm>
          </p:grpSpPr>
          <p:grpSp>
            <p:nvGrpSpPr>
              <p:cNvPr id="3507" name="Group 3506">
                <a:extLst>
                  <a:ext uri="{FF2B5EF4-FFF2-40B4-BE49-F238E27FC236}">
                    <a16:creationId xmlns:a16="http://schemas.microsoft.com/office/drawing/2014/main" id="{B0C8B341-763A-36E1-C8AD-BB3C55DF8BF3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512" name="Group 3511">
                  <a:extLst>
                    <a:ext uri="{FF2B5EF4-FFF2-40B4-BE49-F238E27FC236}">
                      <a16:creationId xmlns:a16="http://schemas.microsoft.com/office/drawing/2014/main" id="{63B49533-2548-1ED3-B6FC-79E82BE5251F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526" name="Oval 3525">
                    <a:extLst>
                      <a:ext uri="{FF2B5EF4-FFF2-40B4-BE49-F238E27FC236}">
                        <a16:creationId xmlns:a16="http://schemas.microsoft.com/office/drawing/2014/main" id="{424FE438-F83B-9464-64EF-424136F5E369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527" name="Group 3526">
                    <a:extLst>
                      <a:ext uri="{FF2B5EF4-FFF2-40B4-BE49-F238E27FC236}">
                        <a16:creationId xmlns:a16="http://schemas.microsoft.com/office/drawing/2014/main" id="{98E2384F-01DD-CFAD-18C8-E9251CC38828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528" name="Graphic 3527">
                      <a:extLst>
                        <a:ext uri="{FF2B5EF4-FFF2-40B4-BE49-F238E27FC236}">
                          <a16:creationId xmlns:a16="http://schemas.microsoft.com/office/drawing/2014/main" id="{934E81F7-D0E5-3223-8B44-BE93A808E01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29" name="Graphic 3528">
                      <a:extLst>
                        <a:ext uri="{FF2B5EF4-FFF2-40B4-BE49-F238E27FC236}">
                          <a16:creationId xmlns:a16="http://schemas.microsoft.com/office/drawing/2014/main" id="{02A29564-983C-EFFF-9F8E-0E391E0B817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30" name="Graphic 3529">
                      <a:extLst>
                        <a:ext uri="{FF2B5EF4-FFF2-40B4-BE49-F238E27FC236}">
                          <a16:creationId xmlns:a16="http://schemas.microsoft.com/office/drawing/2014/main" id="{E8CA3C7F-B463-2B86-0D9E-93EAECB7DC0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31" name="Graphic 3530">
                      <a:extLst>
                        <a:ext uri="{FF2B5EF4-FFF2-40B4-BE49-F238E27FC236}">
                          <a16:creationId xmlns:a16="http://schemas.microsoft.com/office/drawing/2014/main" id="{4167FCDE-0A5A-1045-F14E-16199CDD7A5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32" name="Graphic 3531">
                      <a:extLst>
                        <a:ext uri="{FF2B5EF4-FFF2-40B4-BE49-F238E27FC236}">
                          <a16:creationId xmlns:a16="http://schemas.microsoft.com/office/drawing/2014/main" id="{D6001C8E-412A-6991-0B58-116558A9790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33" name="Graphic 3532">
                      <a:extLst>
                        <a:ext uri="{FF2B5EF4-FFF2-40B4-BE49-F238E27FC236}">
                          <a16:creationId xmlns:a16="http://schemas.microsoft.com/office/drawing/2014/main" id="{14358E8F-DE48-B18C-E457-AE76FF6236C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34" name="Graphic 3533">
                      <a:extLst>
                        <a:ext uri="{FF2B5EF4-FFF2-40B4-BE49-F238E27FC236}">
                          <a16:creationId xmlns:a16="http://schemas.microsoft.com/office/drawing/2014/main" id="{D3C7EFF1-7FDC-E826-AEB6-3CBE3026C4A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35" name="Graphic 3534">
                      <a:extLst>
                        <a:ext uri="{FF2B5EF4-FFF2-40B4-BE49-F238E27FC236}">
                          <a16:creationId xmlns:a16="http://schemas.microsoft.com/office/drawing/2014/main" id="{EEAD375F-0D93-A5FD-EFA9-A20E7780C17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36" name="Graphic 3535">
                      <a:extLst>
                        <a:ext uri="{FF2B5EF4-FFF2-40B4-BE49-F238E27FC236}">
                          <a16:creationId xmlns:a16="http://schemas.microsoft.com/office/drawing/2014/main" id="{B19614B5-98F8-2774-8A99-2926003591B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37" name="Graphic 3536">
                      <a:extLst>
                        <a:ext uri="{FF2B5EF4-FFF2-40B4-BE49-F238E27FC236}">
                          <a16:creationId xmlns:a16="http://schemas.microsoft.com/office/drawing/2014/main" id="{B4FD7E97-5773-F603-BFC5-F1D29F52FB2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38" name="Graphic 3537">
                      <a:extLst>
                        <a:ext uri="{FF2B5EF4-FFF2-40B4-BE49-F238E27FC236}">
                          <a16:creationId xmlns:a16="http://schemas.microsoft.com/office/drawing/2014/main" id="{8E33D5D7-FFD4-1703-1621-3D7118C7689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39" name="Graphic 3538">
                      <a:extLst>
                        <a:ext uri="{FF2B5EF4-FFF2-40B4-BE49-F238E27FC236}">
                          <a16:creationId xmlns:a16="http://schemas.microsoft.com/office/drawing/2014/main" id="{4F8A013D-2B5F-D997-679D-69316276454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40" name="Graphic 3539">
                      <a:extLst>
                        <a:ext uri="{FF2B5EF4-FFF2-40B4-BE49-F238E27FC236}">
                          <a16:creationId xmlns:a16="http://schemas.microsoft.com/office/drawing/2014/main" id="{C8C63BB3-57EA-2A0A-2D62-E53BA393EEA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41" name="Graphic 3540">
                      <a:extLst>
                        <a:ext uri="{FF2B5EF4-FFF2-40B4-BE49-F238E27FC236}">
                          <a16:creationId xmlns:a16="http://schemas.microsoft.com/office/drawing/2014/main" id="{95AF2410-8425-3ACE-064D-C5FC5615846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42" name="Graphic 3541">
                      <a:extLst>
                        <a:ext uri="{FF2B5EF4-FFF2-40B4-BE49-F238E27FC236}">
                          <a16:creationId xmlns:a16="http://schemas.microsoft.com/office/drawing/2014/main" id="{643DA955-9623-B029-D475-5620C2B2605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43" name="Graphic 3542">
                      <a:extLst>
                        <a:ext uri="{FF2B5EF4-FFF2-40B4-BE49-F238E27FC236}">
                          <a16:creationId xmlns:a16="http://schemas.microsoft.com/office/drawing/2014/main" id="{CDFE6FC7-DE3C-DC76-1D65-925A0C58923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44" name="Graphic 3543">
                      <a:extLst>
                        <a:ext uri="{FF2B5EF4-FFF2-40B4-BE49-F238E27FC236}">
                          <a16:creationId xmlns:a16="http://schemas.microsoft.com/office/drawing/2014/main" id="{A311DB1D-7EAD-BBD0-B234-6F955809899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45" name="Graphic 3544">
                      <a:extLst>
                        <a:ext uri="{FF2B5EF4-FFF2-40B4-BE49-F238E27FC236}">
                          <a16:creationId xmlns:a16="http://schemas.microsoft.com/office/drawing/2014/main" id="{B7EE7C6E-31D9-E368-F148-1F1AA9BF497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46" name="Graphic 3545">
                      <a:extLst>
                        <a:ext uri="{FF2B5EF4-FFF2-40B4-BE49-F238E27FC236}">
                          <a16:creationId xmlns:a16="http://schemas.microsoft.com/office/drawing/2014/main" id="{F1F07818-0E8E-5D33-7646-3071FD5B23F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47" name="Graphic 3546">
                      <a:extLst>
                        <a:ext uri="{FF2B5EF4-FFF2-40B4-BE49-F238E27FC236}">
                          <a16:creationId xmlns:a16="http://schemas.microsoft.com/office/drawing/2014/main" id="{B138C9EF-AA26-2B21-C246-5CEE4E31DE0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48" name="Graphic 3547">
                      <a:extLst>
                        <a:ext uri="{FF2B5EF4-FFF2-40B4-BE49-F238E27FC236}">
                          <a16:creationId xmlns:a16="http://schemas.microsoft.com/office/drawing/2014/main" id="{C9D5363A-F4A9-2296-642F-0704EA7FA42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513" name="Graphic 3512">
                  <a:extLst>
                    <a:ext uri="{FF2B5EF4-FFF2-40B4-BE49-F238E27FC236}">
                      <a16:creationId xmlns:a16="http://schemas.microsoft.com/office/drawing/2014/main" id="{EEC17753-7B52-35AB-636F-8497259E16E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14" name="Graphic 3513">
                  <a:extLst>
                    <a:ext uri="{FF2B5EF4-FFF2-40B4-BE49-F238E27FC236}">
                      <a16:creationId xmlns:a16="http://schemas.microsoft.com/office/drawing/2014/main" id="{9907013B-EA0D-AE3F-B9FA-C49A6E1515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15" name="Graphic 3514">
                  <a:extLst>
                    <a:ext uri="{FF2B5EF4-FFF2-40B4-BE49-F238E27FC236}">
                      <a16:creationId xmlns:a16="http://schemas.microsoft.com/office/drawing/2014/main" id="{5EBAFEB0-52D1-184D-B32D-CD59DD5198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16" name="Graphic 3515">
                  <a:extLst>
                    <a:ext uri="{FF2B5EF4-FFF2-40B4-BE49-F238E27FC236}">
                      <a16:creationId xmlns:a16="http://schemas.microsoft.com/office/drawing/2014/main" id="{4CBCBA32-6D52-65B1-5D78-DF071D430C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517" name="Graphic 3516">
                  <a:extLst>
                    <a:ext uri="{FF2B5EF4-FFF2-40B4-BE49-F238E27FC236}">
                      <a16:creationId xmlns:a16="http://schemas.microsoft.com/office/drawing/2014/main" id="{34511D7B-3D58-96B3-A977-67228776CBE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18" name="Graphic 3517">
                  <a:extLst>
                    <a:ext uri="{FF2B5EF4-FFF2-40B4-BE49-F238E27FC236}">
                      <a16:creationId xmlns:a16="http://schemas.microsoft.com/office/drawing/2014/main" id="{05827F09-19CF-B8F1-0C67-834D89777C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519" name="Graphic 3518">
                  <a:extLst>
                    <a:ext uri="{FF2B5EF4-FFF2-40B4-BE49-F238E27FC236}">
                      <a16:creationId xmlns:a16="http://schemas.microsoft.com/office/drawing/2014/main" id="{A1EF28B7-FE3D-2CD5-B377-B06CF2CE3B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20" name="Graphic 3519">
                  <a:extLst>
                    <a:ext uri="{FF2B5EF4-FFF2-40B4-BE49-F238E27FC236}">
                      <a16:creationId xmlns:a16="http://schemas.microsoft.com/office/drawing/2014/main" id="{B81684F8-E9B8-D090-80A1-EEDE3B7B419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21" name="Graphic 3520">
                  <a:extLst>
                    <a:ext uri="{FF2B5EF4-FFF2-40B4-BE49-F238E27FC236}">
                      <a16:creationId xmlns:a16="http://schemas.microsoft.com/office/drawing/2014/main" id="{A03B7A8D-F85D-970B-D83A-8844473F21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22" name="Graphic 3521">
                  <a:extLst>
                    <a:ext uri="{FF2B5EF4-FFF2-40B4-BE49-F238E27FC236}">
                      <a16:creationId xmlns:a16="http://schemas.microsoft.com/office/drawing/2014/main" id="{9434365E-928F-0CC0-F109-2122F6F49F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23" name="Graphic 3522">
                  <a:extLst>
                    <a:ext uri="{FF2B5EF4-FFF2-40B4-BE49-F238E27FC236}">
                      <a16:creationId xmlns:a16="http://schemas.microsoft.com/office/drawing/2014/main" id="{5F14D025-DE2A-03CE-D398-3D56F3CDB2C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24" name="Graphic 3523">
                  <a:extLst>
                    <a:ext uri="{FF2B5EF4-FFF2-40B4-BE49-F238E27FC236}">
                      <a16:creationId xmlns:a16="http://schemas.microsoft.com/office/drawing/2014/main" id="{DB05286E-1935-F9DA-24E7-B09F9B35D45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525" name="Graphic 3524">
                  <a:extLst>
                    <a:ext uri="{FF2B5EF4-FFF2-40B4-BE49-F238E27FC236}">
                      <a16:creationId xmlns:a16="http://schemas.microsoft.com/office/drawing/2014/main" id="{7BCC0A03-DDAF-10FF-DFCB-DE06BCF5EEC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508" name="Graphic 3507">
                <a:extLst>
                  <a:ext uri="{FF2B5EF4-FFF2-40B4-BE49-F238E27FC236}">
                    <a16:creationId xmlns:a16="http://schemas.microsoft.com/office/drawing/2014/main" id="{0E7CB0CB-2DEB-ABC2-D4A9-4DEA72313F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509" name="Graphic 3508">
                <a:extLst>
                  <a:ext uri="{FF2B5EF4-FFF2-40B4-BE49-F238E27FC236}">
                    <a16:creationId xmlns:a16="http://schemas.microsoft.com/office/drawing/2014/main" id="{8A796571-9698-B797-FF92-46A76BC760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510" name="Graphic 3509">
                <a:extLst>
                  <a:ext uri="{FF2B5EF4-FFF2-40B4-BE49-F238E27FC236}">
                    <a16:creationId xmlns:a16="http://schemas.microsoft.com/office/drawing/2014/main" id="{0FCE816F-2D6A-C4D8-2C71-320E6AE985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511" name="Graphic 3510">
                <a:extLst>
                  <a:ext uri="{FF2B5EF4-FFF2-40B4-BE49-F238E27FC236}">
                    <a16:creationId xmlns:a16="http://schemas.microsoft.com/office/drawing/2014/main" id="{551C3B2C-DA13-8CCA-8246-2F236DEE8C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59FB8FC-C9BA-35AF-CE59-924EAA5F3A32}"/>
                </a:ext>
              </a:extLst>
            </p:cNvPr>
            <p:cNvGrpSpPr/>
            <p:nvPr/>
          </p:nvGrpSpPr>
          <p:grpSpPr>
            <a:xfrm>
              <a:off x="1225142" y="3780434"/>
              <a:ext cx="61436" cy="60687"/>
              <a:chOff x="5071590" y="2724817"/>
              <a:chExt cx="1901239" cy="1655213"/>
            </a:xfrm>
          </p:grpSpPr>
          <p:grpSp>
            <p:nvGrpSpPr>
              <p:cNvPr id="3465" name="Group 3464">
                <a:extLst>
                  <a:ext uri="{FF2B5EF4-FFF2-40B4-BE49-F238E27FC236}">
                    <a16:creationId xmlns:a16="http://schemas.microsoft.com/office/drawing/2014/main" id="{D741065A-7D08-FF98-38A9-629BE2E969BF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470" name="Group 3469">
                  <a:extLst>
                    <a:ext uri="{FF2B5EF4-FFF2-40B4-BE49-F238E27FC236}">
                      <a16:creationId xmlns:a16="http://schemas.microsoft.com/office/drawing/2014/main" id="{96025C74-7B50-7634-C2BC-4F8277BE1B29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484" name="Oval 3483">
                    <a:extLst>
                      <a:ext uri="{FF2B5EF4-FFF2-40B4-BE49-F238E27FC236}">
                        <a16:creationId xmlns:a16="http://schemas.microsoft.com/office/drawing/2014/main" id="{5ACACDCA-61DE-2A23-7557-6F54D4192F94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485" name="Group 3484">
                    <a:extLst>
                      <a:ext uri="{FF2B5EF4-FFF2-40B4-BE49-F238E27FC236}">
                        <a16:creationId xmlns:a16="http://schemas.microsoft.com/office/drawing/2014/main" id="{B99B4D41-2078-2B2B-39A2-5857D55A395B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486" name="Graphic 3485">
                      <a:extLst>
                        <a:ext uri="{FF2B5EF4-FFF2-40B4-BE49-F238E27FC236}">
                          <a16:creationId xmlns:a16="http://schemas.microsoft.com/office/drawing/2014/main" id="{FF60B9AB-93C7-A2E0-94DF-0CE5313E4D5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87" name="Graphic 3486">
                      <a:extLst>
                        <a:ext uri="{FF2B5EF4-FFF2-40B4-BE49-F238E27FC236}">
                          <a16:creationId xmlns:a16="http://schemas.microsoft.com/office/drawing/2014/main" id="{73C8EA08-9CCC-C54C-BF25-242B444ABE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88" name="Graphic 3487">
                      <a:extLst>
                        <a:ext uri="{FF2B5EF4-FFF2-40B4-BE49-F238E27FC236}">
                          <a16:creationId xmlns:a16="http://schemas.microsoft.com/office/drawing/2014/main" id="{16858719-3E4D-BAAF-35F5-9BBD79C6F8A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89" name="Graphic 3488">
                      <a:extLst>
                        <a:ext uri="{FF2B5EF4-FFF2-40B4-BE49-F238E27FC236}">
                          <a16:creationId xmlns:a16="http://schemas.microsoft.com/office/drawing/2014/main" id="{6FC3B936-4E5A-F5BB-6418-4C68ED2D79B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90" name="Graphic 3489">
                      <a:extLst>
                        <a:ext uri="{FF2B5EF4-FFF2-40B4-BE49-F238E27FC236}">
                          <a16:creationId xmlns:a16="http://schemas.microsoft.com/office/drawing/2014/main" id="{E66140A5-00AF-2184-FFAF-871D08B1076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91" name="Graphic 3490">
                      <a:extLst>
                        <a:ext uri="{FF2B5EF4-FFF2-40B4-BE49-F238E27FC236}">
                          <a16:creationId xmlns:a16="http://schemas.microsoft.com/office/drawing/2014/main" id="{711E3172-18C8-EAE2-88DC-709D0F0FF00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92" name="Graphic 3491">
                      <a:extLst>
                        <a:ext uri="{FF2B5EF4-FFF2-40B4-BE49-F238E27FC236}">
                          <a16:creationId xmlns:a16="http://schemas.microsoft.com/office/drawing/2014/main" id="{BFD12211-AA5B-7530-45C0-8824B16DA40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93" name="Graphic 3492">
                      <a:extLst>
                        <a:ext uri="{FF2B5EF4-FFF2-40B4-BE49-F238E27FC236}">
                          <a16:creationId xmlns:a16="http://schemas.microsoft.com/office/drawing/2014/main" id="{D62952C5-AAB9-5940-D29E-207F05E0EA6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94" name="Graphic 3493">
                      <a:extLst>
                        <a:ext uri="{FF2B5EF4-FFF2-40B4-BE49-F238E27FC236}">
                          <a16:creationId xmlns:a16="http://schemas.microsoft.com/office/drawing/2014/main" id="{14F201DB-B855-DB99-78AD-1403A073A5F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95" name="Graphic 3494">
                      <a:extLst>
                        <a:ext uri="{FF2B5EF4-FFF2-40B4-BE49-F238E27FC236}">
                          <a16:creationId xmlns:a16="http://schemas.microsoft.com/office/drawing/2014/main" id="{556835E8-2E59-1838-D92D-051A9E0D67E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96" name="Graphic 3495">
                      <a:extLst>
                        <a:ext uri="{FF2B5EF4-FFF2-40B4-BE49-F238E27FC236}">
                          <a16:creationId xmlns:a16="http://schemas.microsoft.com/office/drawing/2014/main" id="{E793A821-6CA0-0F4D-F4D4-60A99B523D1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97" name="Graphic 3496">
                      <a:extLst>
                        <a:ext uri="{FF2B5EF4-FFF2-40B4-BE49-F238E27FC236}">
                          <a16:creationId xmlns:a16="http://schemas.microsoft.com/office/drawing/2014/main" id="{A3FA13A4-9DE6-347A-22D5-A40304E6FFF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98" name="Graphic 3497">
                      <a:extLst>
                        <a:ext uri="{FF2B5EF4-FFF2-40B4-BE49-F238E27FC236}">
                          <a16:creationId xmlns:a16="http://schemas.microsoft.com/office/drawing/2014/main" id="{286EB651-70AB-2EA3-783A-ADA8AEF23A1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99" name="Graphic 3498">
                      <a:extLst>
                        <a:ext uri="{FF2B5EF4-FFF2-40B4-BE49-F238E27FC236}">
                          <a16:creationId xmlns:a16="http://schemas.microsoft.com/office/drawing/2014/main" id="{81FABC50-6272-6622-09E8-1CFC96AA036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00" name="Graphic 3499">
                      <a:extLst>
                        <a:ext uri="{FF2B5EF4-FFF2-40B4-BE49-F238E27FC236}">
                          <a16:creationId xmlns:a16="http://schemas.microsoft.com/office/drawing/2014/main" id="{508B2344-C4A4-21E2-1E25-2F68DCCD685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01" name="Graphic 3500">
                      <a:extLst>
                        <a:ext uri="{FF2B5EF4-FFF2-40B4-BE49-F238E27FC236}">
                          <a16:creationId xmlns:a16="http://schemas.microsoft.com/office/drawing/2014/main" id="{D57E2903-790B-2E61-B589-3C0BD77B198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02" name="Graphic 3501">
                      <a:extLst>
                        <a:ext uri="{FF2B5EF4-FFF2-40B4-BE49-F238E27FC236}">
                          <a16:creationId xmlns:a16="http://schemas.microsoft.com/office/drawing/2014/main" id="{F7069FCC-A867-1C3D-7392-E8A47544F64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03" name="Graphic 3502">
                      <a:extLst>
                        <a:ext uri="{FF2B5EF4-FFF2-40B4-BE49-F238E27FC236}">
                          <a16:creationId xmlns:a16="http://schemas.microsoft.com/office/drawing/2014/main" id="{BB19AB18-C173-5765-EDD4-CC34BDCEE41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04" name="Graphic 3503">
                      <a:extLst>
                        <a:ext uri="{FF2B5EF4-FFF2-40B4-BE49-F238E27FC236}">
                          <a16:creationId xmlns:a16="http://schemas.microsoft.com/office/drawing/2014/main" id="{AB3002B1-562A-791B-8EA0-0C92253EF66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05" name="Graphic 3504">
                      <a:extLst>
                        <a:ext uri="{FF2B5EF4-FFF2-40B4-BE49-F238E27FC236}">
                          <a16:creationId xmlns:a16="http://schemas.microsoft.com/office/drawing/2014/main" id="{F63E0C17-9288-4CA4-550B-6B9B734A400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06" name="Graphic 3505">
                      <a:extLst>
                        <a:ext uri="{FF2B5EF4-FFF2-40B4-BE49-F238E27FC236}">
                          <a16:creationId xmlns:a16="http://schemas.microsoft.com/office/drawing/2014/main" id="{95AE2900-0239-D8DA-9069-2E7BFB2C827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471" name="Graphic 3470">
                  <a:extLst>
                    <a:ext uri="{FF2B5EF4-FFF2-40B4-BE49-F238E27FC236}">
                      <a16:creationId xmlns:a16="http://schemas.microsoft.com/office/drawing/2014/main" id="{0281C074-C5D1-16FB-B417-EC1942254A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72" name="Graphic 3471">
                  <a:extLst>
                    <a:ext uri="{FF2B5EF4-FFF2-40B4-BE49-F238E27FC236}">
                      <a16:creationId xmlns:a16="http://schemas.microsoft.com/office/drawing/2014/main" id="{D1480465-4B0D-C616-90BD-641D7E30576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73" name="Graphic 3472">
                  <a:extLst>
                    <a:ext uri="{FF2B5EF4-FFF2-40B4-BE49-F238E27FC236}">
                      <a16:creationId xmlns:a16="http://schemas.microsoft.com/office/drawing/2014/main" id="{A1FC5937-CED9-D552-3D7F-08E8B5F983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74" name="Graphic 3473">
                  <a:extLst>
                    <a:ext uri="{FF2B5EF4-FFF2-40B4-BE49-F238E27FC236}">
                      <a16:creationId xmlns:a16="http://schemas.microsoft.com/office/drawing/2014/main" id="{344AA7A6-5B78-A87C-667C-99A508B1308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475" name="Graphic 3474">
                  <a:extLst>
                    <a:ext uri="{FF2B5EF4-FFF2-40B4-BE49-F238E27FC236}">
                      <a16:creationId xmlns:a16="http://schemas.microsoft.com/office/drawing/2014/main" id="{FBD4B21A-8D9A-4865-FB84-AD767E7243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76" name="Graphic 3475">
                  <a:extLst>
                    <a:ext uri="{FF2B5EF4-FFF2-40B4-BE49-F238E27FC236}">
                      <a16:creationId xmlns:a16="http://schemas.microsoft.com/office/drawing/2014/main" id="{AA2B8A09-6B58-3405-F762-E4E8AA02140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477" name="Graphic 3476">
                  <a:extLst>
                    <a:ext uri="{FF2B5EF4-FFF2-40B4-BE49-F238E27FC236}">
                      <a16:creationId xmlns:a16="http://schemas.microsoft.com/office/drawing/2014/main" id="{2B97E12B-D976-1FBE-7975-8F99ED17C86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78" name="Graphic 3477">
                  <a:extLst>
                    <a:ext uri="{FF2B5EF4-FFF2-40B4-BE49-F238E27FC236}">
                      <a16:creationId xmlns:a16="http://schemas.microsoft.com/office/drawing/2014/main" id="{638465FB-49EA-5E51-5350-4F8C606BE06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79" name="Graphic 3478">
                  <a:extLst>
                    <a:ext uri="{FF2B5EF4-FFF2-40B4-BE49-F238E27FC236}">
                      <a16:creationId xmlns:a16="http://schemas.microsoft.com/office/drawing/2014/main" id="{1CBE9452-E458-76C2-6445-20EE3C35FA7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80" name="Graphic 3479">
                  <a:extLst>
                    <a:ext uri="{FF2B5EF4-FFF2-40B4-BE49-F238E27FC236}">
                      <a16:creationId xmlns:a16="http://schemas.microsoft.com/office/drawing/2014/main" id="{E704ADB1-AA5E-674F-2D53-542BEB8824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81" name="Graphic 3480">
                  <a:extLst>
                    <a:ext uri="{FF2B5EF4-FFF2-40B4-BE49-F238E27FC236}">
                      <a16:creationId xmlns:a16="http://schemas.microsoft.com/office/drawing/2014/main" id="{3656D6EB-CA9E-03C9-A7B9-628D18F5C61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82" name="Graphic 3481">
                  <a:extLst>
                    <a:ext uri="{FF2B5EF4-FFF2-40B4-BE49-F238E27FC236}">
                      <a16:creationId xmlns:a16="http://schemas.microsoft.com/office/drawing/2014/main" id="{68470A96-2A01-11B9-B5D4-66D2505ACA2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83" name="Graphic 3482">
                  <a:extLst>
                    <a:ext uri="{FF2B5EF4-FFF2-40B4-BE49-F238E27FC236}">
                      <a16:creationId xmlns:a16="http://schemas.microsoft.com/office/drawing/2014/main" id="{5401FE42-1AEE-7E17-9B1B-D71D1C4B8B0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466" name="Graphic 3465">
                <a:extLst>
                  <a:ext uri="{FF2B5EF4-FFF2-40B4-BE49-F238E27FC236}">
                    <a16:creationId xmlns:a16="http://schemas.microsoft.com/office/drawing/2014/main" id="{BBBE5D6D-A931-6AC1-58A5-7DB8FD0983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467" name="Graphic 3466">
                <a:extLst>
                  <a:ext uri="{FF2B5EF4-FFF2-40B4-BE49-F238E27FC236}">
                    <a16:creationId xmlns:a16="http://schemas.microsoft.com/office/drawing/2014/main" id="{2F795B69-018D-EEC2-7153-E7EA92BCD6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468" name="Graphic 3467">
                <a:extLst>
                  <a:ext uri="{FF2B5EF4-FFF2-40B4-BE49-F238E27FC236}">
                    <a16:creationId xmlns:a16="http://schemas.microsoft.com/office/drawing/2014/main" id="{82A49B28-6250-E06E-A250-8F948F5E88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469" name="Graphic 3468">
                <a:extLst>
                  <a:ext uri="{FF2B5EF4-FFF2-40B4-BE49-F238E27FC236}">
                    <a16:creationId xmlns:a16="http://schemas.microsoft.com/office/drawing/2014/main" id="{96B27650-AD5A-411B-CB08-C80F3C9CB4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629C00D7-4824-8E6D-5114-3AF172E68680}"/>
                </a:ext>
              </a:extLst>
            </p:cNvPr>
            <p:cNvGrpSpPr/>
            <p:nvPr/>
          </p:nvGrpSpPr>
          <p:grpSpPr>
            <a:xfrm>
              <a:off x="826965" y="3368556"/>
              <a:ext cx="163034" cy="161047"/>
              <a:chOff x="5071590" y="2724817"/>
              <a:chExt cx="1901239" cy="1655213"/>
            </a:xfrm>
          </p:grpSpPr>
          <p:grpSp>
            <p:nvGrpSpPr>
              <p:cNvPr id="3423" name="Group 3422">
                <a:extLst>
                  <a:ext uri="{FF2B5EF4-FFF2-40B4-BE49-F238E27FC236}">
                    <a16:creationId xmlns:a16="http://schemas.microsoft.com/office/drawing/2014/main" id="{B6B90F3D-CE4C-21F4-1D22-1836AE9FD325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428" name="Group 3427">
                  <a:extLst>
                    <a:ext uri="{FF2B5EF4-FFF2-40B4-BE49-F238E27FC236}">
                      <a16:creationId xmlns:a16="http://schemas.microsoft.com/office/drawing/2014/main" id="{4EB1F9D7-F917-2B6D-99A5-5FF1829C8C81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442" name="Oval 3441">
                    <a:extLst>
                      <a:ext uri="{FF2B5EF4-FFF2-40B4-BE49-F238E27FC236}">
                        <a16:creationId xmlns:a16="http://schemas.microsoft.com/office/drawing/2014/main" id="{DAB3D75C-68FD-B98E-4968-D749DE0069BD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443" name="Group 3442">
                    <a:extLst>
                      <a:ext uri="{FF2B5EF4-FFF2-40B4-BE49-F238E27FC236}">
                        <a16:creationId xmlns:a16="http://schemas.microsoft.com/office/drawing/2014/main" id="{65FB760B-B9A2-2C85-9664-3E4F7BB3BA29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444" name="Graphic 3443">
                      <a:extLst>
                        <a:ext uri="{FF2B5EF4-FFF2-40B4-BE49-F238E27FC236}">
                          <a16:creationId xmlns:a16="http://schemas.microsoft.com/office/drawing/2014/main" id="{2B085F86-C597-A946-1AF2-8EA71A13D64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45" name="Graphic 3444">
                      <a:extLst>
                        <a:ext uri="{FF2B5EF4-FFF2-40B4-BE49-F238E27FC236}">
                          <a16:creationId xmlns:a16="http://schemas.microsoft.com/office/drawing/2014/main" id="{BBB20544-3F94-51A0-5429-971D65678DC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46" name="Graphic 3445">
                      <a:extLst>
                        <a:ext uri="{FF2B5EF4-FFF2-40B4-BE49-F238E27FC236}">
                          <a16:creationId xmlns:a16="http://schemas.microsoft.com/office/drawing/2014/main" id="{DABCC183-A4EF-8C90-DC01-0E5B1A7F203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47" name="Graphic 3446">
                      <a:extLst>
                        <a:ext uri="{FF2B5EF4-FFF2-40B4-BE49-F238E27FC236}">
                          <a16:creationId xmlns:a16="http://schemas.microsoft.com/office/drawing/2014/main" id="{65280944-4D26-8123-FB6B-965128ACAF8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48" name="Graphic 3447">
                      <a:extLst>
                        <a:ext uri="{FF2B5EF4-FFF2-40B4-BE49-F238E27FC236}">
                          <a16:creationId xmlns:a16="http://schemas.microsoft.com/office/drawing/2014/main" id="{BD76A90B-5D43-8E65-F575-829AEB1A681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49" name="Graphic 3448">
                      <a:extLst>
                        <a:ext uri="{FF2B5EF4-FFF2-40B4-BE49-F238E27FC236}">
                          <a16:creationId xmlns:a16="http://schemas.microsoft.com/office/drawing/2014/main" id="{92692908-7F39-7C85-E0C3-61F117BF477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50" name="Graphic 3449">
                      <a:extLst>
                        <a:ext uri="{FF2B5EF4-FFF2-40B4-BE49-F238E27FC236}">
                          <a16:creationId xmlns:a16="http://schemas.microsoft.com/office/drawing/2014/main" id="{912A800A-D5F4-3EC3-2334-9F31344327E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51" name="Graphic 3450">
                      <a:extLst>
                        <a:ext uri="{FF2B5EF4-FFF2-40B4-BE49-F238E27FC236}">
                          <a16:creationId xmlns:a16="http://schemas.microsoft.com/office/drawing/2014/main" id="{581B93D6-DB03-EC2A-9629-731371ED008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52" name="Graphic 3451">
                      <a:extLst>
                        <a:ext uri="{FF2B5EF4-FFF2-40B4-BE49-F238E27FC236}">
                          <a16:creationId xmlns:a16="http://schemas.microsoft.com/office/drawing/2014/main" id="{710371DD-548F-72E7-355B-DCCA0D449BE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53" name="Graphic 3452">
                      <a:extLst>
                        <a:ext uri="{FF2B5EF4-FFF2-40B4-BE49-F238E27FC236}">
                          <a16:creationId xmlns:a16="http://schemas.microsoft.com/office/drawing/2014/main" id="{579E3CE1-BA91-BE01-1FEE-4F184B954E3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54" name="Graphic 3453">
                      <a:extLst>
                        <a:ext uri="{FF2B5EF4-FFF2-40B4-BE49-F238E27FC236}">
                          <a16:creationId xmlns:a16="http://schemas.microsoft.com/office/drawing/2014/main" id="{E596578B-DE35-357D-F299-1302BD6E38D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55" name="Graphic 3454">
                      <a:extLst>
                        <a:ext uri="{FF2B5EF4-FFF2-40B4-BE49-F238E27FC236}">
                          <a16:creationId xmlns:a16="http://schemas.microsoft.com/office/drawing/2014/main" id="{7F039B2B-8896-34A4-7D32-3244F97FA5B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56" name="Graphic 3455">
                      <a:extLst>
                        <a:ext uri="{FF2B5EF4-FFF2-40B4-BE49-F238E27FC236}">
                          <a16:creationId xmlns:a16="http://schemas.microsoft.com/office/drawing/2014/main" id="{BA42B65E-1944-7F69-5332-CCC4C50C722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57" name="Graphic 3456">
                      <a:extLst>
                        <a:ext uri="{FF2B5EF4-FFF2-40B4-BE49-F238E27FC236}">
                          <a16:creationId xmlns:a16="http://schemas.microsoft.com/office/drawing/2014/main" id="{ABE81097-85BD-6B69-246A-A0930B8ED79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58" name="Graphic 3457">
                      <a:extLst>
                        <a:ext uri="{FF2B5EF4-FFF2-40B4-BE49-F238E27FC236}">
                          <a16:creationId xmlns:a16="http://schemas.microsoft.com/office/drawing/2014/main" id="{6F86FC8F-50AB-7D8B-64EE-3313B389981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59" name="Graphic 3458">
                      <a:extLst>
                        <a:ext uri="{FF2B5EF4-FFF2-40B4-BE49-F238E27FC236}">
                          <a16:creationId xmlns:a16="http://schemas.microsoft.com/office/drawing/2014/main" id="{15D7A6C0-7B10-7823-8D5D-47093A534BA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60" name="Graphic 3459">
                      <a:extLst>
                        <a:ext uri="{FF2B5EF4-FFF2-40B4-BE49-F238E27FC236}">
                          <a16:creationId xmlns:a16="http://schemas.microsoft.com/office/drawing/2014/main" id="{F66B2D64-EA02-886A-6F1D-050CC531EDD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61" name="Graphic 3460">
                      <a:extLst>
                        <a:ext uri="{FF2B5EF4-FFF2-40B4-BE49-F238E27FC236}">
                          <a16:creationId xmlns:a16="http://schemas.microsoft.com/office/drawing/2014/main" id="{23BE250B-3E52-6C65-7430-B43C7D7D3D0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62" name="Graphic 3461">
                      <a:extLst>
                        <a:ext uri="{FF2B5EF4-FFF2-40B4-BE49-F238E27FC236}">
                          <a16:creationId xmlns:a16="http://schemas.microsoft.com/office/drawing/2014/main" id="{6B84B5B3-D01A-DCCC-3C30-D7F8975E5A3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63" name="Graphic 3462">
                      <a:extLst>
                        <a:ext uri="{FF2B5EF4-FFF2-40B4-BE49-F238E27FC236}">
                          <a16:creationId xmlns:a16="http://schemas.microsoft.com/office/drawing/2014/main" id="{3E62E8F4-A197-72D0-A2AD-80E5F12EDFA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64" name="Graphic 3463">
                      <a:extLst>
                        <a:ext uri="{FF2B5EF4-FFF2-40B4-BE49-F238E27FC236}">
                          <a16:creationId xmlns:a16="http://schemas.microsoft.com/office/drawing/2014/main" id="{B2D58423-04E6-6AF3-7313-09A3B2431B9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429" name="Graphic 3428">
                  <a:extLst>
                    <a:ext uri="{FF2B5EF4-FFF2-40B4-BE49-F238E27FC236}">
                      <a16:creationId xmlns:a16="http://schemas.microsoft.com/office/drawing/2014/main" id="{BDF84E11-C97A-EE14-61A5-F8D4B3B2B2F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30" name="Graphic 3429">
                  <a:extLst>
                    <a:ext uri="{FF2B5EF4-FFF2-40B4-BE49-F238E27FC236}">
                      <a16:creationId xmlns:a16="http://schemas.microsoft.com/office/drawing/2014/main" id="{2131A0C5-D98F-EC5F-17D9-5C71671773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31" name="Graphic 3430">
                  <a:extLst>
                    <a:ext uri="{FF2B5EF4-FFF2-40B4-BE49-F238E27FC236}">
                      <a16:creationId xmlns:a16="http://schemas.microsoft.com/office/drawing/2014/main" id="{7F9A2CB4-E90D-C7B4-C44B-BF2EFBA8FC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32" name="Graphic 3431">
                  <a:extLst>
                    <a:ext uri="{FF2B5EF4-FFF2-40B4-BE49-F238E27FC236}">
                      <a16:creationId xmlns:a16="http://schemas.microsoft.com/office/drawing/2014/main" id="{EE8FD164-150B-40EB-B3B6-DA19C2A436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433" name="Graphic 3432">
                  <a:extLst>
                    <a:ext uri="{FF2B5EF4-FFF2-40B4-BE49-F238E27FC236}">
                      <a16:creationId xmlns:a16="http://schemas.microsoft.com/office/drawing/2014/main" id="{8CF1777B-D8DA-6568-2360-69AA2029982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34" name="Graphic 3433">
                  <a:extLst>
                    <a:ext uri="{FF2B5EF4-FFF2-40B4-BE49-F238E27FC236}">
                      <a16:creationId xmlns:a16="http://schemas.microsoft.com/office/drawing/2014/main" id="{2AD75E0F-63FA-11E6-800B-D82F3011613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435" name="Graphic 3434">
                  <a:extLst>
                    <a:ext uri="{FF2B5EF4-FFF2-40B4-BE49-F238E27FC236}">
                      <a16:creationId xmlns:a16="http://schemas.microsoft.com/office/drawing/2014/main" id="{253E10B7-85D6-6D0F-B542-4C6E4BDAE4C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36" name="Graphic 3435">
                  <a:extLst>
                    <a:ext uri="{FF2B5EF4-FFF2-40B4-BE49-F238E27FC236}">
                      <a16:creationId xmlns:a16="http://schemas.microsoft.com/office/drawing/2014/main" id="{5727B318-2A54-453A-5871-95C9644D08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37" name="Graphic 3436">
                  <a:extLst>
                    <a:ext uri="{FF2B5EF4-FFF2-40B4-BE49-F238E27FC236}">
                      <a16:creationId xmlns:a16="http://schemas.microsoft.com/office/drawing/2014/main" id="{AE42FCE6-52B9-3616-E7A9-A88621B750F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38" name="Graphic 3437">
                  <a:extLst>
                    <a:ext uri="{FF2B5EF4-FFF2-40B4-BE49-F238E27FC236}">
                      <a16:creationId xmlns:a16="http://schemas.microsoft.com/office/drawing/2014/main" id="{0B3AF2DB-4C81-B914-80BD-53C9E80C8E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39" name="Graphic 3438">
                  <a:extLst>
                    <a:ext uri="{FF2B5EF4-FFF2-40B4-BE49-F238E27FC236}">
                      <a16:creationId xmlns:a16="http://schemas.microsoft.com/office/drawing/2014/main" id="{E42CAAF4-D7F8-D780-BFFF-1B36AE4FD23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40" name="Graphic 3439">
                  <a:extLst>
                    <a:ext uri="{FF2B5EF4-FFF2-40B4-BE49-F238E27FC236}">
                      <a16:creationId xmlns:a16="http://schemas.microsoft.com/office/drawing/2014/main" id="{8804006B-629F-75C8-F6DB-3E474AB78B2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41" name="Graphic 3440">
                  <a:extLst>
                    <a:ext uri="{FF2B5EF4-FFF2-40B4-BE49-F238E27FC236}">
                      <a16:creationId xmlns:a16="http://schemas.microsoft.com/office/drawing/2014/main" id="{43A1D2B9-2704-430A-894A-C9B4778D700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424" name="Graphic 3423">
                <a:extLst>
                  <a:ext uri="{FF2B5EF4-FFF2-40B4-BE49-F238E27FC236}">
                    <a16:creationId xmlns:a16="http://schemas.microsoft.com/office/drawing/2014/main" id="{507C7D54-B9EC-4980-7EC5-DF81FBD62E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425" name="Graphic 3424">
                <a:extLst>
                  <a:ext uri="{FF2B5EF4-FFF2-40B4-BE49-F238E27FC236}">
                    <a16:creationId xmlns:a16="http://schemas.microsoft.com/office/drawing/2014/main" id="{CD0B3AC1-6236-957E-587D-F67283C49D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426" name="Graphic 3425">
                <a:extLst>
                  <a:ext uri="{FF2B5EF4-FFF2-40B4-BE49-F238E27FC236}">
                    <a16:creationId xmlns:a16="http://schemas.microsoft.com/office/drawing/2014/main" id="{B6B1E61E-5DEB-B847-4A12-96AD8B8CD0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427" name="Graphic 3426">
                <a:extLst>
                  <a:ext uri="{FF2B5EF4-FFF2-40B4-BE49-F238E27FC236}">
                    <a16:creationId xmlns:a16="http://schemas.microsoft.com/office/drawing/2014/main" id="{F92D0907-8C61-266B-3678-2636A3C811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ACF40BED-0804-533C-7869-18355AEC9EB2}"/>
                </a:ext>
              </a:extLst>
            </p:cNvPr>
            <p:cNvGrpSpPr/>
            <p:nvPr/>
          </p:nvGrpSpPr>
          <p:grpSpPr>
            <a:xfrm>
              <a:off x="493283" y="3400088"/>
              <a:ext cx="116580" cy="115160"/>
              <a:chOff x="5071590" y="2724817"/>
              <a:chExt cx="1901239" cy="1655213"/>
            </a:xfrm>
          </p:grpSpPr>
          <p:grpSp>
            <p:nvGrpSpPr>
              <p:cNvPr id="3381" name="Group 3380">
                <a:extLst>
                  <a:ext uri="{FF2B5EF4-FFF2-40B4-BE49-F238E27FC236}">
                    <a16:creationId xmlns:a16="http://schemas.microsoft.com/office/drawing/2014/main" id="{8F86FA74-E955-F63E-9436-58D392CE3F7A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386" name="Group 3385">
                  <a:extLst>
                    <a:ext uri="{FF2B5EF4-FFF2-40B4-BE49-F238E27FC236}">
                      <a16:creationId xmlns:a16="http://schemas.microsoft.com/office/drawing/2014/main" id="{60D2342D-11C8-C72E-5F80-49D029B343AB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400" name="Oval 3399">
                    <a:extLst>
                      <a:ext uri="{FF2B5EF4-FFF2-40B4-BE49-F238E27FC236}">
                        <a16:creationId xmlns:a16="http://schemas.microsoft.com/office/drawing/2014/main" id="{ACA0D043-9F3E-4E25-4D1C-FF92539EB28D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401" name="Group 3400">
                    <a:extLst>
                      <a:ext uri="{FF2B5EF4-FFF2-40B4-BE49-F238E27FC236}">
                        <a16:creationId xmlns:a16="http://schemas.microsoft.com/office/drawing/2014/main" id="{3D066F6E-FC0C-C39E-A64A-8AABB5F099EA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402" name="Graphic 3401">
                      <a:extLst>
                        <a:ext uri="{FF2B5EF4-FFF2-40B4-BE49-F238E27FC236}">
                          <a16:creationId xmlns:a16="http://schemas.microsoft.com/office/drawing/2014/main" id="{57484C5D-E906-D603-0E79-B7757587A3A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03" name="Graphic 3402">
                      <a:extLst>
                        <a:ext uri="{FF2B5EF4-FFF2-40B4-BE49-F238E27FC236}">
                          <a16:creationId xmlns:a16="http://schemas.microsoft.com/office/drawing/2014/main" id="{BB24EA0F-14C9-6F69-D667-32E0E36D079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04" name="Graphic 3403">
                      <a:extLst>
                        <a:ext uri="{FF2B5EF4-FFF2-40B4-BE49-F238E27FC236}">
                          <a16:creationId xmlns:a16="http://schemas.microsoft.com/office/drawing/2014/main" id="{26EB4AF7-D73F-7F20-00FB-0C1256609F7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05" name="Graphic 3404">
                      <a:extLst>
                        <a:ext uri="{FF2B5EF4-FFF2-40B4-BE49-F238E27FC236}">
                          <a16:creationId xmlns:a16="http://schemas.microsoft.com/office/drawing/2014/main" id="{52B2E6A4-2D91-69C9-4F65-6FD9DD4B5B0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06" name="Graphic 3405">
                      <a:extLst>
                        <a:ext uri="{FF2B5EF4-FFF2-40B4-BE49-F238E27FC236}">
                          <a16:creationId xmlns:a16="http://schemas.microsoft.com/office/drawing/2014/main" id="{0C34331F-F7C4-CE43-3EDF-90EE34741A9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07" name="Graphic 3406">
                      <a:extLst>
                        <a:ext uri="{FF2B5EF4-FFF2-40B4-BE49-F238E27FC236}">
                          <a16:creationId xmlns:a16="http://schemas.microsoft.com/office/drawing/2014/main" id="{ECEFC126-9D16-4C47-0F1A-2DB3B3C41AD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08" name="Graphic 3407">
                      <a:extLst>
                        <a:ext uri="{FF2B5EF4-FFF2-40B4-BE49-F238E27FC236}">
                          <a16:creationId xmlns:a16="http://schemas.microsoft.com/office/drawing/2014/main" id="{EE581206-810C-38CB-509E-9C1B5F3C2E6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09" name="Graphic 3408">
                      <a:extLst>
                        <a:ext uri="{FF2B5EF4-FFF2-40B4-BE49-F238E27FC236}">
                          <a16:creationId xmlns:a16="http://schemas.microsoft.com/office/drawing/2014/main" id="{D4B71BC3-8B4D-006B-F23B-11AFAA2ADCA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10" name="Graphic 3409">
                      <a:extLst>
                        <a:ext uri="{FF2B5EF4-FFF2-40B4-BE49-F238E27FC236}">
                          <a16:creationId xmlns:a16="http://schemas.microsoft.com/office/drawing/2014/main" id="{D78CC5F3-1A37-FE7B-E47A-3ED2816B0E9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11" name="Graphic 3410">
                      <a:extLst>
                        <a:ext uri="{FF2B5EF4-FFF2-40B4-BE49-F238E27FC236}">
                          <a16:creationId xmlns:a16="http://schemas.microsoft.com/office/drawing/2014/main" id="{549577AD-7838-7176-8650-A67C9D3D4B6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12" name="Graphic 3411">
                      <a:extLst>
                        <a:ext uri="{FF2B5EF4-FFF2-40B4-BE49-F238E27FC236}">
                          <a16:creationId xmlns:a16="http://schemas.microsoft.com/office/drawing/2014/main" id="{84C3AF20-2331-98A0-2770-CEB89A7F2B2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13" name="Graphic 3412">
                      <a:extLst>
                        <a:ext uri="{FF2B5EF4-FFF2-40B4-BE49-F238E27FC236}">
                          <a16:creationId xmlns:a16="http://schemas.microsoft.com/office/drawing/2014/main" id="{4F001BE9-2AE1-7757-E9DE-44622E36AB2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14" name="Graphic 3413">
                      <a:extLst>
                        <a:ext uri="{FF2B5EF4-FFF2-40B4-BE49-F238E27FC236}">
                          <a16:creationId xmlns:a16="http://schemas.microsoft.com/office/drawing/2014/main" id="{EE1CAD69-FE44-C28D-223C-3EDC07DF41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15" name="Graphic 3414">
                      <a:extLst>
                        <a:ext uri="{FF2B5EF4-FFF2-40B4-BE49-F238E27FC236}">
                          <a16:creationId xmlns:a16="http://schemas.microsoft.com/office/drawing/2014/main" id="{9698A7AB-E4E7-C563-6408-89EDA3CE7A0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16" name="Graphic 3415">
                      <a:extLst>
                        <a:ext uri="{FF2B5EF4-FFF2-40B4-BE49-F238E27FC236}">
                          <a16:creationId xmlns:a16="http://schemas.microsoft.com/office/drawing/2014/main" id="{BEFCB565-15D6-5DD7-C0EB-2DFC4B993C1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17" name="Graphic 3416">
                      <a:extLst>
                        <a:ext uri="{FF2B5EF4-FFF2-40B4-BE49-F238E27FC236}">
                          <a16:creationId xmlns:a16="http://schemas.microsoft.com/office/drawing/2014/main" id="{5F131305-2D5D-13A4-97B4-4E1C53A6B72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18" name="Graphic 3417">
                      <a:extLst>
                        <a:ext uri="{FF2B5EF4-FFF2-40B4-BE49-F238E27FC236}">
                          <a16:creationId xmlns:a16="http://schemas.microsoft.com/office/drawing/2014/main" id="{A0297A7F-2663-ACE3-DB27-F15D1280B0D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19" name="Graphic 3418">
                      <a:extLst>
                        <a:ext uri="{FF2B5EF4-FFF2-40B4-BE49-F238E27FC236}">
                          <a16:creationId xmlns:a16="http://schemas.microsoft.com/office/drawing/2014/main" id="{1BB17E07-8E36-6F1C-48CD-8516C7CC4A7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20" name="Graphic 3419">
                      <a:extLst>
                        <a:ext uri="{FF2B5EF4-FFF2-40B4-BE49-F238E27FC236}">
                          <a16:creationId xmlns:a16="http://schemas.microsoft.com/office/drawing/2014/main" id="{3CB50646-8FA7-07D9-9BC9-C746AE9A300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21" name="Graphic 3420">
                      <a:extLst>
                        <a:ext uri="{FF2B5EF4-FFF2-40B4-BE49-F238E27FC236}">
                          <a16:creationId xmlns:a16="http://schemas.microsoft.com/office/drawing/2014/main" id="{4011F5ED-5AB5-662E-7D81-D676691C34B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22" name="Graphic 3421">
                      <a:extLst>
                        <a:ext uri="{FF2B5EF4-FFF2-40B4-BE49-F238E27FC236}">
                          <a16:creationId xmlns:a16="http://schemas.microsoft.com/office/drawing/2014/main" id="{B99B8FF9-EDF3-0915-026E-2965689C568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387" name="Graphic 3386">
                  <a:extLst>
                    <a:ext uri="{FF2B5EF4-FFF2-40B4-BE49-F238E27FC236}">
                      <a16:creationId xmlns:a16="http://schemas.microsoft.com/office/drawing/2014/main" id="{1B971958-5FE1-2D45-6D36-E810F6544EF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88" name="Graphic 3387">
                  <a:extLst>
                    <a:ext uri="{FF2B5EF4-FFF2-40B4-BE49-F238E27FC236}">
                      <a16:creationId xmlns:a16="http://schemas.microsoft.com/office/drawing/2014/main" id="{B673096B-9A6F-1567-5517-BB6C38C158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89" name="Graphic 3388">
                  <a:extLst>
                    <a:ext uri="{FF2B5EF4-FFF2-40B4-BE49-F238E27FC236}">
                      <a16:creationId xmlns:a16="http://schemas.microsoft.com/office/drawing/2014/main" id="{130397E9-2F90-1F4D-7BCE-C5B85BD9603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90" name="Graphic 3389">
                  <a:extLst>
                    <a:ext uri="{FF2B5EF4-FFF2-40B4-BE49-F238E27FC236}">
                      <a16:creationId xmlns:a16="http://schemas.microsoft.com/office/drawing/2014/main" id="{69CC0CCD-2AE7-63E1-BB81-BAD8C14D06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391" name="Graphic 3390">
                  <a:extLst>
                    <a:ext uri="{FF2B5EF4-FFF2-40B4-BE49-F238E27FC236}">
                      <a16:creationId xmlns:a16="http://schemas.microsoft.com/office/drawing/2014/main" id="{763E907B-DC5C-30DF-BEA9-C5AB2DD36F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92" name="Graphic 3391">
                  <a:extLst>
                    <a:ext uri="{FF2B5EF4-FFF2-40B4-BE49-F238E27FC236}">
                      <a16:creationId xmlns:a16="http://schemas.microsoft.com/office/drawing/2014/main" id="{800D9549-4A9E-4B6C-5E94-2E71A70E76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393" name="Graphic 3392">
                  <a:extLst>
                    <a:ext uri="{FF2B5EF4-FFF2-40B4-BE49-F238E27FC236}">
                      <a16:creationId xmlns:a16="http://schemas.microsoft.com/office/drawing/2014/main" id="{6D29FF8C-3E2D-525C-E315-87446EF5EBC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94" name="Graphic 3393">
                  <a:extLst>
                    <a:ext uri="{FF2B5EF4-FFF2-40B4-BE49-F238E27FC236}">
                      <a16:creationId xmlns:a16="http://schemas.microsoft.com/office/drawing/2014/main" id="{83A8E3F9-EAC5-1677-B20C-4578115FF8E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95" name="Graphic 3394">
                  <a:extLst>
                    <a:ext uri="{FF2B5EF4-FFF2-40B4-BE49-F238E27FC236}">
                      <a16:creationId xmlns:a16="http://schemas.microsoft.com/office/drawing/2014/main" id="{4893D30E-2EE7-D280-A163-95182276F77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96" name="Graphic 3395">
                  <a:extLst>
                    <a:ext uri="{FF2B5EF4-FFF2-40B4-BE49-F238E27FC236}">
                      <a16:creationId xmlns:a16="http://schemas.microsoft.com/office/drawing/2014/main" id="{9E802077-7E0A-6CF9-9CF6-0A934502D6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97" name="Graphic 3396">
                  <a:extLst>
                    <a:ext uri="{FF2B5EF4-FFF2-40B4-BE49-F238E27FC236}">
                      <a16:creationId xmlns:a16="http://schemas.microsoft.com/office/drawing/2014/main" id="{2A55CDC1-B747-A63D-FF1A-873AF317725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98" name="Graphic 3397">
                  <a:extLst>
                    <a:ext uri="{FF2B5EF4-FFF2-40B4-BE49-F238E27FC236}">
                      <a16:creationId xmlns:a16="http://schemas.microsoft.com/office/drawing/2014/main" id="{B51DC0D2-C76D-542E-4630-480CF996EB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99" name="Graphic 3398">
                  <a:extLst>
                    <a:ext uri="{FF2B5EF4-FFF2-40B4-BE49-F238E27FC236}">
                      <a16:creationId xmlns:a16="http://schemas.microsoft.com/office/drawing/2014/main" id="{29D2E630-6DE9-F67B-7D04-F9AFDC1E2D3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382" name="Graphic 3381">
                <a:extLst>
                  <a:ext uri="{FF2B5EF4-FFF2-40B4-BE49-F238E27FC236}">
                    <a16:creationId xmlns:a16="http://schemas.microsoft.com/office/drawing/2014/main" id="{5B488707-3CB7-4541-173B-AA1D949934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383" name="Graphic 3382">
                <a:extLst>
                  <a:ext uri="{FF2B5EF4-FFF2-40B4-BE49-F238E27FC236}">
                    <a16:creationId xmlns:a16="http://schemas.microsoft.com/office/drawing/2014/main" id="{8D7FCF98-4655-771E-092A-0DE31E6CFB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384" name="Graphic 3383">
                <a:extLst>
                  <a:ext uri="{FF2B5EF4-FFF2-40B4-BE49-F238E27FC236}">
                    <a16:creationId xmlns:a16="http://schemas.microsoft.com/office/drawing/2014/main" id="{B3435FC9-914F-1877-78CC-C291C2FFAF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385" name="Graphic 3384">
                <a:extLst>
                  <a:ext uri="{FF2B5EF4-FFF2-40B4-BE49-F238E27FC236}">
                    <a16:creationId xmlns:a16="http://schemas.microsoft.com/office/drawing/2014/main" id="{F214DF6E-AA19-638C-7AFB-876883F161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1857" name="Group 1856">
              <a:extLst>
                <a:ext uri="{FF2B5EF4-FFF2-40B4-BE49-F238E27FC236}">
                  <a16:creationId xmlns:a16="http://schemas.microsoft.com/office/drawing/2014/main" id="{BE943AF5-5809-ED12-F19D-9FBB500B2927}"/>
                </a:ext>
              </a:extLst>
            </p:cNvPr>
            <p:cNvGrpSpPr/>
            <p:nvPr/>
          </p:nvGrpSpPr>
          <p:grpSpPr>
            <a:xfrm>
              <a:off x="769910" y="3599170"/>
              <a:ext cx="192351" cy="190007"/>
              <a:chOff x="5071590" y="2724817"/>
              <a:chExt cx="1901239" cy="1655213"/>
            </a:xfrm>
          </p:grpSpPr>
          <p:grpSp>
            <p:nvGrpSpPr>
              <p:cNvPr id="3339" name="Group 3338">
                <a:extLst>
                  <a:ext uri="{FF2B5EF4-FFF2-40B4-BE49-F238E27FC236}">
                    <a16:creationId xmlns:a16="http://schemas.microsoft.com/office/drawing/2014/main" id="{B95F4036-EA9E-1327-3B72-FB5B000C038F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344" name="Group 3343">
                  <a:extLst>
                    <a:ext uri="{FF2B5EF4-FFF2-40B4-BE49-F238E27FC236}">
                      <a16:creationId xmlns:a16="http://schemas.microsoft.com/office/drawing/2014/main" id="{F53D9577-B8F8-1A0B-AF31-B746949DB4D9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358" name="Oval 3357">
                    <a:extLst>
                      <a:ext uri="{FF2B5EF4-FFF2-40B4-BE49-F238E27FC236}">
                        <a16:creationId xmlns:a16="http://schemas.microsoft.com/office/drawing/2014/main" id="{77885020-2D77-45EE-6A61-3ED9226D270D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359" name="Group 3358">
                    <a:extLst>
                      <a:ext uri="{FF2B5EF4-FFF2-40B4-BE49-F238E27FC236}">
                        <a16:creationId xmlns:a16="http://schemas.microsoft.com/office/drawing/2014/main" id="{DE5FB55C-DA12-6E29-11B7-0DDF1722C8CE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360" name="Graphic 3359">
                      <a:extLst>
                        <a:ext uri="{FF2B5EF4-FFF2-40B4-BE49-F238E27FC236}">
                          <a16:creationId xmlns:a16="http://schemas.microsoft.com/office/drawing/2014/main" id="{1532B00B-F6BE-D0E6-BCA1-61B28957F9F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61" name="Graphic 3360">
                      <a:extLst>
                        <a:ext uri="{FF2B5EF4-FFF2-40B4-BE49-F238E27FC236}">
                          <a16:creationId xmlns:a16="http://schemas.microsoft.com/office/drawing/2014/main" id="{E82F41BD-3334-0308-57DC-8254785FE57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62" name="Graphic 3361">
                      <a:extLst>
                        <a:ext uri="{FF2B5EF4-FFF2-40B4-BE49-F238E27FC236}">
                          <a16:creationId xmlns:a16="http://schemas.microsoft.com/office/drawing/2014/main" id="{C79D0FED-A41D-933D-91AF-CCD172B0321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63" name="Graphic 3362">
                      <a:extLst>
                        <a:ext uri="{FF2B5EF4-FFF2-40B4-BE49-F238E27FC236}">
                          <a16:creationId xmlns:a16="http://schemas.microsoft.com/office/drawing/2014/main" id="{E2EB01C6-A0C7-DA7C-FCD0-30D588A50E6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64" name="Graphic 3363">
                      <a:extLst>
                        <a:ext uri="{FF2B5EF4-FFF2-40B4-BE49-F238E27FC236}">
                          <a16:creationId xmlns:a16="http://schemas.microsoft.com/office/drawing/2014/main" id="{90F0610D-6B6D-3362-9A5D-AFCA854B46F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65" name="Graphic 3364">
                      <a:extLst>
                        <a:ext uri="{FF2B5EF4-FFF2-40B4-BE49-F238E27FC236}">
                          <a16:creationId xmlns:a16="http://schemas.microsoft.com/office/drawing/2014/main" id="{EC5E1489-287D-26AD-1365-704F936F490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66" name="Graphic 3365">
                      <a:extLst>
                        <a:ext uri="{FF2B5EF4-FFF2-40B4-BE49-F238E27FC236}">
                          <a16:creationId xmlns:a16="http://schemas.microsoft.com/office/drawing/2014/main" id="{3E11C397-E159-5F05-F710-0EB142A605A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67" name="Graphic 3366">
                      <a:extLst>
                        <a:ext uri="{FF2B5EF4-FFF2-40B4-BE49-F238E27FC236}">
                          <a16:creationId xmlns:a16="http://schemas.microsoft.com/office/drawing/2014/main" id="{E0BCE718-78DC-E99E-8781-60ABEB94FA4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68" name="Graphic 3367">
                      <a:extLst>
                        <a:ext uri="{FF2B5EF4-FFF2-40B4-BE49-F238E27FC236}">
                          <a16:creationId xmlns:a16="http://schemas.microsoft.com/office/drawing/2014/main" id="{502C4B75-8927-B4B1-A3F1-C5105B1A055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69" name="Graphic 3368">
                      <a:extLst>
                        <a:ext uri="{FF2B5EF4-FFF2-40B4-BE49-F238E27FC236}">
                          <a16:creationId xmlns:a16="http://schemas.microsoft.com/office/drawing/2014/main" id="{46FD0017-C7B6-44C0-EF11-125BDF388DA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70" name="Graphic 3369">
                      <a:extLst>
                        <a:ext uri="{FF2B5EF4-FFF2-40B4-BE49-F238E27FC236}">
                          <a16:creationId xmlns:a16="http://schemas.microsoft.com/office/drawing/2014/main" id="{8036C90B-A181-2146-2532-F37799DA371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71" name="Graphic 3370">
                      <a:extLst>
                        <a:ext uri="{FF2B5EF4-FFF2-40B4-BE49-F238E27FC236}">
                          <a16:creationId xmlns:a16="http://schemas.microsoft.com/office/drawing/2014/main" id="{A3D3DF5A-9C06-BA82-CE88-AD740C1C44F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72" name="Graphic 3371">
                      <a:extLst>
                        <a:ext uri="{FF2B5EF4-FFF2-40B4-BE49-F238E27FC236}">
                          <a16:creationId xmlns:a16="http://schemas.microsoft.com/office/drawing/2014/main" id="{B38AE37E-5960-E4E4-6856-C269504EA44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73" name="Graphic 3372">
                      <a:extLst>
                        <a:ext uri="{FF2B5EF4-FFF2-40B4-BE49-F238E27FC236}">
                          <a16:creationId xmlns:a16="http://schemas.microsoft.com/office/drawing/2014/main" id="{DB6B8FAC-04B3-9FF5-4556-9580A4411A0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74" name="Graphic 3373">
                      <a:extLst>
                        <a:ext uri="{FF2B5EF4-FFF2-40B4-BE49-F238E27FC236}">
                          <a16:creationId xmlns:a16="http://schemas.microsoft.com/office/drawing/2014/main" id="{ED9C7CB2-4475-8979-C5E2-02CB1BF81D4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75" name="Graphic 3374">
                      <a:extLst>
                        <a:ext uri="{FF2B5EF4-FFF2-40B4-BE49-F238E27FC236}">
                          <a16:creationId xmlns:a16="http://schemas.microsoft.com/office/drawing/2014/main" id="{F56F2F4F-DE10-43D9-CC5F-EB1A948AB38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76" name="Graphic 3375">
                      <a:extLst>
                        <a:ext uri="{FF2B5EF4-FFF2-40B4-BE49-F238E27FC236}">
                          <a16:creationId xmlns:a16="http://schemas.microsoft.com/office/drawing/2014/main" id="{32617B33-EAC3-64E7-3DDC-18E21E85941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77" name="Graphic 3376">
                      <a:extLst>
                        <a:ext uri="{FF2B5EF4-FFF2-40B4-BE49-F238E27FC236}">
                          <a16:creationId xmlns:a16="http://schemas.microsoft.com/office/drawing/2014/main" id="{1E5FDD1C-EC7C-F921-1DA6-54DA3E34582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78" name="Graphic 3377">
                      <a:extLst>
                        <a:ext uri="{FF2B5EF4-FFF2-40B4-BE49-F238E27FC236}">
                          <a16:creationId xmlns:a16="http://schemas.microsoft.com/office/drawing/2014/main" id="{17142BDF-4EB0-F884-6EF9-3743ABCBA7C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79" name="Graphic 3378">
                      <a:extLst>
                        <a:ext uri="{FF2B5EF4-FFF2-40B4-BE49-F238E27FC236}">
                          <a16:creationId xmlns:a16="http://schemas.microsoft.com/office/drawing/2014/main" id="{CF8354D2-EFD2-01F9-B044-4C9AD3C0181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80" name="Graphic 3379">
                      <a:extLst>
                        <a:ext uri="{FF2B5EF4-FFF2-40B4-BE49-F238E27FC236}">
                          <a16:creationId xmlns:a16="http://schemas.microsoft.com/office/drawing/2014/main" id="{71D26933-CCE5-4FC4-59F6-F8DDB324D73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345" name="Graphic 3344">
                  <a:extLst>
                    <a:ext uri="{FF2B5EF4-FFF2-40B4-BE49-F238E27FC236}">
                      <a16:creationId xmlns:a16="http://schemas.microsoft.com/office/drawing/2014/main" id="{533BA995-251C-746F-CDB1-09D74FDDFCB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46" name="Graphic 3345">
                  <a:extLst>
                    <a:ext uri="{FF2B5EF4-FFF2-40B4-BE49-F238E27FC236}">
                      <a16:creationId xmlns:a16="http://schemas.microsoft.com/office/drawing/2014/main" id="{CCB8811E-F3D6-B326-CFA5-D412206450C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47" name="Graphic 3346">
                  <a:extLst>
                    <a:ext uri="{FF2B5EF4-FFF2-40B4-BE49-F238E27FC236}">
                      <a16:creationId xmlns:a16="http://schemas.microsoft.com/office/drawing/2014/main" id="{AA74173C-B0B7-C411-FC55-CBB59FBC87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48" name="Graphic 3347">
                  <a:extLst>
                    <a:ext uri="{FF2B5EF4-FFF2-40B4-BE49-F238E27FC236}">
                      <a16:creationId xmlns:a16="http://schemas.microsoft.com/office/drawing/2014/main" id="{5455FF89-9685-0BE1-A254-6DA4A70943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349" name="Graphic 3348">
                  <a:extLst>
                    <a:ext uri="{FF2B5EF4-FFF2-40B4-BE49-F238E27FC236}">
                      <a16:creationId xmlns:a16="http://schemas.microsoft.com/office/drawing/2014/main" id="{DFD95752-4E32-5EF1-3952-1E9B0808AF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50" name="Graphic 3349">
                  <a:extLst>
                    <a:ext uri="{FF2B5EF4-FFF2-40B4-BE49-F238E27FC236}">
                      <a16:creationId xmlns:a16="http://schemas.microsoft.com/office/drawing/2014/main" id="{D93BBF1A-3B06-D62C-7906-279B0296E9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351" name="Graphic 3350">
                  <a:extLst>
                    <a:ext uri="{FF2B5EF4-FFF2-40B4-BE49-F238E27FC236}">
                      <a16:creationId xmlns:a16="http://schemas.microsoft.com/office/drawing/2014/main" id="{606B80CF-9E61-A9CE-86CF-CE0A67EF0B8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52" name="Graphic 3351">
                  <a:extLst>
                    <a:ext uri="{FF2B5EF4-FFF2-40B4-BE49-F238E27FC236}">
                      <a16:creationId xmlns:a16="http://schemas.microsoft.com/office/drawing/2014/main" id="{A0BC071C-7F65-8871-D99E-558F572924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53" name="Graphic 3352">
                  <a:extLst>
                    <a:ext uri="{FF2B5EF4-FFF2-40B4-BE49-F238E27FC236}">
                      <a16:creationId xmlns:a16="http://schemas.microsoft.com/office/drawing/2014/main" id="{A250D821-095C-6FE9-6A71-FA3D0C94CD6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54" name="Graphic 3353">
                  <a:extLst>
                    <a:ext uri="{FF2B5EF4-FFF2-40B4-BE49-F238E27FC236}">
                      <a16:creationId xmlns:a16="http://schemas.microsoft.com/office/drawing/2014/main" id="{AF0CCD34-E98D-BF79-6EF1-817A8BB2C1F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55" name="Graphic 3354">
                  <a:extLst>
                    <a:ext uri="{FF2B5EF4-FFF2-40B4-BE49-F238E27FC236}">
                      <a16:creationId xmlns:a16="http://schemas.microsoft.com/office/drawing/2014/main" id="{D9CEC474-FB0E-6F37-C16C-4ABF185CE90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56" name="Graphic 3355">
                  <a:extLst>
                    <a:ext uri="{FF2B5EF4-FFF2-40B4-BE49-F238E27FC236}">
                      <a16:creationId xmlns:a16="http://schemas.microsoft.com/office/drawing/2014/main" id="{B25572B8-A482-BD32-EEB8-BA1FA1A7B03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57" name="Graphic 3356">
                  <a:extLst>
                    <a:ext uri="{FF2B5EF4-FFF2-40B4-BE49-F238E27FC236}">
                      <a16:creationId xmlns:a16="http://schemas.microsoft.com/office/drawing/2014/main" id="{D630CA5C-0437-2D99-8B09-F107694127C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340" name="Graphic 3339">
                <a:extLst>
                  <a:ext uri="{FF2B5EF4-FFF2-40B4-BE49-F238E27FC236}">
                    <a16:creationId xmlns:a16="http://schemas.microsoft.com/office/drawing/2014/main" id="{7DDD2AD6-0232-E95C-D1AB-60F24D756F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341" name="Graphic 3340">
                <a:extLst>
                  <a:ext uri="{FF2B5EF4-FFF2-40B4-BE49-F238E27FC236}">
                    <a16:creationId xmlns:a16="http://schemas.microsoft.com/office/drawing/2014/main" id="{D5A36B9B-25C4-4C75-4001-6E24D1B53D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342" name="Graphic 3341">
                <a:extLst>
                  <a:ext uri="{FF2B5EF4-FFF2-40B4-BE49-F238E27FC236}">
                    <a16:creationId xmlns:a16="http://schemas.microsoft.com/office/drawing/2014/main" id="{371DDB42-1D0D-39AE-B47B-30243137A5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343" name="Graphic 3342">
                <a:extLst>
                  <a:ext uri="{FF2B5EF4-FFF2-40B4-BE49-F238E27FC236}">
                    <a16:creationId xmlns:a16="http://schemas.microsoft.com/office/drawing/2014/main" id="{2BC8C562-D497-8904-92C6-07F05C2D2E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1868" name="Group 1867">
              <a:extLst>
                <a:ext uri="{FF2B5EF4-FFF2-40B4-BE49-F238E27FC236}">
                  <a16:creationId xmlns:a16="http://schemas.microsoft.com/office/drawing/2014/main" id="{D9B956BB-5BAC-CBB8-BD13-1FDA7DD1D9CD}"/>
                </a:ext>
              </a:extLst>
            </p:cNvPr>
            <p:cNvGrpSpPr/>
            <p:nvPr/>
          </p:nvGrpSpPr>
          <p:grpSpPr>
            <a:xfrm>
              <a:off x="1674382" y="3367021"/>
              <a:ext cx="88329" cy="87252"/>
              <a:chOff x="5071590" y="2724817"/>
              <a:chExt cx="1901239" cy="1655213"/>
            </a:xfrm>
          </p:grpSpPr>
          <p:grpSp>
            <p:nvGrpSpPr>
              <p:cNvPr id="3297" name="Group 3296">
                <a:extLst>
                  <a:ext uri="{FF2B5EF4-FFF2-40B4-BE49-F238E27FC236}">
                    <a16:creationId xmlns:a16="http://schemas.microsoft.com/office/drawing/2014/main" id="{99D70733-3293-8402-EBEF-E1A8CA87DB92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302" name="Group 3301">
                  <a:extLst>
                    <a:ext uri="{FF2B5EF4-FFF2-40B4-BE49-F238E27FC236}">
                      <a16:creationId xmlns:a16="http://schemas.microsoft.com/office/drawing/2014/main" id="{0A2D429A-2318-543D-81B2-FD86C84B2E48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316" name="Oval 3315">
                    <a:extLst>
                      <a:ext uri="{FF2B5EF4-FFF2-40B4-BE49-F238E27FC236}">
                        <a16:creationId xmlns:a16="http://schemas.microsoft.com/office/drawing/2014/main" id="{5D2A5B35-7059-9224-D94B-D5AC03F9D894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317" name="Group 3316">
                    <a:extLst>
                      <a:ext uri="{FF2B5EF4-FFF2-40B4-BE49-F238E27FC236}">
                        <a16:creationId xmlns:a16="http://schemas.microsoft.com/office/drawing/2014/main" id="{77CD16D9-7933-3846-C69C-9EAE69A9D0AC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318" name="Graphic 3317">
                      <a:extLst>
                        <a:ext uri="{FF2B5EF4-FFF2-40B4-BE49-F238E27FC236}">
                          <a16:creationId xmlns:a16="http://schemas.microsoft.com/office/drawing/2014/main" id="{055C9403-648A-0765-3897-162B0A6EE41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19" name="Graphic 3318">
                      <a:extLst>
                        <a:ext uri="{FF2B5EF4-FFF2-40B4-BE49-F238E27FC236}">
                          <a16:creationId xmlns:a16="http://schemas.microsoft.com/office/drawing/2014/main" id="{D0217A64-2933-8466-26CE-27CC68997A1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20" name="Graphic 3319">
                      <a:extLst>
                        <a:ext uri="{FF2B5EF4-FFF2-40B4-BE49-F238E27FC236}">
                          <a16:creationId xmlns:a16="http://schemas.microsoft.com/office/drawing/2014/main" id="{F0BA1640-F58D-E571-956B-D68BD44D025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21" name="Graphic 3320">
                      <a:extLst>
                        <a:ext uri="{FF2B5EF4-FFF2-40B4-BE49-F238E27FC236}">
                          <a16:creationId xmlns:a16="http://schemas.microsoft.com/office/drawing/2014/main" id="{03CE6F15-0767-11E1-653A-BE76F2C970C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22" name="Graphic 3321">
                      <a:extLst>
                        <a:ext uri="{FF2B5EF4-FFF2-40B4-BE49-F238E27FC236}">
                          <a16:creationId xmlns:a16="http://schemas.microsoft.com/office/drawing/2014/main" id="{A1308DF1-D729-AE63-BD9D-23E6AC8BE14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23" name="Graphic 3322">
                      <a:extLst>
                        <a:ext uri="{FF2B5EF4-FFF2-40B4-BE49-F238E27FC236}">
                          <a16:creationId xmlns:a16="http://schemas.microsoft.com/office/drawing/2014/main" id="{ADAB2989-7ECF-0885-D3C4-EF35DAC6E00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24" name="Graphic 3323">
                      <a:extLst>
                        <a:ext uri="{FF2B5EF4-FFF2-40B4-BE49-F238E27FC236}">
                          <a16:creationId xmlns:a16="http://schemas.microsoft.com/office/drawing/2014/main" id="{A3CCB85A-C18F-6A74-FB16-2CCB5E51936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25" name="Graphic 3324">
                      <a:extLst>
                        <a:ext uri="{FF2B5EF4-FFF2-40B4-BE49-F238E27FC236}">
                          <a16:creationId xmlns:a16="http://schemas.microsoft.com/office/drawing/2014/main" id="{BAB38EC7-F3B7-D89B-4104-6706537E25C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26" name="Graphic 3325">
                      <a:extLst>
                        <a:ext uri="{FF2B5EF4-FFF2-40B4-BE49-F238E27FC236}">
                          <a16:creationId xmlns:a16="http://schemas.microsoft.com/office/drawing/2014/main" id="{FD991FED-7B2F-A291-542B-FCE09C94CF8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27" name="Graphic 3326">
                      <a:extLst>
                        <a:ext uri="{FF2B5EF4-FFF2-40B4-BE49-F238E27FC236}">
                          <a16:creationId xmlns:a16="http://schemas.microsoft.com/office/drawing/2014/main" id="{02B8A0CD-5DAD-CAE0-FB5A-CF2FCF0198F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28" name="Graphic 3327">
                      <a:extLst>
                        <a:ext uri="{FF2B5EF4-FFF2-40B4-BE49-F238E27FC236}">
                          <a16:creationId xmlns:a16="http://schemas.microsoft.com/office/drawing/2014/main" id="{C7AC3CF5-27C5-80D5-8C93-B6E4B80DDB7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29" name="Graphic 3328">
                      <a:extLst>
                        <a:ext uri="{FF2B5EF4-FFF2-40B4-BE49-F238E27FC236}">
                          <a16:creationId xmlns:a16="http://schemas.microsoft.com/office/drawing/2014/main" id="{040E9DEE-A01B-55FF-F220-53A2CEF5702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30" name="Graphic 3329">
                      <a:extLst>
                        <a:ext uri="{FF2B5EF4-FFF2-40B4-BE49-F238E27FC236}">
                          <a16:creationId xmlns:a16="http://schemas.microsoft.com/office/drawing/2014/main" id="{EDC2F3C3-1CE2-2B59-C100-B034B869FCE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31" name="Graphic 3330">
                      <a:extLst>
                        <a:ext uri="{FF2B5EF4-FFF2-40B4-BE49-F238E27FC236}">
                          <a16:creationId xmlns:a16="http://schemas.microsoft.com/office/drawing/2014/main" id="{0A628B20-0DF8-B9EA-36FF-9818FE4A8AF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32" name="Graphic 3331">
                      <a:extLst>
                        <a:ext uri="{FF2B5EF4-FFF2-40B4-BE49-F238E27FC236}">
                          <a16:creationId xmlns:a16="http://schemas.microsoft.com/office/drawing/2014/main" id="{2B383070-9D20-4D9F-73DE-999C8428F1E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33" name="Graphic 3332">
                      <a:extLst>
                        <a:ext uri="{FF2B5EF4-FFF2-40B4-BE49-F238E27FC236}">
                          <a16:creationId xmlns:a16="http://schemas.microsoft.com/office/drawing/2014/main" id="{8965CC1F-D4F1-E31A-B7FE-DAF944FB3AE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34" name="Graphic 3333">
                      <a:extLst>
                        <a:ext uri="{FF2B5EF4-FFF2-40B4-BE49-F238E27FC236}">
                          <a16:creationId xmlns:a16="http://schemas.microsoft.com/office/drawing/2014/main" id="{EF0B3A67-AECC-D35F-5600-F66B6FBD0F2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35" name="Graphic 3334">
                      <a:extLst>
                        <a:ext uri="{FF2B5EF4-FFF2-40B4-BE49-F238E27FC236}">
                          <a16:creationId xmlns:a16="http://schemas.microsoft.com/office/drawing/2014/main" id="{E60BB0E3-A7C7-9CA1-E42B-80124EDAC8C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36" name="Graphic 3335">
                      <a:extLst>
                        <a:ext uri="{FF2B5EF4-FFF2-40B4-BE49-F238E27FC236}">
                          <a16:creationId xmlns:a16="http://schemas.microsoft.com/office/drawing/2014/main" id="{4E215350-1A2E-35A7-525B-8A9DDC4FD92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37" name="Graphic 3336">
                      <a:extLst>
                        <a:ext uri="{FF2B5EF4-FFF2-40B4-BE49-F238E27FC236}">
                          <a16:creationId xmlns:a16="http://schemas.microsoft.com/office/drawing/2014/main" id="{034F20AE-976E-393F-D254-21862241627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38" name="Graphic 3337">
                      <a:extLst>
                        <a:ext uri="{FF2B5EF4-FFF2-40B4-BE49-F238E27FC236}">
                          <a16:creationId xmlns:a16="http://schemas.microsoft.com/office/drawing/2014/main" id="{CF89E937-B7E4-0C4E-79C4-A604FAE239C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303" name="Graphic 3302">
                  <a:extLst>
                    <a:ext uri="{FF2B5EF4-FFF2-40B4-BE49-F238E27FC236}">
                      <a16:creationId xmlns:a16="http://schemas.microsoft.com/office/drawing/2014/main" id="{0CFD7110-620A-3CFA-1D1F-E79F90CDA8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04" name="Graphic 3303">
                  <a:extLst>
                    <a:ext uri="{FF2B5EF4-FFF2-40B4-BE49-F238E27FC236}">
                      <a16:creationId xmlns:a16="http://schemas.microsoft.com/office/drawing/2014/main" id="{42749418-0DFF-2DD4-41FB-D990693FD6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05" name="Graphic 3304">
                  <a:extLst>
                    <a:ext uri="{FF2B5EF4-FFF2-40B4-BE49-F238E27FC236}">
                      <a16:creationId xmlns:a16="http://schemas.microsoft.com/office/drawing/2014/main" id="{34CFD7BD-BBA6-658A-C311-25906A00F9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06" name="Graphic 3305">
                  <a:extLst>
                    <a:ext uri="{FF2B5EF4-FFF2-40B4-BE49-F238E27FC236}">
                      <a16:creationId xmlns:a16="http://schemas.microsoft.com/office/drawing/2014/main" id="{77E77F75-9183-4F5E-951F-04D733007DC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307" name="Graphic 3306">
                  <a:extLst>
                    <a:ext uri="{FF2B5EF4-FFF2-40B4-BE49-F238E27FC236}">
                      <a16:creationId xmlns:a16="http://schemas.microsoft.com/office/drawing/2014/main" id="{51BF6C41-10F0-465E-9F2A-705DF713BC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08" name="Graphic 3307">
                  <a:extLst>
                    <a:ext uri="{FF2B5EF4-FFF2-40B4-BE49-F238E27FC236}">
                      <a16:creationId xmlns:a16="http://schemas.microsoft.com/office/drawing/2014/main" id="{A7224103-2666-D5E9-A0C3-30D5492F22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309" name="Graphic 3308">
                  <a:extLst>
                    <a:ext uri="{FF2B5EF4-FFF2-40B4-BE49-F238E27FC236}">
                      <a16:creationId xmlns:a16="http://schemas.microsoft.com/office/drawing/2014/main" id="{E4D99751-889F-C2D4-BD5C-36DCB2EE049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10" name="Graphic 3309">
                  <a:extLst>
                    <a:ext uri="{FF2B5EF4-FFF2-40B4-BE49-F238E27FC236}">
                      <a16:creationId xmlns:a16="http://schemas.microsoft.com/office/drawing/2014/main" id="{7D7202B3-21DC-4A4F-7B98-4D2230E8FC4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11" name="Graphic 3310">
                  <a:extLst>
                    <a:ext uri="{FF2B5EF4-FFF2-40B4-BE49-F238E27FC236}">
                      <a16:creationId xmlns:a16="http://schemas.microsoft.com/office/drawing/2014/main" id="{B80E07C0-1777-D46F-69A4-A3A74A1C2A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12" name="Graphic 3311">
                  <a:extLst>
                    <a:ext uri="{FF2B5EF4-FFF2-40B4-BE49-F238E27FC236}">
                      <a16:creationId xmlns:a16="http://schemas.microsoft.com/office/drawing/2014/main" id="{C0A8043A-2448-FF80-685F-1AB0041C7FD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13" name="Graphic 3312">
                  <a:extLst>
                    <a:ext uri="{FF2B5EF4-FFF2-40B4-BE49-F238E27FC236}">
                      <a16:creationId xmlns:a16="http://schemas.microsoft.com/office/drawing/2014/main" id="{3F749065-9844-0CE6-09F9-772913328FF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14" name="Graphic 3313">
                  <a:extLst>
                    <a:ext uri="{FF2B5EF4-FFF2-40B4-BE49-F238E27FC236}">
                      <a16:creationId xmlns:a16="http://schemas.microsoft.com/office/drawing/2014/main" id="{8AF315ED-4C02-2AB2-955C-3698D02D60B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15" name="Graphic 3314">
                  <a:extLst>
                    <a:ext uri="{FF2B5EF4-FFF2-40B4-BE49-F238E27FC236}">
                      <a16:creationId xmlns:a16="http://schemas.microsoft.com/office/drawing/2014/main" id="{E241194E-1EB0-A8C0-B75A-D7BB699333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298" name="Graphic 3297">
                <a:extLst>
                  <a:ext uri="{FF2B5EF4-FFF2-40B4-BE49-F238E27FC236}">
                    <a16:creationId xmlns:a16="http://schemas.microsoft.com/office/drawing/2014/main" id="{48F5D640-C583-E18A-6170-03322FD03E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299" name="Graphic 3298">
                <a:extLst>
                  <a:ext uri="{FF2B5EF4-FFF2-40B4-BE49-F238E27FC236}">
                    <a16:creationId xmlns:a16="http://schemas.microsoft.com/office/drawing/2014/main" id="{770EFA0B-95E8-5E65-730D-2C1047DFF0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300" name="Graphic 3299">
                <a:extLst>
                  <a:ext uri="{FF2B5EF4-FFF2-40B4-BE49-F238E27FC236}">
                    <a16:creationId xmlns:a16="http://schemas.microsoft.com/office/drawing/2014/main" id="{C57FA416-5EA3-B6B6-DB95-3FCD958C64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301" name="Graphic 3300">
                <a:extLst>
                  <a:ext uri="{FF2B5EF4-FFF2-40B4-BE49-F238E27FC236}">
                    <a16:creationId xmlns:a16="http://schemas.microsoft.com/office/drawing/2014/main" id="{A4625ECB-4011-06B6-A110-93125DE09F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1869" name="Group 1868">
              <a:extLst>
                <a:ext uri="{FF2B5EF4-FFF2-40B4-BE49-F238E27FC236}">
                  <a16:creationId xmlns:a16="http://schemas.microsoft.com/office/drawing/2014/main" id="{29D8031F-CDAE-60F3-B077-0E8069923F1C}"/>
                </a:ext>
              </a:extLst>
            </p:cNvPr>
            <p:cNvGrpSpPr/>
            <p:nvPr/>
          </p:nvGrpSpPr>
          <p:grpSpPr>
            <a:xfrm>
              <a:off x="1268134" y="3434323"/>
              <a:ext cx="135763" cy="134108"/>
              <a:chOff x="5071590" y="2724817"/>
              <a:chExt cx="1901239" cy="1655213"/>
            </a:xfrm>
          </p:grpSpPr>
          <p:grpSp>
            <p:nvGrpSpPr>
              <p:cNvPr id="3255" name="Group 3254">
                <a:extLst>
                  <a:ext uri="{FF2B5EF4-FFF2-40B4-BE49-F238E27FC236}">
                    <a16:creationId xmlns:a16="http://schemas.microsoft.com/office/drawing/2014/main" id="{6D58B158-9450-9737-775B-68B72D7AEF9E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260" name="Group 3259">
                  <a:extLst>
                    <a:ext uri="{FF2B5EF4-FFF2-40B4-BE49-F238E27FC236}">
                      <a16:creationId xmlns:a16="http://schemas.microsoft.com/office/drawing/2014/main" id="{11E3EA5E-0378-7765-3C9E-3BF21F1CEDD6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274" name="Oval 3273">
                    <a:extLst>
                      <a:ext uri="{FF2B5EF4-FFF2-40B4-BE49-F238E27FC236}">
                        <a16:creationId xmlns:a16="http://schemas.microsoft.com/office/drawing/2014/main" id="{B1BE4A58-1165-ABD6-387B-782500A49728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275" name="Group 3274">
                    <a:extLst>
                      <a:ext uri="{FF2B5EF4-FFF2-40B4-BE49-F238E27FC236}">
                        <a16:creationId xmlns:a16="http://schemas.microsoft.com/office/drawing/2014/main" id="{3398B6CB-AB78-F489-A0E1-8F26AFF3C4CB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276" name="Graphic 3275">
                      <a:extLst>
                        <a:ext uri="{FF2B5EF4-FFF2-40B4-BE49-F238E27FC236}">
                          <a16:creationId xmlns:a16="http://schemas.microsoft.com/office/drawing/2014/main" id="{2E80C110-B0F9-6C45-3457-EE5C400B1B7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77" name="Graphic 3276">
                      <a:extLst>
                        <a:ext uri="{FF2B5EF4-FFF2-40B4-BE49-F238E27FC236}">
                          <a16:creationId xmlns:a16="http://schemas.microsoft.com/office/drawing/2014/main" id="{A166B7B8-D921-E311-9A8E-DCCA349518B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78" name="Graphic 3277">
                      <a:extLst>
                        <a:ext uri="{FF2B5EF4-FFF2-40B4-BE49-F238E27FC236}">
                          <a16:creationId xmlns:a16="http://schemas.microsoft.com/office/drawing/2014/main" id="{336F860D-F872-FDC6-B2DC-D17C2C911DA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79" name="Graphic 3278">
                      <a:extLst>
                        <a:ext uri="{FF2B5EF4-FFF2-40B4-BE49-F238E27FC236}">
                          <a16:creationId xmlns:a16="http://schemas.microsoft.com/office/drawing/2014/main" id="{8C840795-E78D-8CA3-184A-60E8AF88094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80" name="Graphic 3279">
                      <a:extLst>
                        <a:ext uri="{FF2B5EF4-FFF2-40B4-BE49-F238E27FC236}">
                          <a16:creationId xmlns:a16="http://schemas.microsoft.com/office/drawing/2014/main" id="{47441DB0-469E-6029-B3D4-50ADF3D9BA8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81" name="Graphic 3280">
                      <a:extLst>
                        <a:ext uri="{FF2B5EF4-FFF2-40B4-BE49-F238E27FC236}">
                          <a16:creationId xmlns:a16="http://schemas.microsoft.com/office/drawing/2014/main" id="{AD7A5E67-707D-1515-B4A6-A536247E5B2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82" name="Graphic 3281">
                      <a:extLst>
                        <a:ext uri="{FF2B5EF4-FFF2-40B4-BE49-F238E27FC236}">
                          <a16:creationId xmlns:a16="http://schemas.microsoft.com/office/drawing/2014/main" id="{489C3731-52BE-364E-659D-8CE642FD5BB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83" name="Graphic 3282">
                      <a:extLst>
                        <a:ext uri="{FF2B5EF4-FFF2-40B4-BE49-F238E27FC236}">
                          <a16:creationId xmlns:a16="http://schemas.microsoft.com/office/drawing/2014/main" id="{56F9176C-949F-41E2-4291-8C6AF9E6027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84" name="Graphic 3283">
                      <a:extLst>
                        <a:ext uri="{FF2B5EF4-FFF2-40B4-BE49-F238E27FC236}">
                          <a16:creationId xmlns:a16="http://schemas.microsoft.com/office/drawing/2014/main" id="{865B62FC-8301-879D-45D4-A2A1EAFB628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85" name="Graphic 3284">
                      <a:extLst>
                        <a:ext uri="{FF2B5EF4-FFF2-40B4-BE49-F238E27FC236}">
                          <a16:creationId xmlns:a16="http://schemas.microsoft.com/office/drawing/2014/main" id="{E0228158-D8FC-E457-41AB-BDAA825332C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86" name="Graphic 3285">
                      <a:extLst>
                        <a:ext uri="{FF2B5EF4-FFF2-40B4-BE49-F238E27FC236}">
                          <a16:creationId xmlns:a16="http://schemas.microsoft.com/office/drawing/2014/main" id="{DA9710B8-2E4B-4037-D7D1-6C994CDA33C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87" name="Graphic 3286">
                      <a:extLst>
                        <a:ext uri="{FF2B5EF4-FFF2-40B4-BE49-F238E27FC236}">
                          <a16:creationId xmlns:a16="http://schemas.microsoft.com/office/drawing/2014/main" id="{11CDD736-79C9-4D29-C5F7-A70A010DBEE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88" name="Graphic 3287">
                      <a:extLst>
                        <a:ext uri="{FF2B5EF4-FFF2-40B4-BE49-F238E27FC236}">
                          <a16:creationId xmlns:a16="http://schemas.microsoft.com/office/drawing/2014/main" id="{42453B4E-9005-8620-A856-14369941CB6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89" name="Graphic 3288">
                      <a:extLst>
                        <a:ext uri="{FF2B5EF4-FFF2-40B4-BE49-F238E27FC236}">
                          <a16:creationId xmlns:a16="http://schemas.microsoft.com/office/drawing/2014/main" id="{27668DF2-01BE-611C-F016-963C009A855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90" name="Graphic 3289">
                      <a:extLst>
                        <a:ext uri="{FF2B5EF4-FFF2-40B4-BE49-F238E27FC236}">
                          <a16:creationId xmlns:a16="http://schemas.microsoft.com/office/drawing/2014/main" id="{F86962D6-D81D-8F5A-8F9A-7F42F959F4B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91" name="Graphic 3290">
                      <a:extLst>
                        <a:ext uri="{FF2B5EF4-FFF2-40B4-BE49-F238E27FC236}">
                          <a16:creationId xmlns:a16="http://schemas.microsoft.com/office/drawing/2014/main" id="{55D8F36B-6454-D356-3A73-647CFD1431B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92" name="Graphic 3291">
                      <a:extLst>
                        <a:ext uri="{FF2B5EF4-FFF2-40B4-BE49-F238E27FC236}">
                          <a16:creationId xmlns:a16="http://schemas.microsoft.com/office/drawing/2014/main" id="{62A02A0A-C81D-CFE8-090B-6A385442E5D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93" name="Graphic 3292">
                      <a:extLst>
                        <a:ext uri="{FF2B5EF4-FFF2-40B4-BE49-F238E27FC236}">
                          <a16:creationId xmlns:a16="http://schemas.microsoft.com/office/drawing/2014/main" id="{149FAA04-5AB8-330E-E32C-B86C0A3038C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94" name="Graphic 3293">
                      <a:extLst>
                        <a:ext uri="{FF2B5EF4-FFF2-40B4-BE49-F238E27FC236}">
                          <a16:creationId xmlns:a16="http://schemas.microsoft.com/office/drawing/2014/main" id="{9FBD0204-CA74-B068-8FBF-C905D92DFC0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95" name="Graphic 3294">
                      <a:extLst>
                        <a:ext uri="{FF2B5EF4-FFF2-40B4-BE49-F238E27FC236}">
                          <a16:creationId xmlns:a16="http://schemas.microsoft.com/office/drawing/2014/main" id="{0A13198B-4FB0-1BFF-5C3C-F27D9694A46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96" name="Graphic 3295">
                      <a:extLst>
                        <a:ext uri="{FF2B5EF4-FFF2-40B4-BE49-F238E27FC236}">
                          <a16:creationId xmlns:a16="http://schemas.microsoft.com/office/drawing/2014/main" id="{D369B984-98DB-C810-D113-AA368F37B5D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261" name="Graphic 3260">
                  <a:extLst>
                    <a:ext uri="{FF2B5EF4-FFF2-40B4-BE49-F238E27FC236}">
                      <a16:creationId xmlns:a16="http://schemas.microsoft.com/office/drawing/2014/main" id="{68D7C18B-EFAC-B3A5-45E9-F829A228FF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62" name="Graphic 3261">
                  <a:extLst>
                    <a:ext uri="{FF2B5EF4-FFF2-40B4-BE49-F238E27FC236}">
                      <a16:creationId xmlns:a16="http://schemas.microsoft.com/office/drawing/2014/main" id="{216EC7E5-9B2E-CFBC-A2C4-D84551D682F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63" name="Graphic 3262">
                  <a:extLst>
                    <a:ext uri="{FF2B5EF4-FFF2-40B4-BE49-F238E27FC236}">
                      <a16:creationId xmlns:a16="http://schemas.microsoft.com/office/drawing/2014/main" id="{65CB97DA-BB40-6762-1088-9F2651D7B0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64" name="Graphic 3263">
                  <a:extLst>
                    <a:ext uri="{FF2B5EF4-FFF2-40B4-BE49-F238E27FC236}">
                      <a16:creationId xmlns:a16="http://schemas.microsoft.com/office/drawing/2014/main" id="{74CD2836-AF54-D212-3E87-B0274350D5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265" name="Graphic 3264">
                  <a:extLst>
                    <a:ext uri="{FF2B5EF4-FFF2-40B4-BE49-F238E27FC236}">
                      <a16:creationId xmlns:a16="http://schemas.microsoft.com/office/drawing/2014/main" id="{2FC3E1AB-46FB-4298-1E89-5E0108E24D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66" name="Graphic 3265">
                  <a:extLst>
                    <a:ext uri="{FF2B5EF4-FFF2-40B4-BE49-F238E27FC236}">
                      <a16:creationId xmlns:a16="http://schemas.microsoft.com/office/drawing/2014/main" id="{7C2E4CB4-36FE-708E-F50A-D41D6A66ED6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267" name="Graphic 3266">
                  <a:extLst>
                    <a:ext uri="{FF2B5EF4-FFF2-40B4-BE49-F238E27FC236}">
                      <a16:creationId xmlns:a16="http://schemas.microsoft.com/office/drawing/2014/main" id="{0CD70C92-30AE-BF8E-7DB2-B68E9366210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68" name="Graphic 3267">
                  <a:extLst>
                    <a:ext uri="{FF2B5EF4-FFF2-40B4-BE49-F238E27FC236}">
                      <a16:creationId xmlns:a16="http://schemas.microsoft.com/office/drawing/2014/main" id="{FB34B1BC-70A0-C7C9-4FBA-F9A1FD6B124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69" name="Graphic 3268">
                  <a:extLst>
                    <a:ext uri="{FF2B5EF4-FFF2-40B4-BE49-F238E27FC236}">
                      <a16:creationId xmlns:a16="http://schemas.microsoft.com/office/drawing/2014/main" id="{5186FA91-2446-AAE5-C2F1-7DF1B120586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70" name="Graphic 3269">
                  <a:extLst>
                    <a:ext uri="{FF2B5EF4-FFF2-40B4-BE49-F238E27FC236}">
                      <a16:creationId xmlns:a16="http://schemas.microsoft.com/office/drawing/2014/main" id="{F4C0BC4E-A074-1D7B-5223-484A68C087A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71" name="Graphic 3270">
                  <a:extLst>
                    <a:ext uri="{FF2B5EF4-FFF2-40B4-BE49-F238E27FC236}">
                      <a16:creationId xmlns:a16="http://schemas.microsoft.com/office/drawing/2014/main" id="{6FC1C8AD-EDB1-6E4A-F921-960663B5594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72" name="Graphic 3271">
                  <a:extLst>
                    <a:ext uri="{FF2B5EF4-FFF2-40B4-BE49-F238E27FC236}">
                      <a16:creationId xmlns:a16="http://schemas.microsoft.com/office/drawing/2014/main" id="{DD783384-F56C-1226-CB8D-B7ECCA65951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73" name="Graphic 3272">
                  <a:extLst>
                    <a:ext uri="{FF2B5EF4-FFF2-40B4-BE49-F238E27FC236}">
                      <a16:creationId xmlns:a16="http://schemas.microsoft.com/office/drawing/2014/main" id="{34401285-D890-9EE1-4A08-530B9AB0E35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256" name="Graphic 3255">
                <a:extLst>
                  <a:ext uri="{FF2B5EF4-FFF2-40B4-BE49-F238E27FC236}">
                    <a16:creationId xmlns:a16="http://schemas.microsoft.com/office/drawing/2014/main" id="{909AA525-561C-C7C9-7438-EFE5A8AF52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257" name="Graphic 3256">
                <a:extLst>
                  <a:ext uri="{FF2B5EF4-FFF2-40B4-BE49-F238E27FC236}">
                    <a16:creationId xmlns:a16="http://schemas.microsoft.com/office/drawing/2014/main" id="{97409E7F-D643-D98D-5A96-1481D96916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258" name="Graphic 3257">
                <a:extLst>
                  <a:ext uri="{FF2B5EF4-FFF2-40B4-BE49-F238E27FC236}">
                    <a16:creationId xmlns:a16="http://schemas.microsoft.com/office/drawing/2014/main" id="{F94A4ABE-858C-DA7F-A3B5-E226E14CA8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259" name="Graphic 3258">
                <a:extLst>
                  <a:ext uri="{FF2B5EF4-FFF2-40B4-BE49-F238E27FC236}">
                    <a16:creationId xmlns:a16="http://schemas.microsoft.com/office/drawing/2014/main" id="{18F29AA5-14C7-813A-F3E6-A4D9AF1D6B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1870" name="Group 1869">
              <a:extLst>
                <a:ext uri="{FF2B5EF4-FFF2-40B4-BE49-F238E27FC236}">
                  <a16:creationId xmlns:a16="http://schemas.microsoft.com/office/drawing/2014/main" id="{3E521D86-72B9-648C-FCF0-97E083956080}"/>
                </a:ext>
              </a:extLst>
            </p:cNvPr>
            <p:cNvGrpSpPr/>
            <p:nvPr/>
          </p:nvGrpSpPr>
          <p:grpSpPr>
            <a:xfrm>
              <a:off x="1180898" y="3344848"/>
              <a:ext cx="80395" cy="79415"/>
              <a:chOff x="5071590" y="2724817"/>
              <a:chExt cx="1901239" cy="1655213"/>
            </a:xfrm>
          </p:grpSpPr>
          <p:grpSp>
            <p:nvGrpSpPr>
              <p:cNvPr id="3213" name="Group 3212">
                <a:extLst>
                  <a:ext uri="{FF2B5EF4-FFF2-40B4-BE49-F238E27FC236}">
                    <a16:creationId xmlns:a16="http://schemas.microsoft.com/office/drawing/2014/main" id="{0269F12B-B093-186C-4F22-C774C2E2BC3D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218" name="Group 3217">
                  <a:extLst>
                    <a:ext uri="{FF2B5EF4-FFF2-40B4-BE49-F238E27FC236}">
                      <a16:creationId xmlns:a16="http://schemas.microsoft.com/office/drawing/2014/main" id="{4A67323E-D128-A8BD-EF42-0B265A980F2F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232" name="Oval 3231">
                    <a:extLst>
                      <a:ext uri="{FF2B5EF4-FFF2-40B4-BE49-F238E27FC236}">
                        <a16:creationId xmlns:a16="http://schemas.microsoft.com/office/drawing/2014/main" id="{C00B4FC9-8B09-E5B8-6593-CD1AE52E00A7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233" name="Group 3232">
                    <a:extLst>
                      <a:ext uri="{FF2B5EF4-FFF2-40B4-BE49-F238E27FC236}">
                        <a16:creationId xmlns:a16="http://schemas.microsoft.com/office/drawing/2014/main" id="{F6A7CB32-7FAF-87E1-9302-6373EFDF7CF3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234" name="Graphic 3233">
                      <a:extLst>
                        <a:ext uri="{FF2B5EF4-FFF2-40B4-BE49-F238E27FC236}">
                          <a16:creationId xmlns:a16="http://schemas.microsoft.com/office/drawing/2014/main" id="{B8C393BC-BA67-B096-ABB1-2AA21736FE6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35" name="Graphic 3234">
                      <a:extLst>
                        <a:ext uri="{FF2B5EF4-FFF2-40B4-BE49-F238E27FC236}">
                          <a16:creationId xmlns:a16="http://schemas.microsoft.com/office/drawing/2014/main" id="{C865F60D-CD73-3433-8684-062E9DD4BD2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36" name="Graphic 3235">
                      <a:extLst>
                        <a:ext uri="{FF2B5EF4-FFF2-40B4-BE49-F238E27FC236}">
                          <a16:creationId xmlns:a16="http://schemas.microsoft.com/office/drawing/2014/main" id="{87DF934D-274A-5DDD-9ADA-91A59E84416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37" name="Graphic 3236">
                      <a:extLst>
                        <a:ext uri="{FF2B5EF4-FFF2-40B4-BE49-F238E27FC236}">
                          <a16:creationId xmlns:a16="http://schemas.microsoft.com/office/drawing/2014/main" id="{7947DB0A-0719-A4A6-C415-976AFDFC8B4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38" name="Graphic 3237">
                      <a:extLst>
                        <a:ext uri="{FF2B5EF4-FFF2-40B4-BE49-F238E27FC236}">
                          <a16:creationId xmlns:a16="http://schemas.microsoft.com/office/drawing/2014/main" id="{07B64CEB-D23D-5829-0794-46AA90E071C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39" name="Graphic 3238">
                      <a:extLst>
                        <a:ext uri="{FF2B5EF4-FFF2-40B4-BE49-F238E27FC236}">
                          <a16:creationId xmlns:a16="http://schemas.microsoft.com/office/drawing/2014/main" id="{4A3403E7-3586-8B08-21B6-BB1D688E503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40" name="Graphic 3239">
                      <a:extLst>
                        <a:ext uri="{FF2B5EF4-FFF2-40B4-BE49-F238E27FC236}">
                          <a16:creationId xmlns:a16="http://schemas.microsoft.com/office/drawing/2014/main" id="{856031D6-11A1-DC2E-ED29-5005A03A1F2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41" name="Graphic 3240">
                      <a:extLst>
                        <a:ext uri="{FF2B5EF4-FFF2-40B4-BE49-F238E27FC236}">
                          <a16:creationId xmlns:a16="http://schemas.microsoft.com/office/drawing/2014/main" id="{1CBF3FFC-3302-D4A9-1FB0-9AF47FE94A3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42" name="Graphic 3241">
                      <a:extLst>
                        <a:ext uri="{FF2B5EF4-FFF2-40B4-BE49-F238E27FC236}">
                          <a16:creationId xmlns:a16="http://schemas.microsoft.com/office/drawing/2014/main" id="{65E15696-4506-0956-C47F-4A84C1F7B5B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43" name="Graphic 3242">
                      <a:extLst>
                        <a:ext uri="{FF2B5EF4-FFF2-40B4-BE49-F238E27FC236}">
                          <a16:creationId xmlns:a16="http://schemas.microsoft.com/office/drawing/2014/main" id="{CBC9B152-1FB5-FD11-9D75-42130FFB27C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44" name="Graphic 3243">
                      <a:extLst>
                        <a:ext uri="{FF2B5EF4-FFF2-40B4-BE49-F238E27FC236}">
                          <a16:creationId xmlns:a16="http://schemas.microsoft.com/office/drawing/2014/main" id="{9A517C8D-30FF-00C7-2926-33B8B399230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45" name="Graphic 3244">
                      <a:extLst>
                        <a:ext uri="{FF2B5EF4-FFF2-40B4-BE49-F238E27FC236}">
                          <a16:creationId xmlns:a16="http://schemas.microsoft.com/office/drawing/2014/main" id="{8AD7DBF7-A4F2-A10A-7D0A-1D5B6FA6D14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46" name="Graphic 3245">
                      <a:extLst>
                        <a:ext uri="{FF2B5EF4-FFF2-40B4-BE49-F238E27FC236}">
                          <a16:creationId xmlns:a16="http://schemas.microsoft.com/office/drawing/2014/main" id="{9E9B5419-D4C4-52A9-CDF3-0CD9059D535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47" name="Graphic 3246">
                      <a:extLst>
                        <a:ext uri="{FF2B5EF4-FFF2-40B4-BE49-F238E27FC236}">
                          <a16:creationId xmlns:a16="http://schemas.microsoft.com/office/drawing/2014/main" id="{54F0D71D-2FE4-C328-6DC7-86A556EE812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48" name="Graphic 3247">
                      <a:extLst>
                        <a:ext uri="{FF2B5EF4-FFF2-40B4-BE49-F238E27FC236}">
                          <a16:creationId xmlns:a16="http://schemas.microsoft.com/office/drawing/2014/main" id="{1D7D6E52-E7AA-45F4-6AC5-A614B41A09B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49" name="Graphic 3248">
                      <a:extLst>
                        <a:ext uri="{FF2B5EF4-FFF2-40B4-BE49-F238E27FC236}">
                          <a16:creationId xmlns:a16="http://schemas.microsoft.com/office/drawing/2014/main" id="{CFC34F7A-C3DA-7129-8EA1-0686B219F4F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50" name="Graphic 3249">
                      <a:extLst>
                        <a:ext uri="{FF2B5EF4-FFF2-40B4-BE49-F238E27FC236}">
                          <a16:creationId xmlns:a16="http://schemas.microsoft.com/office/drawing/2014/main" id="{654FC2E7-D135-096F-FBE9-78775F744FC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51" name="Graphic 3250">
                      <a:extLst>
                        <a:ext uri="{FF2B5EF4-FFF2-40B4-BE49-F238E27FC236}">
                          <a16:creationId xmlns:a16="http://schemas.microsoft.com/office/drawing/2014/main" id="{22D50AE9-4338-1150-D4C1-E8B57E1E0BA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52" name="Graphic 3251">
                      <a:extLst>
                        <a:ext uri="{FF2B5EF4-FFF2-40B4-BE49-F238E27FC236}">
                          <a16:creationId xmlns:a16="http://schemas.microsoft.com/office/drawing/2014/main" id="{E6A5F7B5-E0EE-AA71-BB7C-7FCE2D74759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53" name="Graphic 3252">
                      <a:extLst>
                        <a:ext uri="{FF2B5EF4-FFF2-40B4-BE49-F238E27FC236}">
                          <a16:creationId xmlns:a16="http://schemas.microsoft.com/office/drawing/2014/main" id="{7821DCCF-AD81-063E-47C1-58B046EE002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54" name="Graphic 3253">
                      <a:extLst>
                        <a:ext uri="{FF2B5EF4-FFF2-40B4-BE49-F238E27FC236}">
                          <a16:creationId xmlns:a16="http://schemas.microsoft.com/office/drawing/2014/main" id="{1F0CA6C1-5576-AAFA-17D3-832B15B7EB4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219" name="Graphic 3218">
                  <a:extLst>
                    <a:ext uri="{FF2B5EF4-FFF2-40B4-BE49-F238E27FC236}">
                      <a16:creationId xmlns:a16="http://schemas.microsoft.com/office/drawing/2014/main" id="{1E1AB4D6-8F58-C3B4-7B9C-14772DC003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20" name="Graphic 3219">
                  <a:extLst>
                    <a:ext uri="{FF2B5EF4-FFF2-40B4-BE49-F238E27FC236}">
                      <a16:creationId xmlns:a16="http://schemas.microsoft.com/office/drawing/2014/main" id="{140E6A19-9E0C-7A98-1FE0-1B508F8F15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21" name="Graphic 3220">
                  <a:extLst>
                    <a:ext uri="{FF2B5EF4-FFF2-40B4-BE49-F238E27FC236}">
                      <a16:creationId xmlns:a16="http://schemas.microsoft.com/office/drawing/2014/main" id="{F5018C06-450A-23C8-1EE2-C93CFAA538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22" name="Graphic 3221">
                  <a:extLst>
                    <a:ext uri="{FF2B5EF4-FFF2-40B4-BE49-F238E27FC236}">
                      <a16:creationId xmlns:a16="http://schemas.microsoft.com/office/drawing/2014/main" id="{DE38741B-A693-41D4-82B3-DA3D92DE23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223" name="Graphic 3222">
                  <a:extLst>
                    <a:ext uri="{FF2B5EF4-FFF2-40B4-BE49-F238E27FC236}">
                      <a16:creationId xmlns:a16="http://schemas.microsoft.com/office/drawing/2014/main" id="{01043EE3-1138-89DC-774A-A5D1938661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24" name="Graphic 3223">
                  <a:extLst>
                    <a:ext uri="{FF2B5EF4-FFF2-40B4-BE49-F238E27FC236}">
                      <a16:creationId xmlns:a16="http://schemas.microsoft.com/office/drawing/2014/main" id="{8A4E0FD0-4DC9-A072-07DF-294855F5F76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225" name="Graphic 3224">
                  <a:extLst>
                    <a:ext uri="{FF2B5EF4-FFF2-40B4-BE49-F238E27FC236}">
                      <a16:creationId xmlns:a16="http://schemas.microsoft.com/office/drawing/2014/main" id="{9BA17902-D805-184C-6667-C3D97A632F4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26" name="Graphic 3225">
                  <a:extLst>
                    <a:ext uri="{FF2B5EF4-FFF2-40B4-BE49-F238E27FC236}">
                      <a16:creationId xmlns:a16="http://schemas.microsoft.com/office/drawing/2014/main" id="{C0D8B7CE-11B0-5AF8-0136-052BEC2B64E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27" name="Graphic 3226">
                  <a:extLst>
                    <a:ext uri="{FF2B5EF4-FFF2-40B4-BE49-F238E27FC236}">
                      <a16:creationId xmlns:a16="http://schemas.microsoft.com/office/drawing/2014/main" id="{B445B6F9-3613-5BA4-DA22-92E965A405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28" name="Graphic 3227">
                  <a:extLst>
                    <a:ext uri="{FF2B5EF4-FFF2-40B4-BE49-F238E27FC236}">
                      <a16:creationId xmlns:a16="http://schemas.microsoft.com/office/drawing/2014/main" id="{F82908A9-0806-EFF3-DC3A-999A7EF084F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29" name="Graphic 3228">
                  <a:extLst>
                    <a:ext uri="{FF2B5EF4-FFF2-40B4-BE49-F238E27FC236}">
                      <a16:creationId xmlns:a16="http://schemas.microsoft.com/office/drawing/2014/main" id="{890DDFB5-59F3-C012-CD97-3CAD121785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30" name="Graphic 3229">
                  <a:extLst>
                    <a:ext uri="{FF2B5EF4-FFF2-40B4-BE49-F238E27FC236}">
                      <a16:creationId xmlns:a16="http://schemas.microsoft.com/office/drawing/2014/main" id="{C3D31655-E452-343C-96F1-B672D30ABF3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231" name="Graphic 3230">
                  <a:extLst>
                    <a:ext uri="{FF2B5EF4-FFF2-40B4-BE49-F238E27FC236}">
                      <a16:creationId xmlns:a16="http://schemas.microsoft.com/office/drawing/2014/main" id="{179444DA-DD0F-2771-9948-4A822818249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214" name="Graphic 3213">
                <a:extLst>
                  <a:ext uri="{FF2B5EF4-FFF2-40B4-BE49-F238E27FC236}">
                    <a16:creationId xmlns:a16="http://schemas.microsoft.com/office/drawing/2014/main" id="{EB8E047B-C004-DD3B-0AAC-FDFA6248CC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215" name="Graphic 3214">
                <a:extLst>
                  <a:ext uri="{FF2B5EF4-FFF2-40B4-BE49-F238E27FC236}">
                    <a16:creationId xmlns:a16="http://schemas.microsoft.com/office/drawing/2014/main" id="{ABE03E9D-871A-D63A-F580-D9D7EEE8DE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216" name="Graphic 3215">
                <a:extLst>
                  <a:ext uri="{FF2B5EF4-FFF2-40B4-BE49-F238E27FC236}">
                    <a16:creationId xmlns:a16="http://schemas.microsoft.com/office/drawing/2014/main" id="{86289FF0-F904-BB6A-F4F8-CA5348A280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217" name="Graphic 3216">
                <a:extLst>
                  <a:ext uri="{FF2B5EF4-FFF2-40B4-BE49-F238E27FC236}">
                    <a16:creationId xmlns:a16="http://schemas.microsoft.com/office/drawing/2014/main" id="{B7B9DF0A-6563-59A2-3EC6-EF489C30A7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1871" name="Group 1870">
              <a:extLst>
                <a:ext uri="{FF2B5EF4-FFF2-40B4-BE49-F238E27FC236}">
                  <a16:creationId xmlns:a16="http://schemas.microsoft.com/office/drawing/2014/main" id="{EBEBC257-59CD-22B1-6A32-CB4CC9CD6C21}"/>
                </a:ext>
              </a:extLst>
            </p:cNvPr>
            <p:cNvGrpSpPr/>
            <p:nvPr/>
          </p:nvGrpSpPr>
          <p:grpSpPr>
            <a:xfrm>
              <a:off x="1451002" y="3328674"/>
              <a:ext cx="80395" cy="79415"/>
              <a:chOff x="5071590" y="2724817"/>
              <a:chExt cx="1901239" cy="1655213"/>
            </a:xfrm>
          </p:grpSpPr>
          <p:grpSp>
            <p:nvGrpSpPr>
              <p:cNvPr id="3171" name="Group 3170">
                <a:extLst>
                  <a:ext uri="{FF2B5EF4-FFF2-40B4-BE49-F238E27FC236}">
                    <a16:creationId xmlns:a16="http://schemas.microsoft.com/office/drawing/2014/main" id="{E27B2383-4EEE-9C32-8D88-8674C565979D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176" name="Group 3175">
                  <a:extLst>
                    <a:ext uri="{FF2B5EF4-FFF2-40B4-BE49-F238E27FC236}">
                      <a16:creationId xmlns:a16="http://schemas.microsoft.com/office/drawing/2014/main" id="{DB50A9CF-549A-DC4E-7A82-3BE9DB60FF34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190" name="Oval 3189">
                    <a:extLst>
                      <a:ext uri="{FF2B5EF4-FFF2-40B4-BE49-F238E27FC236}">
                        <a16:creationId xmlns:a16="http://schemas.microsoft.com/office/drawing/2014/main" id="{A5F0FA55-BE5A-91B9-EA48-F0BD8C33E5E0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191" name="Group 3190">
                    <a:extLst>
                      <a:ext uri="{FF2B5EF4-FFF2-40B4-BE49-F238E27FC236}">
                        <a16:creationId xmlns:a16="http://schemas.microsoft.com/office/drawing/2014/main" id="{614004FF-83DE-DC3C-1235-C707CCE2A02E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192" name="Graphic 3191">
                      <a:extLst>
                        <a:ext uri="{FF2B5EF4-FFF2-40B4-BE49-F238E27FC236}">
                          <a16:creationId xmlns:a16="http://schemas.microsoft.com/office/drawing/2014/main" id="{F68B82A2-ECBB-8B75-AD3E-C1A94545642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93" name="Graphic 3192">
                      <a:extLst>
                        <a:ext uri="{FF2B5EF4-FFF2-40B4-BE49-F238E27FC236}">
                          <a16:creationId xmlns:a16="http://schemas.microsoft.com/office/drawing/2014/main" id="{9A653949-5A7D-A9A6-03DB-01688512F2F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94" name="Graphic 3193">
                      <a:extLst>
                        <a:ext uri="{FF2B5EF4-FFF2-40B4-BE49-F238E27FC236}">
                          <a16:creationId xmlns:a16="http://schemas.microsoft.com/office/drawing/2014/main" id="{E9856D9F-B8A7-75F8-4FD0-C081E9AC0DA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95" name="Graphic 3194">
                      <a:extLst>
                        <a:ext uri="{FF2B5EF4-FFF2-40B4-BE49-F238E27FC236}">
                          <a16:creationId xmlns:a16="http://schemas.microsoft.com/office/drawing/2014/main" id="{D588699A-89FD-6245-E256-2A6FCAA3050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96" name="Graphic 3195">
                      <a:extLst>
                        <a:ext uri="{FF2B5EF4-FFF2-40B4-BE49-F238E27FC236}">
                          <a16:creationId xmlns:a16="http://schemas.microsoft.com/office/drawing/2014/main" id="{F1129BC6-FAAC-7FB0-872E-48B6AC52218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97" name="Graphic 3196">
                      <a:extLst>
                        <a:ext uri="{FF2B5EF4-FFF2-40B4-BE49-F238E27FC236}">
                          <a16:creationId xmlns:a16="http://schemas.microsoft.com/office/drawing/2014/main" id="{ACC82ED3-C521-7341-2D57-3ADA7557FD9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98" name="Graphic 3197">
                      <a:extLst>
                        <a:ext uri="{FF2B5EF4-FFF2-40B4-BE49-F238E27FC236}">
                          <a16:creationId xmlns:a16="http://schemas.microsoft.com/office/drawing/2014/main" id="{22DFE549-71ED-B992-E961-9469A99376F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99" name="Graphic 3198">
                      <a:extLst>
                        <a:ext uri="{FF2B5EF4-FFF2-40B4-BE49-F238E27FC236}">
                          <a16:creationId xmlns:a16="http://schemas.microsoft.com/office/drawing/2014/main" id="{9CF0DE29-6192-8C1D-CB50-1AB30A0AAD0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00" name="Graphic 3199">
                      <a:extLst>
                        <a:ext uri="{FF2B5EF4-FFF2-40B4-BE49-F238E27FC236}">
                          <a16:creationId xmlns:a16="http://schemas.microsoft.com/office/drawing/2014/main" id="{62110DCE-27AA-598D-AE9B-ACF5E83A8F9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01" name="Graphic 3200">
                      <a:extLst>
                        <a:ext uri="{FF2B5EF4-FFF2-40B4-BE49-F238E27FC236}">
                          <a16:creationId xmlns:a16="http://schemas.microsoft.com/office/drawing/2014/main" id="{83E599D2-FB5A-08EB-0A5C-2D5C86AF036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02" name="Graphic 3201">
                      <a:extLst>
                        <a:ext uri="{FF2B5EF4-FFF2-40B4-BE49-F238E27FC236}">
                          <a16:creationId xmlns:a16="http://schemas.microsoft.com/office/drawing/2014/main" id="{8311E28E-D4F3-E9A0-B2D0-201D34441D8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03" name="Graphic 3202">
                      <a:extLst>
                        <a:ext uri="{FF2B5EF4-FFF2-40B4-BE49-F238E27FC236}">
                          <a16:creationId xmlns:a16="http://schemas.microsoft.com/office/drawing/2014/main" id="{F0C9BA4D-2F04-7D05-EBDE-325DCC04328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04" name="Graphic 3203">
                      <a:extLst>
                        <a:ext uri="{FF2B5EF4-FFF2-40B4-BE49-F238E27FC236}">
                          <a16:creationId xmlns:a16="http://schemas.microsoft.com/office/drawing/2014/main" id="{A4750D88-4295-3DD5-E817-F384FC958E4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05" name="Graphic 3204">
                      <a:extLst>
                        <a:ext uri="{FF2B5EF4-FFF2-40B4-BE49-F238E27FC236}">
                          <a16:creationId xmlns:a16="http://schemas.microsoft.com/office/drawing/2014/main" id="{85D94D71-5373-E739-CC0D-3D3DFFF7AED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06" name="Graphic 3205">
                      <a:extLst>
                        <a:ext uri="{FF2B5EF4-FFF2-40B4-BE49-F238E27FC236}">
                          <a16:creationId xmlns:a16="http://schemas.microsoft.com/office/drawing/2014/main" id="{F4A111ED-3254-D4D9-057B-AD3594BE357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07" name="Graphic 3206">
                      <a:extLst>
                        <a:ext uri="{FF2B5EF4-FFF2-40B4-BE49-F238E27FC236}">
                          <a16:creationId xmlns:a16="http://schemas.microsoft.com/office/drawing/2014/main" id="{B2B4E480-FCA7-49C7-420F-8D53FC8C18B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08" name="Graphic 3207">
                      <a:extLst>
                        <a:ext uri="{FF2B5EF4-FFF2-40B4-BE49-F238E27FC236}">
                          <a16:creationId xmlns:a16="http://schemas.microsoft.com/office/drawing/2014/main" id="{CB22340D-FEBA-F92E-3123-B196DC4CEB4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09" name="Graphic 3208">
                      <a:extLst>
                        <a:ext uri="{FF2B5EF4-FFF2-40B4-BE49-F238E27FC236}">
                          <a16:creationId xmlns:a16="http://schemas.microsoft.com/office/drawing/2014/main" id="{6D7A27BE-3336-277F-35D3-15E538C611C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10" name="Graphic 3209">
                      <a:extLst>
                        <a:ext uri="{FF2B5EF4-FFF2-40B4-BE49-F238E27FC236}">
                          <a16:creationId xmlns:a16="http://schemas.microsoft.com/office/drawing/2014/main" id="{87665CC4-3158-78A3-5536-70D0D934AE1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11" name="Graphic 3210">
                      <a:extLst>
                        <a:ext uri="{FF2B5EF4-FFF2-40B4-BE49-F238E27FC236}">
                          <a16:creationId xmlns:a16="http://schemas.microsoft.com/office/drawing/2014/main" id="{DC01C3BC-BEEE-D8D9-629B-AA79ED5DC78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12" name="Graphic 3211">
                      <a:extLst>
                        <a:ext uri="{FF2B5EF4-FFF2-40B4-BE49-F238E27FC236}">
                          <a16:creationId xmlns:a16="http://schemas.microsoft.com/office/drawing/2014/main" id="{A4708901-3252-7F29-EB0F-0B621EC113C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177" name="Graphic 3176">
                  <a:extLst>
                    <a:ext uri="{FF2B5EF4-FFF2-40B4-BE49-F238E27FC236}">
                      <a16:creationId xmlns:a16="http://schemas.microsoft.com/office/drawing/2014/main" id="{3EC648E9-0DC0-F417-C5C1-A5F2EC8E13B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78" name="Graphic 3177">
                  <a:extLst>
                    <a:ext uri="{FF2B5EF4-FFF2-40B4-BE49-F238E27FC236}">
                      <a16:creationId xmlns:a16="http://schemas.microsoft.com/office/drawing/2014/main" id="{AFAAA3C5-EC32-45AC-17F5-7718F5D8B81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79" name="Graphic 3178">
                  <a:extLst>
                    <a:ext uri="{FF2B5EF4-FFF2-40B4-BE49-F238E27FC236}">
                      <a16:creationId xmlns:a16="http://schemas.microsoft.com/office/drawing/2014/main" id="{31CC7BCE-3300-5B51-5C85-1E49F94FC94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80" name="Graphic 3179">
                  <a:extLst>
                    <a:ext uri="{FF2B5EF4-FFF2-40B4-BE49-F238E27FC236}">
                      <a16:creationId xmlns:a16="http://schemas.microsoft.com/office/drawing/2014/main" id="{E3E96594-BD19-3666-FA1F-35E74B85C0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181" name="Graphic 3180">
                  <a:extLst>
                    <a:ext uri="{FF2B5EF4-FFF2-40B4-BE49-F238E27FC236}">
                      <a16:creationId xmlns:a16="http://schemas.microsoft.com/office/drawing/2014/main" id="{1A573390-0550-A4EF-CB02-7FC0AEA8D9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82" name="Graphic 3181">
                  <a:extLst>
                    <a:ext uri="{FF2B5EF4-FFF2-40B4-BE49-F238E27FC236}">
                      <a16:creationId xmlns:a16="http://schemas.microsoft.com/office/drawing/2014/main" id="{C35B11B0-3FB7-F828-6B77-42200FC09A1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183" name="Graphic 3182">
                  <a:extLst>
                    <a:ext uri="{FF2B5EF4-FFF2-40B4-BE49-F238E27FC236}">
                      <a16:creationId xmlns:a16="http://schemas.microsoft.com/office/drawing/2014/main" id="{CB7A325D-4CB6-24A8-FCE6-A7F601EF23B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84" name="Graphic 3183">
                  <a:extLst>
                    <a:ext uri="{FF2B5EF4-FFF2-40B4-BE49-F238E27FC236}">
                      <a16:creationId xmlns:a16="http://schemas.microsoft.com/office/drawing/2014/main" id="{70F3565E-263C-127C-B068-BE4C77A8FEC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85" name="Graphic 3184">
                  <a:extLst>
                    <a:ext uri="{FF2B5EF4-FFF2-40B4-BE49-F238E27FC236}">
                      <a16:creationId xmlns:a16="http://schemas.microsoft.com/office/drawing/2014/main" id="{1F9EEDB8-D6D7-9E0F-3193-19B8A5A2351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86" name="Graphic 3185">
                  <a:extLst>
                    <a:ext uri="{FF2B5EF4-FFF2-40B4-BE49-F238E27FC236}">
                      <a16:creationId xmlns:a16="http://schemas.microsoft.com/office/drawing/2014/main" id="{7934CE95-DF95-4AE3-4A30-CB348135FED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87" name="Graphic 3186">
                  <a:extLst>
                    <a:ext uri="{FF2B5EF4-FFF2-40B4-BE49-F238E27FC236}">
                      <a16:creationId xmlns:a16="http://schemas.microsoft.com/office/drawing/2014/main" id="{7FB1FCFD-DB75-118D-6C3B-BE846F25E24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88" name="Graphic 3187">
                  <a:extLst>
                    <a:ext uri="{FF2B5EF4-FFF2-40B4-BE49-F238E27FC236}">
                      <a16:creationId xmlns:a16="http://schemas.microsoft.com/office/drawing/2014/main" id="{5AF6379B-4943-FB9B-EE82-F703841C2B8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89" name="Graphic 3188">
                  <a:extLst>
                    <a:ext uri="{FF2B5EF4-FFF2-40B4-BE49-F238E27FC236}">
                      <a16:creationId xmlns:a16="http://schemas.microsoft.com/office/drawing/2014/main" id="{A6C99D6B-609C-CCDF-C063-3C9BED7DC27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172" name="Graphic 3171">
                <a:extLst>
                  <a:ext uri="{FF2B5EF4-FFF2-40B4-BE49-F238E27FC236}">
                    <a16:creationId xmlns:a16="http://schemas.microsoft.com/office/drawing/2014/main" id="{B0A53934-DEE3-AEA6-F881-0866A18F56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173" name="Graphic 3172">
                <a:extLst>
                  <a:ext uri="{FF2B5EF4-FFF2-40B4-BE49-F238E27FC236}">
                    <a16:creationId xmlns:a16="http://schemas.microsoft.com/office/drawing/2014/main" id="{69D186AD-DFB0-7E16-BC02-E195AFD3BF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174" name="Graphic 3173">
                <a:extLst>
                  <a:ext uri="{FF2B5EF4-FFF2-40B4-BE49-F238E27FC236}">
                    <a16:creationId xmlns:a16="http://schemas.microsoft.com/office/drawing/2014/main" id="{36E92B9C-AD54-435F-1FCE-45C506F1E4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175" name="Graphic 3174">
                <a:extLst>
                  <a:ext uri="{FF2B5EF4-FFF2-40B4-BE49-F238E27FC236}">
                    <a16:creationId xmlns:a16="http://schemas.microsoft.com/office/drawing/2014/main" id="{6F14CF34-CF81-CC6C-08EA-E0D87C58B5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1872" name="Group 1871">
              <a:extLst>
                <a:ext uri="{FF2B5EF4-FFF2-40B4-BE49-F238E27FC236}">
                  <a16:creationId xmlns:a16="http://schemas.microsoft.com/office/drawing/2014/main" id="{B497B160-1121-E51B-ABE6-A5EAD3800CF3}"/>
                </a:ext>
              </a:extLst>
            </p:cNvPr>
            <p:cNvGrpSpPr/>
            <p:nvPr/>
          </p:nvGrpSpPr>
          <p:grpSpPr>
            <a:xfrm>
              <a:off x="1529713" y="3486788"/>
              <a:ext cx="135763" cy="134108"/>
              <a:chOff x="5071590" y="2724817"/>
              <a:chExt cx="1901239" cy="1655213"/>
            </a:xfrm>
          </p:grpSpPr>
          <p:grpSp>
            <p:nvGrpSpPr>
              <p:cNvPr id="3129" name="Group 3128">
                <a:extLst>
                  <a:ext uri="{FF2B5EF4-FFF2-40B4-BE49-F238E27FC236}">
                    <a16:creationId xmlns:a16="http://schemas.microsoft.com/office/drawing/2014/main" id="{EF35D365-ED9E-537B-D1BB-72EC60C043D0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134" name="Group 3133">
                  <a:extLst>
                    <a:ext uri="{FF2B5EF4-FFF2-40B4-BE49-F238E27FC236}">
                      <a16:creationId xmlns:a16="http://schemas.microsoft.com/office/drawing/2014/main" id="{CFC4B16E-6949-5540-A2C2-695C1EF9CD97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148" name="Oval 3147">
                    <a:extLst>
                      <a:ext uri="{FF2B5EF4-FFF2-40B4-BE49-F238E27FC236}">
                        <a16:creationId xmlns:a16="http://schemas.microsoft.com/office/drawing/2014/main" id="{490CFEF4-8774-4558-2A65-1065963F30A1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149" name="Group 3148">
                    <a:extLst>
                      <a:ext uri="{FF2B5EF4-FFF2-40B4-BE49-F238E27FC236}">
                        <a16:creationId xmlns:a16="http://schemas.microsoft.com/office/drawing/2014/main" id="{DAD576FC-9C09-4554-D047-2514EC0E48FD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150" name="Graphic 3149">
                      <a:extLst>
                        <a:ext uri="{FF2B5EF4-FFF2-40B4-BE49-F238E27FC236}">
                          <a16:creationId xmlns:a16="http://schemas.microsoft.com/office/drawing/2014/main" id="{FFA3C2F7-3EB8-2B2B-113C-E1EDA2F8EAE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51" name="Graphic 3150">
                      <a:extLst>
                        <a:ext uri="{FF2B5EF4-FFF2-40B4-BE49-F238E27FC236}">
                          <a16:creationId xmlns:a16="http://schemas.microsoft.com/office/drawing/2014/main" id="{BF21A601-86F3-AFF4-FDFA-A789497F930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52" name="Graphic 3151">
                      <a:extLst>
                        <a:ext uri="{FF2B5EF4-FFF2-40B4-BE49-F238E27FC236}">
                          <a16:creationId xmlns:a16="http://schemas.microsoft.com/office/drawing/2014/main" id="{E67F5C2E-1812-DB74-B9B6-7F837F1E520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53" name="Graphic 3152">
                      <a:extLst>
                        <a:ext uri="{FF2B5EF4-FFF2-40B4-BE49-F238E27FC236}">
                          <a16:creationId xmlns:a16="http://schemas.microsoft.com/office/drawing/2014/main" id="{A30F85E3-87C6-9748-D5CD-9F374225ECB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54" name="Graphic 3153">
                      <a:extLst>
                        <a:ext uri="{FF2B5EF4-FFF2-40B4-BE49-F238E27FC236}">
                          <a16:creationId xmlns:a16="http://schemas.microsoft.com/office/drawing/2014/main" id="{5B8825CA-1AAF-B9C8-5160-417FC8773BA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55" name="Graphic 3154">
                      <a:extLst>
                        <a:ext uri="{FF2B5EF4-FFF2-40B4-BE49-F238E27FC236}">
                          <a16:creationId xmlns:a16="http://schemas.microsoft.com/office/drawing/2014/main" id="{AEDC6E8B-343A-B72B-EE3F-A4775F8952B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56" name="Graphic 3155">
                      <a:extLst>
                        <a:ext uri="{FF2B5EF4-FFF2-40B4-BE49-F238E27FC236}">
                          <a16:creationId xmlns:a16="http://schemas.microsoft.com/office/drawing/2014/main" id="{C0EEA2C0-5443-201E-654A-7553CC543EB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57" name="Graphic 3156">
                      <a:extLst>
                        <a:ext uri="{FF2B5EF4-FFF2-40B4-BE49-F238E27FC236}">
                          <a16:creationId xmlns:a16="http://schemas.microsoft.com/office/drawing/2014/main" id="{5B9836D1-5FA5-EBB5-50B4-EFCF06F38C6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58" name="Graphic 3157">
                      <a:extLst>
                        <a:ext uri="{FF2B5EF4-FFF2-40B4-BE49-F238E27FC236}">
                          <a16:creationId xmlns:a16="http://schemas.microsoft.com/office/drawing/2014/main" id="{1907134F-4FAF-B81F-861F-D00F8C4B264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59" name="Graphic 3158">
                      <a:extLst>
                        <a:ext uri="{FF2B5EF4-FFF2-40B4-BE49-F238E27FC236}">
                          <a16:creationId xmlns:a16="http://schemas.microsoft.com/office/drawing/2014/main" id="{DD25C2CF-F96E-1B67-C624-713CECD8077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60" name="Graphic 3159">
                      <a:extLst>
                        <a:ext uri="{FF2B5EF4-FFF2-40B4-BE49-F238E27FC236}">
                          <a16:creationId xmlns:a16="http://schemas.microsoft.com/office/drawing/2014/main" id="{3F6AA14D-9246-C614-4095-D4A41A13121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61" name="Graphic 3160">
                      <a:extLst>
                        <a:ext uri="{FF2B5EF4-FFF2-40B4-BE49-F238E27FC236}">
                          <a16:creationId xmlns:a16="http://schemas.microsoft.com/office/drawing/2014/main" id="{07DE0EBE-612C-F51C-E8BF-59F8EF283B9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62" name="Graphic 3161">
                      <a:extLst>
                        <a:ext uri="{FF2B5EF4-FFF2-40B4-BE49-F238E27FC236}">
                          <a16:creationId xmlns:a16="http://schemas.microsoft.com/office/drawing/2014/main" id="{D55D4881-45EC-6DE0-5A89-CE2419E46FD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63" name="Graphic 3162">
                      <a:extLst>
                        <a:ext uri="{FF2B5EF4-FFF2-40B4-BE49-F238E27FC236}">
                          <a16:creationId xmlns:a16="http://schemas.microsoft.com/office/drawing/2014/main" id="{0ED4B250-01F0-6729-97C6-96E7921A8C1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64" name="Graphic 3163">
                      <a:extLst>
                        <a:ext uri="{FF2B5EF4-FFF2-40B4-BE49-F238E27FC236}">
                          <a16:creationId xmlns:a16="http://schemas.microsoft.com/office/drawing/2014/main" id="{CF6437EB-BB7D-D3D2-A27F-7B945689945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65" name="Graphic 3164">
                      <a:extLst>
                        <a:ext uri="{FF2B5EF4-FFF2-40B4-BE49-F238E27FC236}">
                          <a16:creationId xmlns:a16="http://schemas.microsoft.com/office/drawing/2014/main" id="{EF182117-7521-1D25-78B8-E2CEA19648B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66" name="Graphic 3165">
                      <a:extLst>
                        <a:ext uri="{FF2B5EF4-FFF2-40B4-BE49-F238E27FC236}">
                          <a16:creationId xmlns:a16="http://schemas.microsoft.com/office/drawing/2014/main" id="{947807E9-8CF0-7670-C4FA-780148C4F08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67" name="Graphic 3166">
                      <a:extLst>
                        <a:ext uri="{FF2B5EF4-FFF2-40B4-BE49-F238E27FC236}">
                          <a16:creationId xmlns:a16="http://schemas.microsoft.com/office/drawing/2014/main" id="{06993223-DA34-453F-C6EB-FE5332A1433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68" name="Graphic 3167">
                      <a:extLst>
                        <a:ext uri="{FF2B5EF4-FFF2-40B4-BE49-F238E27FC236}">
                          <a16:creationId xmlns:a16="http://schemas.microsoft.com/office/drawing/2014/main" id="{A239F1B0-FDAE-938F-85D7-CF269B5F894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69" name="Graphic 3168">
                      <a:extLst>
                        <a:ext uri="{FF2B5EF4-FFF2-40B4-BE49-F238E27FC236}">
                          <a16:creationId xmlns:a16="http://schemas.microsoft.com/office/drawing/2014/main" id="{0B123E29-6686-EDAE-02A0-B7F89CEE7D1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70" name="Graphic 3169">
                      <a:extLst>
                        <a:ext uri="{FF2B5EF4-FFF2-40B4-BE49-F238E27FC236}">
                          <a16:creationId xmlns:a16="http://schemas.microsoft.com/office/drawing/2014/main" id="{2AB73F8A-2D1D-4E48-5CEC-BE2879BB484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135" name="Graphic 3134">
                  <a:extLst>
                    <a:ext uri="{FF2B5EF4-FFF2-40B4-BE49-F238E27FC236}">
                      <a16:creationId xmlns:a16="http://schemas.microsoft.com/office/drawing/2014/main" id="{457EADD8-672D-FED6-BA05-511536B9619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36" name="Graphic 3135">
                  <a:extLst>
                    <a:ext uri="{FF2B5EF4-FFF2-40B4-BE49-F238E27FC236}">
                      <a16:creationId xmlns:a16="http://schemas.microsoft.com/office/drawing/2014/main" id="{2BCB8D17-0D7D-D33B-9391-152F8C4287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37" name="Graphic 3136">
                  <a:extLst>
                    <a:ext uri="{FF2B5EF4-FFF2-40B4-BE49-F238E27FC236}">
                      <a16:creationId xmlns:a16="http://schemas.microsoft.com/office/drawing/2014/main" id="{15335312-DCED-F9C5-43E0-0BD9A548C8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38" name="Graphic 3137">
                  <a:extLst>
                    <a:ext uri="{FF2B5EF4-FFF2-40B4-BE49-F238E27FC236}">
                      <a16:creationId xmlns:a16="http://schemas.microsoft.com/office/drawing/2014/main" id="{897FEA91-EDFA-6EAD-6429-425154EABB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139" name="Graphic 3138">
                  <a:extLst>
                    <a:ext uri="{FF2B5EF4-FFF2-40B4-BE49-F238E27FC236}">
                      <a16:creationId xmlns:a16="http://schemas.microsoft.com/office/drawing/2014/main" id="{1358192E-1FA0-A817-2AD4-BBA805BE2E6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40" name="Graphic 3139">
                  <a:extLst>
                    <a:ext uri="{FF2B5EF4-FFF2-40B4-BE49-F238E27FC236}">
                      <a16:creationId xmlns:a16="http://schemas.microsoft.com/office/drawing/2014/main" id="{E8A585AA-1568-9C6A-0B54-3DFEB365AC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141" name="Graphic 3140">
                  <a:extLst>
                    <a:ext uri="{FF2B5EF4-FFF2-40B4-BE49-F238E27FC236}">
                      <a16:creationId xmlns:a16="http://schemas.microsoft.com/office/drawing/2014/main" id="{45BC4436-7B92-BA64-0D8A-68769B6CB5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42" name="Graphic 3141">
                  <a:extLst>
                    <a:ext uri="{FF2B5EF4-FFF2-40B4-BE49-F238E27FC236}">
                      <a16:creationId xmlns:a16="http://schemas.microsoft.com/office/drawing/2014/main" id="{5E22F694-795F-C61E-E654-8E56EE3A9F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43" name="Graphic 3142">
                  <a:extLst>
                    <a:ext uri="{FF2B5EF4-FFF2-40B4-BE49-F238E27FC236}">
                      <a16:creationId xmlns:a16="http://schemas.microsoft.com/office/drawing/2014/main" id="{E4F52EBC-584D-13C6-54FF-826329408E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44" name="Graphic 3143">
                  <a:extLst>
                    <a:ext uri="{FF2B5EF4-FFF2-40B4-BE49-F238E27FC236}">
                      <a16:creationId xmlns:a16="http://schemas.microsoft.com/office/drawing/2014/main" id="{8E5F5452-FCAC-65BD-BC59-5392A32F02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45" name="Graphic 3144">
                  <a:extLst>
                    <a:ext uri="{FF2B5EF4-FFF2-40B4-BE49-F238E27FC236}">
                      <a16:creationId xmlns:a16="http://schemas.microsoft.com/office/drawing/2014/main" id="{1B80476C-F08E-16CC-4AB9-A485ECBE9AB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46" name="Graphic 3145">
                  <a:extLst>
                    <a:ext uri="{FF2B5EF4-FFF2-40B4-BE49-F238E27FC236}">
                      <a16:creationId xmlns:a16="http://schemas.microsoft.com/office/drawing/2014/main" id="{A5693291-6279-357E-EE60-040890BFB11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47" name="Graphic 3146">
                  <a:extLst>
                    <a:ext uri="{FF2B5EF4-FFF2-40B4-BE49-F238E27FC236}">
                      <a16:creationId xmlns:a16="http://schemas.microsoft.com/office/drawing/2014/main" id="{8CA7010E-8005-5497-D51E-3F04CFAF55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130" name="Graphic 3129">
                <a:extLst>
                  <a:ext uri="{FF2B5EF4-FFF2-40B4-BE49-F238E27FC236}">
                    <a16:creationId xmlns:a16="http://schemas.microsoft.com/office/drawing/2014/main" id="{ED0E4BFB-9A7F-12FC-C99B-95DF5B4F44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131" name="Graphic 3130">
                <a:extLst>
                  <a:ext uri="{FF2B5EF4-FFF2-40B4-BE49-F238E27FC236}">
                    <a16:creationId xmlns:a16="http://schemas.microsoft.com/office/drawing/2014/main" id="{FD3E154F-FCF2-2BE0-3423-C3A9ACCC21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132" name="Graphic 3131">
                <a:extLst>
                  <a:ext uri="{FF2B5EF4-FFF2-40B4-BE49-F238E27FC236}">
                    <a16:creationId xmlns:a16="http://schemas.microsoft.com/office/drawing/2014/main" id="{4E4F2D2D-A653-8DDE-9E51-36DCD58440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133" name="Graphic 3132">
                <a:extLst>
                  <a:ext uri="{FF2B5EF4-FFF2-40B4-BE49-F238E27FC236}">
                    <a16:creationId xmlns:a16="http://schemas.microsoft.com/office/drawing/2014/main" id="{C45A2D0E-5BE2-FAAF-8B08-0A785CF84B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DA0EBEB9-7121-FC91-E835-D8603EDAD6A2}"/>
                </a:ext>
              </a:extLst>
            </p:cNvPr>
            <p:cNvGrpSpPr/>
            <p:nvPr/>
          </p:nvGrpSpPr>
          <p:grpSpPr>
            <a:xfrm>
              <a:off x="1409982" y="3599917"/>
              <a:ext cx="79341" cy="78374"/>
              <a:chOff x="5071590" y="2724817"/>
              <a:chExt cx="1901239" cy="1655213"/>
            </a:xfrm>
          </p:grpSpPr>
          <p:grpSp>
            <p:nvGrpSpPr>
              <p:cNvPr id="3087" name="Group 3086">
                <a:extLst>
                  <a:ext uri="{FF2B5EF4-FFF2-40B4-BE49-F238E27FC236}">
                    <a16:creationId xmlns:a16="http://schemas.microsoft.com/office/drawing/2014/main" id="{3C9F2EC1-2308-71F5-8B0C-56BF7CDC7326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092" name="Group 3091">
                  <a:extLst>
                    <a:ext uri="{FF2B5EF4-FFF2-40B4-BE49-F238E27FC236}">
                      <a16:creationId xmlns:a16="http://schemas.microsoft.com/office/drawing/2014/main" id="{110508C8-15F2-7949-B842-4FAB1BC72304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106" name="Oval 3105">
                    <a:extLst>
                      <a:ext uri="{FF2B5EF4-FFF2-40B4-BE49-F238E27FC236}">
                        <a16:creationId xmlns:a16="http://schemas.microsoft.com/office/drawing/2014/main" id="{2237E2DE-D939-1EA8-443B-CBA649958B23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107" name="Group 3106">
                    <a:extLst>
                      <a:ext uri="{FF2B5EF4-FFF2-40B4-BE49-F238E27FC236}">
                        <a16:creationId xmlns:a16="http://schemas.microsoft.com/office/drawing/2014/main" id="{6972A426-5259-0F3D-834A-0296FD27038B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108" name="Graphic 3107">
                      <a:extLst>
                        <a:ext uri="{FF2B5EF4-FFF2-40B4-BE49-F238E27FC236}">
                          <a16:creationId xmlns:a16="http://schemas.microsoft.com/office/drawing/2014/main" id="{37053B40-C245-219C-3D0E-DF099FDD3D1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09" name="Graphic 3108">
                      <a:extLst>
                        <a:ext uri="{FF2B5EF4-FFF2-40B4-BE49-F238E27FC236}">
                          <a16:creationId xmlns:a16="http://schemas.microsoft.com/office/drawing/2014/main" id="{55709A17-EE17-3CDE-74CF-DCDE83C854D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10" name="Graphic 3109">
                      <a:extLst>
                        <a:ext uri="{FF2B5EF4-FFF2-40B4-BE49-F238E27FC236}">
                          <a16:creationId xmlns:a16="http://schemas.microsoft.com/office/drawing/2014/main" id="{B3BC11DE-F355-94FB-355E-8D20885B03E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11" name="Graphic 3110">
                      <a:extLst>
                        <a:ext uri="{FF2B5EF4-FFF2-40B4-BE49-F238E27FC236}">
                          <a16:creationId xmlns:a16="http://schemas.microsoft.com/office/drawing/2014/main" id="{A03B202D-1ACB-FFB0-4A03-0B4904CBC62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12" name="Graphic 3111">
                      <a:extLst>
                        <a:ext uri="{FF2B5EF4-FFF2-40B4-BE49-F238E27FC236}">
                          <a16:creationId xmlns:a16="http://schemas.microsoft.com/office/drawing/2014/main" id="{F8C6E785-A71A-0483-95E7-8760E685F9B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13" name="Graphic 3112">
                      <a:extLst>
                        <a:ext uri="{FF2B5EF4-FFF2-40B4-BE49-F238E27FC236}">
                          <a16:creationId xmlns:a16="http://schemas.microsoft.com/office/drawing/2014/main" id="{AC762FCC-5B4E-D649-3EA7-AA29E46EA3F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14" name="Graphic 3113">
                      <a:extLst>
                        <a:ext uri="{FF2B5EF4-FFF2-40B4-BE49-F238E27FC236}">
                          <a16:creationId xmlns:a16="http://schemas.microsoft.com/office/drawing/2014/main" id="{AFBBF60A-DD24-36A3-D234-C51AC5D798F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15" name="Graphic 3114">
                      <a:extLst>
                        <a:ext uri="{FF2B5EF4-FFF2-40B4-BE49-F238E27FC236}">
                          <a16:creationId xmlns:a16="http://schemas.microsoft.com/office/drawing/2014/main" id="{6218188B-CBEA-CF7A-3675-46D08BF0B21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16" name="Graphic 3115">
                      <a:extLst>
                        <a:ext uri="{FF2B5EF4-FFF2-40B4-BE49-F238E27FC236}">
                          <a16:creationId xmlns:a16="http://schemas.microsoft.com/office/drawing/2014/main" id="{785FC8E4-466E-3958-8E8B-41F4DD6ED7B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17" name="Graphic 3116">
                      <a:extLst>
                        <a:ext uri="{FF2B5EF4-FFF2-40B4-BE49-F238E27FC236}">
                          <a16:creationId xmlns:a16="http://schemas.microsoft.com/office/drawing/2014/main" id="{B48F79FA-1B31-F9DE-028E-CBF3C24F671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18" name="Graphic 3117">
                      <a:extLst>
                        <a:ext uri="{FF2B5EF4-FFF2-40B4-BE49-F238E27FC236}">
                          <a16:creationId xmlns:a16="http://schemas.microsoft.com/office/drawing/2014/main" id="{FD9B8C08-9C65-C4F5-1020-6FD951A2BA9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19" name="Graphic 3118">
                      <a:extLst>
                        <a:ext uri="{FF2B5EF4-FFF2-40B4-BE49-F238E27FC236}">
                          <a16:creationId xmlns:a16="http://schemas.microsoft.com/office/drawing/2014/main" id="{D1F85F4A-BA2B-4795-5B3D-42F0A051B56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20" name="Graphic 3119">
                      <a:extLst>
                        <a:ext uri="{FF2B5EF4-FFF2-40B4-BE49-F238E27FC236}">
                          <a16:creationId xmlns:a16="http://schemas.microsoft.com/office/drawing/2014/main" id="{7833420D-A7BC-0540-589B-64D54CC6B48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21" name="Graphic 3120">
                      <a:extLst>
                        <a:ext uri="{FF2B5EF4-FFF2-40B4-BE49-F238E27FC236}">
                          <a16:creationId xmlns:a16="http://schemas.microsoft.com/office/drawing/2014/main" id="{21E64514-292F-2AE2-AE95-9B5A2245D41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22" name="Graphic 3121">
                      <a:extLst>
                        <a:ext uri="{FF2B5EF4-FFF2-40B4-BE49-F238E27FC236}">
                          <a16:creationId xmlns:a16="http://schemas.microsoft.com/office/drawing/2014/main" id="{6B411075-15F4-34F4-B0FC-48608F477A5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23" name="Graphic 3122">
                      <a:extLst>
                        <a:ext uri="{FF2B5EF4-FFF2-40B4-BE49-F238E27FC236}">
                          <a16:creationId xmlns:a16="http://schemas.microsoft.com/office/drawing/2014/main" id="{B32EB4BF-203C-9B35-7829-8763101CC81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24" name="Graphic 3123">
                      <a:extLst>
                        <a:ext uri="{FF2B5EF4-FFF2-40B4-BE49-F238E27FC236}">
                          <a16:creationId xmlns:a16="http://schemas.microsoft.com/office/drawing/2014/main" id="{C4790460-049F-A667-C389-3506EF5DBCA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25" name="Graphic 3124">
                      <a:extLst>
                        <a:ext uri="{FF2B5EF4-FFF2-40B4-BE49-F238E27FC236}">
                          <a16:creationId xmlns:a16="http://schemas.microsoft.com/office/drawing/2014/main" id="{9D444B60-2B40-6E84-98E2-2B82345743D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26" name="Graphic 3125">
                      <a:extLst>
                        <a:ext uri="{FF2B5EF4-FFF2-40B4-BE49-F238E27FC236}">
                          <a16:creationId xmlns:a16="http://schemas.microsoft.com/office/drawing/2014/main" id="{09BC2A2D-E755-CFC8-2300-319C3554C6F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27" name="Graphic 3126">
                      <a:extLst>
                        <a:ext uri="{FF2B5EF4-FFF2-40B4-BE49-F238E27FC236}">
                          <a16:creationId xmlns:a16="http://schemas.microsoft.com/office/drawing/2014/main" id="{49A2D7CD-72F2-44BF-53A2-7F67441B31D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28" name="Graphic 3127">
                      <a:extLst>
                        <a:ext uri="{FF2B5EF4-FFF2-40B4-BE49-F238E27FC236}">
                          <a16:creationId xmlns:a16="http://schemas.microsoft.com/office/drawing/2014/main" id="{BEC14B4C-4D79-FDAB-D87B-72C21EB5003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093" name="Graphic 3092">
                  <a:extLst>
                    <a:ext uri="{FF2B5EF4-FFF2-40B4-BE49-F238E27FC236}">
                      <a16:creationId xmlns:a16="http://schemas.microsoft.com/office/drawing/2014/main" id="{9CC7F8B2-1AB6-0FB2-D18C-B59859C3045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094" name="Graphic 3093">
                  <a:extLst>
                    <a:ext uri="{FF2B5EF4-FFF2-40B4-BE49-F238E27FC236}">
                      <a16:creationId xmlns:a16="http://schemas.microsoft.com/office/drawing/2014/main" id="{0F9F23BE-E4EC-778C-F291-4D20CC54FF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095" name="Graphic 3094">
                  <a:extLst>
                    <a:ext uri="{FF2B5EF4-FFF2-40B4-BE49-F238E27FC236}">
                      <a16:creationId xmlns:a16="http://schemas.microsoft.com/office/drawing/2014/main" id="{8299EEC7-A0A8-83F5-831C-4FFD181DB7C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096" name="Graphic 3095">
                  <a:extLst>
                    <a:ext uri="{FF2B5EF4-FFF2-40B4-BE49-F238E27FC236}">
                      <a16:creationId xmlns:a16="http://schemas.microsoft.com/office/drawing/2014/main" id="{DCCB2AD3-39CC-4E1E-3DA9-A158670BBF0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097" name="Graphic 3096">
                  <a:extLst>
                    <a:ext uri="{FF2B5EF4-FFF2-40B4-BE49-F238E27FC236}">
                      <a16:creationId xmlns:a16="http://schemas.microsoft.com/office/drawing/2014/main" id="{25D2D0D3-668E-65BA-3571-B52F8BE884E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098" name="Graphic 3097">
                  <a:extLst>
                    <a:ext uri="{FF2B5EF4-FFF2-40B4-BE49-F238E27FC236}">
                      <a16:creationId xmlns:a16="http://schemas.microsoft.com/office/drawing/2014/main" id="{B97AA843-1812-D716-B62B-6B71E22C7E5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099" name="Graphic 3098">
                  <a:extLst>
                    <a:ext uri="{FF2B5EF4-FFF2-40B4-BE49-F238E27FC236}">
                      <a16:creationId xmlns:a16="http://schemas.microsoft.com/office/drawing/2014/main" id="{9D15220A-0EF9-A0A3-E469-95690CD59FB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00" name="Graphic 3099">
                  <a:extLst>
                    <a:ext uri="{FF2B5EF4-FFF2-40B4-BE49-F238E27FC236}">
                      <a16:creationId xmlns:a16="http://schemas.microsoft.com/office/drawing/2014/main" id="{4AFD977A-DD81-947C-A77F-00F15F74D0A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01" name="Graphic 3100">
                  <a:extLst>
                    <a:ext uri="{FF2B5EF4-FFF2-40B4-BE49-F238E27FC236}">
                      <a16:creationId xmlns:a16="http://schemas.microsoft.com/office/drawing/2014/main" id="{B494E324-757C-E984-FAAD-ED7D6B84E2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02" name="Graphic 3101">
                  <a:extLst>
                    <a:ext uri="{FF2B5EF4-FFF2-40B4-BE49-F238E27FC236}">
                      <a16:creationId xmlns:a16="http://schemas.microsoft.com/office/drawing/2014/main" id="{949B395A-4C66-C11D-D305-7F205F8A24C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03" name="Graphic 3102">
                  <a:extLst>
                    <a:ext uri="{FF2B5EF4-FFF2-40B4-BE49-F238E27FC236}">
                      <a16:creationId xmlns:a16="http://schemas.microsoft.com/office/drawing/2014/main" id="{00F9148E-1BCC-D2E7-A2A9-5B9C5564EB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04" name="Graphic 3103">
                  <a:extLst>
                    <a:ext uri="{FF2B5EF4-FFF2-40B4-BE49-F238E27FC236}">
                      <a16:creationId xmlns:a16="http://schemas.microsoft.com/office/drawing/2014/main" id="{5047A9F0-0189-98E3-B0C7-06D7590C15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105" name="Graphic 3104">
                  <a:extLst>
                    <a:ext uri="{FF2B5EF4-FFF2-40B4-BE49-F238E27FC236}">
                      <a16:creationId xmlns:a16="http://schemas.microsoft.com/office/drawing/2014/main" id="{4A26BA47-0CA0-ACCD-218F-5430BFFE7BA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088" name="Graphic 3087">
                <a:extLst>
                  <a:ext uri="{FF2B5EF4-FFF2-40B4-BE49-F238E27FC236}">
                    <a16:creationId xmlns:a16="http://schemas.microsoft.com/office/drawing/2014/main" id="{3A9C17CC-9C55-806C-219C-859EBEA8D2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089" name="Graphic 3088">
                <a:extLst>
                  <a:ext uri="{FF2B5EF4-FFF2-40B4-BE49-F238E27FC236}">
                    <a16:creationId xmlns:a16="http://schemas.microsoft.com/office/drawing/2014/main" id="{0FAA680A-89D5-9908-8544-216A3C0290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090" name="Graphic 3089">
                <a:extLst>
                  <a:ext uri="{FF2B5EF4-FFF2-40B4-BE49-F238E27FC236}">
                    <a16:creationId xmlns:a16="http://schemas.microsoft.com/office/drawing/2014/main" id="{EFF05662-A0B8-A554-8A4A-4D00C9ADD3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091" name="Graphic 3090">
                <a:extLst>
                  <a:ext uri="{FF2B5EF4-FFF2-40B4-BE49-F238E27FC236}">
                    <a16:creationId xmlns:a16="http://schemas.microsoft.com/office/drawing/2014/main" id="{437A6C46-52E9-3E89-85A7-179E8A48DD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67FFD564-A69F-F807-FDA1-B0088FF0DDD3}"/>
                </a:ext>
              </a:extLst>
            </p:cNvPr>
            <p:cNvGrpSpPr/>
            <p:nvPr/>
          </p:nvGrpSpPr>
          <p:grpSpPr>
            <a:xfrm>
              <a:off x="1697488" y="3493453"/>
              <a:ext cx="135763" cy="134108"/>
              <a:chOff x="5071590" y="2724817"/>
              <a:chExt cx="1901239" cy="1655213"/>
            </a:xfrm>
          </p:grpSpPr>
          <p:grpSp>
            <p:nvGrpSpPr>
              <p:cNvPr id="1263" name="Group 1262">
                <a:extLst>
                  <a:ext uri="{FF2B5EF4-FFF2-40B4-BE49-F238E27FC236}">
                    <a16:creationId xmlns:a16="http://schemas.microsoft.com/office/drawing/2014/main" id="{2097D6B3-3DB9-5B7F-4686-EC4FA3B8318D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1268" name="Group 1267">
                  <a:extLst>
                    <a:ext uri="{FF2B5EF4-FFF2-40B4-BE49-F238E27FC236}">
                      <a16:creationId xmlns:a16="http://schemas.microsoft.com/office/drawing/2014/main" id="{D6A66171-1835-9CD2-B346-88703008C23D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1282" name="Oval 1281">
                    <a:extLst>
                      <a:ext uri="{FF2B5EF4-FFF2-40B4-BE49-F238E27FC236}">
                        <a16:creationId xmlns:a16="http://schemas.microsoft.com/office/drawing/2014/main" id="{0A67EFF1-4237-3B14-D28F-3E90AD293C58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842" name="Group 1841">
                    <a:extLst>
                      <a:ext uri="{FF2B5EF4-FFF2-40B4-BE49-F238E27FC236}">
                        <a16:creationId xmlns:a16="http://schemas.microsoft.com/office/drawing/2014/main" id="{9F807F2E-9B00-C2F4-4EEC-1B90841C897D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1848" name="Graphic 1847">
                      <a:extLst>
                        <a:ext uri="{FF2B5EF4-FFF2-40B4-BE49-F238E27FC236}">
                          <a16:creationId xmlns:a16="http://schemas.microsoft.com/office/drawing/2014/main" id="{4FF44B4A-F9AC-85D2-CCDD-8BADDAF4743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49" name="Graphic 1848">
                      <a:extLst>
                        <a:ext uri="{FF2B5EF4-FFF2-40B4-BE49-F238E27FC236}">
                          <a16:creationId xmlns:a16="http://schemas.microsoft.com/office/drawing/2014/main" id="{4B2914DB-CEAA-1CE4-FF3F-06558597109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51" name="Graphic 1850">
                      <a:extLst>
                        <a:ext uri="{FF2B5EF4-FFF2-40B4-BE49-F238E27FC236}">
                          <a16:creationId xmlns:a16="http://schemas.microsoft.com/office/drawing/2014/main" id="{5FFD92F5-8650-A4D0-6D69-D29F60B1B62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52" name="Graphic 1851">
                      <a:extLst>
                        <a:ext uri="{FF2B5EF4-FFF2-40B4-BE49-F238E27FC236}">
                          <a16:creationId xmlns:a16="http://schemas.microsoft.com/office/drawing/2014/main" id="{459FFD34-52B0-0363-BEA1-A107A2459CD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53" name="Graphic 1852">
                      <a:extLst>
                        <a:ext uri="{FF2B5EF4-FFF2-40B4-BE49-F238E27FC236}">
                          <a16:creationId xmlns:a16="http://schemas.microsoft.com/office/drawing/2014/main" id="{82C3B959-846E-F923-D4FC-C1477AB1892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54" name="Graphic 1853">
                      <a:extLst>
                        <a:ext uri="{FF2B5EF4-FFF2-40B4-BE49-F238E27FC236}">
                          <a16:creationId xmlns:a16="http://schemas.microsoft.com/office/drawing/2014/main" id="{238788A9-E2AF-C150-CCAF-B3DA618A7CF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72" name="Graphic 3071">
                      <a:extLst>
                        <a:ext uri="{FF2B5EF4-FFF2-40B4-BE49-F238E27FC236}">
                          <a16:creationId xmlns:a16="http://schemas.microsoft.com/office/drawing/2014/main" id="{7678A937-88D5-5A8C-2D90-E326658739F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73" name="Graphic 3072">
                      <a:extLst>
                        <a:ext uri="{FF2B5EF4-FFF2-40B4-BE49-F238E27FC236}">
                          <a16:creationId xmlns:a16="http://schemas.microsoft.com/office/drawing/2014/main" id="{6E8C0C07-96FF-6C6A-FD48-F00C5CF3DDA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74" name="Graphic 3073">
                      <a:extLst>
                        <a:ext uri="{FF2B5EF4-FFF2-40B4-BE49-F238E27FC236}">
                          <a16:creationId xmlns:a16="http://schemas.microsoft.com/office/drawing/2014/main" id="{6AF40E2D-0101-EB26-AF16-7DA78064B75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75" name="Graphic 3074">
                      <a:extLst>
                        <a:ext uri="{FF2B5EF4-FFF2-40B4-BE49-F238E27FC236}">
                          <a16:creationId xmlns:a16="http://schemas.microsoft.com/office/drawing/2014/main" id="{94C34F64-778C-7DD2-5015-9DE70DA89CA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76" name="Graphic 3075">
                      <a:extLst>
                        <a:ext uri="{FF2B5EF4-FFF2-40B4-BE49-F238E27FC236}">
                          <a16:creationId xmlns:a16="http://schemas.microsoft.com/office/drawing/2014/main" id="{BA26645D-34E4-7459-5295-4579CAE32C7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77" name="Graphic 3076">
                      <a:extLst>
                        <a:ext uri="{FF2B5EF4-FFF2-40B4-BE49-F238E27FC236}">
                          <a16:creationId xmlns:a16="http://schemas.microsoft.com/office/drawing/2014/main" id="{8C54241A-651D-C87F-AA4F-53CC760C3BC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78" name="Graphic 3077">
                      <a:extLst>
                        <a:ext uri="{FF2B5EF4-FFF2-40B4-BE49-F238E27FC236}">
                          <a16:creationId xmlns:a16="http://schemas.microsoft.com/office/drawing/2014/main" id="{3DA69B35-A008-15B7-16EB-76BD2857693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79" name="Graphic 3078">
                      <a:extLst>
                        <a:ext uri="{FF2B5EF4-FFF2-40B4-BE49-F238E27FC236}">
                          <a16:creationId xmlns:a16="http://schemas.microsoft.com/office/drawing/2014/main" id="{3619019B-341E-E0E7-8339-DCF5AEB56CF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80" name="Graphic 3079">
                      <a:extLst>
                        <a:ext uri="{FF2B5EF4-FFF2-40B4-BE49-F238E27FC236}">
                          <a16:creationId xmlns:a16="http://schemas.microsoft.com/office/drawing/2014/main" id="{08C997A8-6757-FBDE-00F8-281FA3A90B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81" name="Graphic 3080">
                      <a:extLst>
                        <a:ext uri="{FF2B5EF4-FFF2-40B4-BE49-F238E27FC236}">
                          <a16:creationId xmlns:a16="http://schemas.microsoft.com/office/drawing/2014/main" id="{AB8B3E9D-9C07-BAA0-1375-BF6BB807391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82" name="Graphic 3081">
                      <a:extLst>
                        <a:ext uri="{FF2B5EF4-FFF2-40B4-BE49-F238E27FC236}">
                          <a16:creationId xmlns:a16="http://schemas.microsoft.com/office/drawing/2014/main" id="{293E706C-8394-2ED1-5419-BE098819425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83" name="Graphic 3082">
                      <a:extLst>
                        <a:ext uri="{FF2B5EF4-FFF2-40B4-BE49-F238E27FC236}">
                          <a16:creationId xmlns:a16="http://schemas.microsoft.com/office/drawing/2014/main" id="{33F73ACC-3114-D883-8331-84D6AAF501B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84" name="Graphic 3083">
                      <a:extLst>
                        <a:ext uri="{FF2B5EF4-FFF2-40B4-BE49-F238E27FC236}">
                          <a16:creationId xmlns:a16="http://schemas.microsoft.com/office/drawing/2014/main" id="{E77AC1F8-B2DC-701A-C152-98D7CDC12A3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85" name="Graphic 3084">
                      <a:extLst>
                        <a:ext uri="{FF2B5EF4-FFF2-40B4-BE49-F238E27FC236}">
                          <a16:creationId xmlns:a16="http://schemas.microsoft.com/office/drawing/2014/main" id="{02D0E62E-9A3E-9808-34E5-88B761CD596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86" name="Graphic 3085">
                      <a:extLst>
                        <a:ext uri="{FF2B5EF4-FFF2-40B4-BE49-F238E27FC236}">
                          <a16:creationId xmlns:a16="http://schemas.microsoft.com/office/drawing/2014/main" id="{981C08B0-50FB-73FD-48C8-F6876C2C5A4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1269" name="Graphic 1268">
                  <a:extLst>
                    <a:ext uri="{FF2B5EF4-FFF2-40B4-BE49-F238E27FC236}">
                      <a16:creationId xmlns:a16="http://schemas.microsoft.com/office/drawing/2014/main" id="{0F768C20-C171-748C-150D-8E93EC1067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270" name="Graphic 1269">
                  <a:extLst>
                    <a:ext uri="{FF2B5EF4-FFF2-40B4-BE49-F238E27FC236}">
                      <a16:creationId xmlns:a16="http://schemas.microsoft.com/office/drawing/2014/main" id="{8BFD310D-7F0F-FB49-35E9-3141EC519DF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271" name="Graphic 1270">
                  <a:extLst>
                    <a:ext uri="{FF2B5EF4-FFF2-40B4-BE49-F238E27FC236}">
                      <a16:creationId xmlns:a16="http://schemas.microsoft.com/office/drawing/2014/main" id="{6EFD4B69-E521-951D-D58E-EFD9C257A04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272" name="Graphic 1271">
                  <a:extLst>
                    <a:ext uri="{FF2B5EF4-FFF2-40B4-BE49-F238E27FC236}">
                      <a16:creationId xmlns:a16="http://schemas.microsoft.com/office/drawing/2014/main" id="{42322601-B3DF-1CFB-FEA5-C11CBAFE5C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1273" name="Graphic 1272">
                  <a:extLst>
                    <a:ext uri="{FF2B5EF4-FFF2-40B4-BE49-F238E27FC236}">
                      <a16:creationId xmlns:a16="http://schemas.microsoft.com/office/drawing/2014/main" id="{1D018BF8-CF4C-938A-62F2-353B7D4DA1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274" name="Graphic 1273">
                  <a:extLst>
                    <a:ext uri="{FF2B5EF4-FFF2-40B4-BE49-F238E27FC236}">
                      <a16:creationId xmlns:a16="http://schemas.microsoft.com/office/drawing/2014/main" id="{A0E8481F-4F99-DAC2-F3A4-DD92C6C152C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1275" name="Graphic 1274">
                  <a:extLst>
                    <a:ext uri="{FF2B5EF4-FFF2-40B4-BE49-F238E27FC236}">
                      <a16:creationId xmlns:a16="http://schemas.microsoft.com/office/drawing/2014/main" id="{83960C3F-8179-93E7-0EFF-1F592D86447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276" name="Graphic 1275">
                  <a:extLst>
                    <a:ext uri="{FF2B5EF4-FFF2-40B4-BE49-F238E27FC236}">
                      <a16:creationId xmlns:a16="http://schemas.microsoft.com/office/drawing/2014/main" id="{C6E34F5B-A66B-C5EB-1C9E-5CC0588415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277" name="Graphic 1276">
                  <a:extLst>
                    <a:ext uri="{FF2B5EF4-FFF2-40B4-BE49-F238E27FC236}">
                      <a16:creationId xmlns:a16="http://schemas.microsoft.com/office/drawing/2014/main" id="{A5B4AD5D-1750-4C88-CE7E-385E41B711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278" name="Graphic 1277">
                  <a:extLst>
                    <a:ext uri="{FF2B5EF4-FFF2-40B4-BE49-F238E27FC236}">
                      <a16:creationId xmlns:a16="http://schemas.microsoft.com/office/drawing/2014/main" id="{D1489AA1-3AA5-005F-17E4-1642E386575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279" name="Graphic 1278">
                  <a:extLst>
                    <a:ext uri="{FF2B5EF4-FFF2-40B4-BE49-F238E27FC236}">
                      <a16:creationId xmlns:a16="http://schemas.microsoft.com/office/drawing/2014/main" id="{8701D19A-14FE-7337-D110-CB51396F31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280" name="Graphic 1279">
                  <a:extLst>
                    <a:ext uri="{FF2B5EF4-FFF2-40B4-BE49-F238E27FC236}">
                      <a16:creationId xmlns:a16="http://schemas.microsoft.com/office/drawing/2014/main" id="{0F31D83C-BD52-8CDD-6A30-554906F37C6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281" name="Graphic 1280">
                  <a:extLst>
                    <a:ext uri="{FF2B5EF4-FFF2-40B4-BE49-F238E27FC236}">
                      <a16:creationId xmlns:a16="http://schemas.microsoft.com/office/drawing/2014/main" id="{544B5B50-ADA5-B1D1-08D6-888B611A136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1264" name="Graphic 1263">
                <a:extLst>
                  <a:ext uri="{FF2B5EF4-FFF2-40B4-BE49-F238E27FC236}">
                    <a16:creationId xmlns:a16="http://schemas.microsoft.com/office/drawing/2014/main" id="{910526EF-5414-7A94-F004-33F37159EA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1265" name="Graphic 1264">
                <a:extLst>
                  <a:ext uri="{FF2B5EF4-FFF2-40B4-BE49-F238E27FC236}">
                    <a16:creationId xmlns:a16="http://schemas.microsoft.com/office/drawing/2014/main" id="{57223C31-998B-2D96-29FF-68DB561687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1266" name="Graphic 1265">
                <a:extLst>
                  <a:ext uri="{FF2B5EF4-FFF2-40B4-BE49-F238E27FC236}">
                    <a16:creationId xmlns:a16="http://schemas.microsoft.com/office/drawing/2014/main" id="{253DE35E-D534-9AA8-F7B0-5E1F62DFBD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1267" name="Graphic 1266">
                <a:extLst>
                  <a:ext uri="{FF2B5EF4-FFF2-40B4-BE49-F238E27FC236}">
                    <a16:creationId xmlns:a16="http://schemas.microsoft.com/office/drawing/2014/main" id="{1F5FE9F1-394B-D49F-F813-41BAB3315F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429562A-893B-1774-3BDA-C2515B04A917}"/>
                </a:ext>
              </a:extLst>
            </p:cNvPr>
            <p:cNvGrpSpPr/>
            <p:nvPr/>
          </p:nvGrpSpPr>
          <p:grpSpPr>
            <a:xfrm>
              <a:off x="1871332" y="3315233"/>
              <a:ext cx="135763" cy="134108"/>
              <a:chOff x="5071590" y="2724817"/>
              <a:chExt cx="1901239" cy="1655213"/>
            </a:xfrm>
          </p:grpSpPr>
          <p:grpSp>
            <p:nvGrpSpPr>
              <p:cNvPr id="3053" name="Group 3052">
                <a:extLst>
                  <a:ext uri="{FF2B5EF4-FFF2-40B4-BE49-F238E27FC236}">
                    <a16:creationId xmlns:a16="http://schemas.microsoft.com/office/drawing/2014/main" id="{C98DE077-2A86-B879-22F0-CA68114E4CB8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058" name="Group 3057">
                  <a:extLst>
                    <a:ext uri="{FF2B5EF4-FFF2-40B4-BE49-F238E27FC236}">
                      <a16:creationId xmlns:a16="http://schemas.microsoft.com/office/drawing/2014/main" id="{996E2422-5AF0-FD14-4C37-2FAC5A13C80A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1240" name="Oval 1239">
                    <a:extLst>
                      <a:ext uri="{FF2B5EF4-FFF2-40B4-BE49-F238E27FC236}">
                        <a16:creationId xmlns:a16="http://schemas.microsoft.com/office/drawing/2014/main" id="{711830F9-218D-A2EC-1823-C993A99462D1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241" name="Group 1240">
                    <a:extLst>
                      <a:ext uri="{FF2B5EF4-FFF2-40B4-BE49-F238E27FC236}">
                        <a16:creationId xmlns:a16="http://schemas.microsoft.com/office/drawing/2014/main" id="{D13C4520-B8C0-B72D-E434-9ADC739F8492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1242" name="Graphic 1241">
                      <a:extLst>
                        <a:ext uri="{FF2B5EF4-FFF2-40B4-BE49-F238E27FC236}">
                          <a16:creationId xmlns:a16="http://schemas.microsoft.com/office/drawing/2014/main" id="{CF410033-FED1-2A67-B43C-8C7F32FD2E1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43" name="Graphic 1242">
                      <a:extLst>
                        <a:ext uri="{FF2B5EF4-FFF2-40B4-BE49-F238E27FC236}">
                          <a16:creationId xmlns:a16="http://schemas.microsoft.com/office/drawing/2014/main" id="{8B708A8D-8D05-A634-C58C-E06C5F7A2C2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44" name="Graphic 1243">
                      <a:extLst>
                        <a:ext uri="{FF2B5EF4-FFF2-40B4-BE49-F238E27FC236}">
                          <a16:creationId xmlns:a16="http://schemas.microsoft.com/office/drawing/2014/main" id="{AE9A014E-2EA5-519F-38D2-2513F510968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45" name="Graphic 1244">
                      <a:extLst>
                        <a:ext uri="{FF2B5EF4-FFF2-40B4-BE49-F238E27FC236}">
                          <a16:creationId xmlns:a16="http://schemas.microsoft.com/office/drawing/2014/main" id="{976074DC-E144-9F3C-514E-802B0870512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46" name="Graphic 1245">
                      <a:extLst>
                        <a:ext uri="{FF2B5EF4-FFF2-40B4-BE49-F238E27FC236}">
                          <a16:creationId xmlns:a16="http://schemas.microsoft.com/office/drawing/2014/main" id="{82343C69-E5C8-E026-7E66-E63CBA56D28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47" name="Graphic 1246">
                      <a:extLst>
                        <a:ext uri="{FF2B5EF4-FFF2-40B4-BE49-F238E27FC236}">
                          <a16:creationId xmlns:a16="http://schemas.microsoft.com/office/drawing/2014/main" id="{E0174E71-C65D-6A8E-C66D-E7B0354DBB9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48" name="Graphic 1247">
                      <a:extLst>
                        <a:ext uri="{FF2B5EF4-FFF2-40B4-BE49-F238E27FC236}">
                          <a16:creationId xmlns:a16="http://schemas.microsoft.com/office/drawing/2014/main" id="{1E6E4576-D276-D308-6426-B8FF2AC06C8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49" name="Graphic 1248">
                      <a:extLst>
                        <a:ext uri="{FF2B5EF4-FFF2-40B4-BE49-F238E27FC236}">
                          <a16:creationId xmlns:a16="http://schemas.microsoft.com/office/drawing/2014/main" id="{3F396DDC-2F6B-0847-9022-F79EA0CD79D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50" name="Graphic 1249">
                      <a:extLst>
                        <a:ext uri="{FF2B5EF4-FFF2-40B4-BE49-F238E27FC236}">
                          <a16:creationId xmlns:a16="http://schemas.microsoft.com/office/drawing/2014/main" id="{48BCC5A8-9AD3-9AB6-BD05-DBDF2A79775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51" name="Graphic 1250">
                      <a:extLst>
                        <a:ext uri="{FF2B5EF4-FFF2-40B4-BE49-F238E27FC236}">
                          <a16:creationId xmlns:a16="http://schemas.microsoft.com/office/drawing/2014/main" id="{D30E37AF-3CAA-FCED-7042-56F639A3B0E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52" name="Graphic 1251">
                      <a:extLst>
                        <a:ext uri="{FF2B5EF4-FFF2-40B4-BE49-F238E27FC236}">
                          <a16:creationId xmlns:a16="http://schemas.microsoft.com/office/drawing/2014/main" id="{7DB4DF14-DDFF-4E51-0646-B624DDE6FE6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53" name="Graphic 1252">
                      <a:extLst>
                        <a:ext uri="{FF2B5EF4-FFF2-40B4-BE49-F238E27FC236}">
                          <a16:creationId xmlns:a16="http://schemas.microsoft.com/office/drawing/2014/main" id="{B566EB4E-4C0C-5816-4718-234348077B8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54" name="Graphic 1253">
                      <a:extLst>
                        <a:ext uri="{FF2B5EF4-FFF2-40B4-BE49-F238E27FC236}">
                          <a16:creationId xmlns:a16="http://schemas.microsoft.com/office/drawing/2014/main" id="{A43B177F-EDEA-15E7-E0B2-1E1C2696408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55" name="Graphic 1254">
                      <a:extLst>
                        <a:ext uri="{FF2B5EF4-FFF2-40B4-BE49-F238E27FC236}">
                          <a16:creationId xmlns:a16="http://schemas.microsoft.com/office/drawing/2014/main" id="{D67FE6C0-D279-8405-4009-78AF067BA66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56" name="Graphic 1255">
                      <a:extLst>
                        <a:ext uri="{FF2B5EF4-FFF2-40B4-BE49-F238E27FC236}">
                          <a16:creationId xmlns:a16="http://schemas.microsoft.com/office/drawing/2014/main" id="{859CA381-F225-0465-E155-8239FAD052F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57" name="Graphic 1256">
                      <a:extLst>
                        <a:ext uri="{FF2B5EF4-FFF2-40B4-BE49-F238E27FC236}">
                          <a16:creationId xmlns:a16="http://schemas.microsoft.com/office/drawing/2014/main" id="{FF7CD447-2F54-3058-B932-E616DDA39D1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58" name="Graphic 1257">
                      <a:extLst>
                        <a:ext uri="{FF2B5EF4-FFF2-40B4-BE49-F238E27FC236}">
                          <a16:creationId xmlns:a16="http://schemas.microsoft.com/office/drawing/2014/main" id="{3BD45A8B-A1BC-5D73-F2C8-DAFD39D3AF4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59" name="Graphic 1258">
                      <a:extLst>
                        <a:ext uri="{FF2B5EF4-FFF2-40B4-BE49-F238E27FC236}">
                          <a16:creationId xmlns:a16="http://schemas.microsoft.com/office/drawing/2014/main" id="{584E3D72-C992-6767-AEE9-ED945A9AF90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60" name="Graphic 1259">
                      <a:extLst>
                        <a:ext uri="{FF2B5EF4-FFF2-40B4-BE49-F238E27FC236}">
                          <a16:creationId xmlns:a16="http://schemas.microsoft.com/office/drawing/2014/main" id="{863DAE25-7786-56CC-7BCA-4A8018BA6DE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61" name="Graphic 1260">
                      <a:extLst>
                        <a:ext uri="{FF2B5EF4-FFF2-40B4-BE49-F238E27FC236}">
                          <a16:creationId xmlns:a16="http://schemas.microsoft.com/office/drawing/2014/main" id="{3290A5D0-80E9-4D48-772C-11C83C4B601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262" name="Graphic 1261">
                      <a:extLst>
                        <a:ext uri="{FF2B5EF4-FFF2-40B4-BE49-F238E27FC236}">
                          <a16:creationId xmlns:a16="http://schemas.microsoft.com/office/drawing/2014/main" id="{48E7D0B1-B07A-AED3-9549-E508C8083E4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059" name="Graphic 3058">
                  <a:extLst>
                    <a:ext uri="{FF2B5EF4-FFF2-40B4-BE49-F238E27FC236}">
                      <a16:creationId xmlns:a16="http://schemas.microsoft.com/office/drawing/2014/main" id="{F41C7FCF-48B7-BC73-4718-8A817F4C8FF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060" name="Graphic 3059">
                  <a:extLst>
                    <a:ext uri="{FF2B5EF4-FFF2-40B4-BE49-F238E27FC236}">
                      <a16:creationId xmlns:a16="http://schemas.microsoft.com/office/drawing/2014/main" id="{FFB88587-45DD-1B09-AB37-244457D452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061" name="Graphic 3060">
                  <a:extLst>
                    <a:ext uri="{FF2B5EF4-FFF2-40B4-BE49-F238E27FC236}">
                      <a16:creationId xmlns:a16="http://schemas.microsoft.com/office/drawing/2014/main" id="{866C0C97-2130-225A-E822-33B3196AF5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062" name="Graphic 3061">
                  <a:extLst>
                    <a:ext uri="{FF2B5EF4-FFF2-40B4-BE49-F238E27FC236}">
                      <a16:creationId xmlns:a16="http://schemas.microsoft.com/office/drawing/2014/main" id="{0E88C394-B9E7-4A0A-2119-6D22C06F4F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063" name="Graphic 3062">
                  <a:extLst>
                    <a:ext uri="{FF2B5EF4-FFF2-40B4-BE49-F238E27FC236}">
                      <a16:creationId xmlns:a16="http://schemas.microsoft.com/office/drawing/2014/main" id="{45FEAA51-C2F4-E8D5-0B08-13DB0D3A329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064" name="Graphic 3063">
                  <a:extLst>
                    <a:ext uri="{FF2B5EF4-FFF2-40B4-BE49-F238E27FC236}">
                      <a16:creationId xmlns:a16="http://schemas.microsoft.com/office/drawing/2014/main" id="{A307D691-2EC2-7F62-898D-33EDAB670D2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065" name="Graphic 3064">
                  <a:extLst>
                    <a:ext uri="{FF2B5EF4-FFF2-40B4-BE49-F238E27FC236}">
                      <a16:creationId xmlns:a16="http://schemas.microsoft.com/office/drawing/2014/main" id="{6671C57D-F7BE-88CB-5697-5BA2D6D551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066" name="Graphic 3065">
                  <a:extLst>
                    <a:ext uri="{FF2B5EF4-FFF2-40B4-BE49-F238E27FC236}">
                      <a16:creationId xmlns:a16="http://schemas.microsoft.com/office/drawing/2014/main" id="{A6127BB2-3E28-FE6F-FDEB-BF6AD4A6FF5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067" name="Graphic 3066">
                  <a:extLst>
                    <a:ext uri="{FF2B5EF4-FFF2-40B4-BE49-F238E27FC236}">
                      <a16:creationId xmlns:a16="http://schemas.microsoft.com/office/drawing/2014/main" id="{83248A8F-99FD-3E2E-4B2E-4050F350EEB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068" name="Graphic 3067">
                  <a:extLst>
                    <a:ext uri="{FF2B5EF4-FFF2-40B4-BE49-F238E27FC236}">
                      <a16:creationId xmlns:a16="http://schemas.microsoft.com/office/drawing/2014/main" id="{FB685D09-8429-14A2-3DFB-6D8829B4A4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069" name="Graphic 3068">
                  <a:extLst>
                    <a:ext uri="{FF2B5EF4-FFF2-40B4-BE49-F238E27FC236}">
                      <a16:creationId xmlns:a16="http://schemas.microsoft.com/office/drawing/2014/main" id="{37B7D839-8E91-675C-EF54-2DAADBC3F80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070" name="Graphic 3069">
                  <a:extLst>
                    <a:ext uri="{FF2B5EF4-FFF2-40B4-BE49-F238E27FC236}">
                      <a16:creationId xmlns:a16="http://schemas.microsoft.com/office/drawing/2014/main" id="{B0AF90E8-520D-4E11-307A-7B26EC9AB5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071" name="Graphic 3070">
                  <a:extLst>
                    <a:ext uri="{FF2B5EF4-FFF2-40B4-BE49-F238E27FC236}">
                      <a16:creationId xmlns:a16="http://schemas.microsoft.com/office/drawing/2014/main" id="{465C3B26-2A2B-CFAA-E664-044E8F1BB8B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054" name="Graphic 3053">
                <a:extLst>
                  <a:ext uri="{FF2B5EF4-FFF2-40B4-BE49-F238E27FC236}">
                    <a16:creationId xmlns:a16="http://schemas.microsoft.com/office/drawing/2014/main" id="{0E682A84-EB3C-F963-F258-BEDF23EE0C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055" name="Graphic 3054">
                <a:extLst>
                  <a:ext uri="{FF2B5EF4-FFF2-40B4-BE49-F238E27FC236}">
                    <a16:creationId xmlns:a16="http://schemas.microsoft.com/office/drawing/2014/main" id="{738220C5-9FE1-F38F-FBA9-9CC9261258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056" name="Graphic 3055">
                <a:extLst>
                  <a:ext uri="{FF2B5EF4-FFF2-40B4-BE49-F238E27FC236}">
                    <a16:creationId xmlns:a16="http://schemas.microsoft.com/office/drawing/2014/main" id="{43E2F44B-F3B0-20F4-D810-C31939FDFB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057" name="Graphic 3056">
                <a:extLst>
                  <a:ext uri="{FF2B5EF4-FFF2-40B4-BE49-F238E27FC236}">
                    <a16:creationId xmlns:a16="http://schemas.microsoft.com/office/drawing/2014/main" id="{ECC29180-38FA-E779-FBE2-D13C9D0F79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36EE1DAA-B0F1-7FF1-246D-669E7AB5ABC1}"/>
                </a:ext>
              </a:extLst>
            </p:cNvPr>
            <p:cNvGrpSpPr/>
            <p:nvPr/>
          </p:nvGrpSpPr>
          <p:grpSpPr>
            <a:xfrm>
              <a:off x="2081256" y="3280655"/>
              <a:ext cx="100368" cy="99144"/>
              <a:chOff x="5071590" y="2724817"/>
              <a:chExt cx="1901239" cy="1655213"/>
            </a:xfrm>
          </p:grpSpPr>
          <p:grpSp>
            <p:nvGrpSpPr>
              <p:cNvPr id="939" name="Group 938">
                <a:extLst>
                  <a:ext uri="{FF2B5EF4-FFF2-40B4-BE49-F238E27FC236}">
                    <a16:creationId xmlns:a16="http://schemas.microsoft.com/office/drawing/2014/main" id="{8B26D152-BFB0-C79D-D00F-6B777D62FEA5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944" name="Group 943">
                  <a:extLst>
                    <a:ext uri="{FF2B5EF4-FFF2-40B4-BE49-F238E27FC236}">
                      <a16:creationId xmlns:a16="http://schemas.microsoft.com/office/drawing/2014/main" id="{CB1D5A32-5224-0308-040A-E6C98947DBD0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958" name="Oval 957">
                    <a:extLst>
                      <a:ext uri="{FF2B5EF4-FFF2-40B4-BE49-F238E27FC236}">
                        <a16:creationId xmlns:a16="http://schemas.microsoft.com/office/drawing/2014/main" id="{5DA78620-9EEE-74E8-C35D-5C6EA8D85D28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59" name="Group 958">
                    <a:extLst>
                      <a:ext uri="{FF2B5EF4-FFF2-40B4-BE49-F238E27FC236}">
                        <a16:creationId xmlns:a16="http://schemas.microsoft.com/office/drawing/2014/main" id="{A1F2BA56-1FE5-201B-4A3D-A1B983F2F90E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1024" name="Graphic 1023">
                      <a:extLst>
                        <a:ext uri="{FF2B5EF4-FFF2-40B4-BE49-F238E27FC236}">
                          <a16:creationId xmlns:a16="http://schemas.microsoft.com/office/drawing/2014/main" id="{71343098-398B-421C-FD90-8EBDC315863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08" name="Graphic 3007">
                      <a:extLst>
                        <a:ext uri="{FF2B5EF4-FFF2-40B4-BE49-F238E27FC236}">
                          <a16:creationId xmlns:a16="http://schemas.microsoft.com/office/drawing/2014/main" id="{4D4DEE12-8D1D-A5C2-B102-7780EA03918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09" name="Graphic 3008">
                      <a:extLst>
                        <a:ext uri="{FF2B5EF4-FFF2-40B4-BE49-F238E27FC236}">
                          <a16:creationId xmlns:a16="http://schemas.microsoft.com/office/drawing/2014/main" id="{75416E71-551C-90F0-8D35-BA9FC57E811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10" name="Graphic 3009">
                      <a:extLst>
                        <a:ext uri="{FF2B5EF4-FFF2-40B4-BE49-F238E27FC236}">
                          <a16:creationId xmlns:a16="http://schemas.microsoft.com/office/drawing/2014/main" id="{FD67A8E3-FA9F-E368-A4D0-EAA18D8D24F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11" name="Graphic 3010">
                      <a:extLst>
                        <a:ext uri="{FF2B5EF4-FFF2-40B4-BE49-F238E27FC236}">
                          <a16:creationId xmlns:a16="http://schemas.microsoft.com/office/drawing/2014/main" id="{92BFEECA-ACFF-0E81-DD9A-C37AAF122AB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12" name="Graphic 3011">
                      <a:extLst>
                        <a:ext uri="{FF2B5EF4-FFF2-40B4-BE49-F238E27FC236}">
                          <a16:creationId xmlns:a16="http://schemas.microsoft.com/office/drawing/2014/main" id="{BB45C7E0-76F7-3F66-4605-D6A1CD3666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37" name="Graphic 3036">
                      <a:extLst>
                        <a:ext uri="{FF2B5EF4-FFF2-40B4-BE49-F238E27FC236}">
                          <a16:creationId xmlns:a16="http://schemas.microsoft.com/office/drawing/2014/main" id="{B3B8A3A9-0264-8112-3292-560472E4446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39" name="Graphic 3038">
                      <a:extLst>
                        <a:ext uri="{FF2B5EF4-FFF2-40B4-BE49-F238E27FC236}">
                          <a16:creationId xmlns:a16="http://schemas.microsoft.com/office/drawing/2014/main" id="{4FD1AA4D-8233-B4B7-42BD-2A2F1AC3BB7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40" name="Graphic 3039">
                      <a:extLst>
                        <a:ext uri="{FF2B5EF4-FFF2-40B4-BE49-F238E27FC236}">
                          <a16:creationId xmlns:a16="http://schemas.microsoft.com/office/drawing/2014/main" id="{72AFA943-C034-71F5-7CD5-08BCA230DC5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41" name="Graphic 3040">
                      <a:extLst>
                        <a:ext uri="{FF2B5EF4-FFF2-40B4-BE49-F238E27FC236}">
                          <a16:creationId xmlns:a16="http://schemas.microsoft.com/office/drawing/2014/main" id="{FDA5DB89-8960-481E-AED0-7C9D18683F5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42" name="Graphic 3041">
                      <a:extLst>
                        <a:ext uri="{FF2B5EF4-FFF2-40B4-BE49-F238E27FC236}">
                          <a16:creationId xmlns:a16="http://schemas.microsoft.com/office/drawing/2014/main" id="{4EDCA919-067D-65B6-AB6D-7F934403CCF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43" name="Graphic 3042">
                      <a:extLst>
                        <a:ext uri="{FF2B5EF4-FFF2-40B4-BE49-F238E27FC236}">
                          <a16:creationId xmlns:a16="http://schemas.microsoft.com/office/drawing/2014/main" id="{6F542F4D-C5E1-34EF-766A-47D12A59350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44" name="Graphic 3043">
                      <a:extLst>
                        <a:ext uri="{FF2B5EF4-FFF2-40B4-BE49-F238E27FC236}">
                          <a16:creationId xmlns:a16="http://schemas.microsoft.com/office/drawing/2014/main" id="{75883721-920B-7650-B635-31FFC622B08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45" name="Graphic 3044">
                      <a:extLst>
                        <a:ext uri="{FF2B5EF4-FFF2-40B4-BE49-F238E27FC236}">
                          <a16:creationId xmlns:a16="http://schemas.microsoft.com/office/drawing/2014/main" id="{AF95ADE3-3A57-3695-172A-B1F9BDBADF2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46" name="Graphic 3045">
                      <a:extLst>
                        <a:ext uri="{FF2B5EF4-FFF2-40B4-BE49-F238E27FC236}">
                          <a16:creationId xmlns:a16="http://schemas.microsoft.com/office/drawing/2014/main" id="{390CF11D-BCE1-CCBB-702F-17B65CFCAB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47" name="Graphic 3046">
                      <a:extLst>
                        <a:ext uri="{FF2B5EF4-FFF2-40B4-BE49-F238E27FC236}">
                          <a16:creationId xmlns:a16="http://schemas.microsoft.com/office/drawing/2014/main" id="{397AF9F1-0021-29F3-D008-4335963B7C6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48" name="Graphic 3047">
                      <a:extLst>
                        <a:ext uri="{FF2B5EF4-FFF2-40B4-BE49-F238E27FC236}">
                          <a16:creationId xmlns:a16="http://schemas.microsoft.com/office/drawing/2014/main" id="{BC077726-22E3-8469-01B3-1BE2C242E8C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49" name="Graphic 3048">
                      <a:extLst>
                        <a:ext uri="{FF2B5EF4-FFF2-40B4-BE49-F238E27FC236}">
                          <a16:creationId xmlns:a16="http://schemas.microsoft.com/office/drawing/2014/main" id="{C9B96292-27D8-B66D-E2EF-B6F31F22AB6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50" name="Graphic 3049">
                      <a:extLst>
                        <a:ext uri="{FF2B5EF4-FFF2-40B4-BE49-F238E27FC236}">
                          <a16:creationId xmlns:a16="http://schemas.microsoft.com/office/drawing/2014/main" id="{A73AF7BC-520F-4A13-4D56-D1D7430BA2F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51" name="Graphic 3050">
                      <a:extLst>
                        <a:ext uri="{FF2B5EF4-FFF2-40B4-BE49-F238E27FC236}">
                          <a16:creationId xmlns:a16="http://schemas.microsoft.com/office/drawing/2014/main" id="{58790314-4B5B-7B54-9A97-68912F3A668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52" name="Graphic 3051">
                      <a:extLst>
                        <a:ext uri="{FF2B5EF4-FFF2-40B4-BE49-F238E27FC236}">
                          <a16:creationId xmlns:a16="http://schemas.microsoft.com/office/drawing/2014/main" id="{AC8B392E-9A74-4B3D-1D4F-0AE11676F06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45" name="Graphic 944">
                  <a:extLst>
                    <a:ext uri="{FF2B5EF4-FFF2-40B4-BE49-F238E27FC236}">
                      <a16:creationId xmlns:a16="http://schemas.microsoft.com/office/drawing/2014/main" id="{CEC465E2-3FEB-1428-0352-E1C0D472A34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6" name="Graphic 945">
                  <a:extLst>
                    <a:ext uri="{FF2B5EF4-FFF2-40B4-BE49-F238E27FC236}">
                      <a16:creationId xmlns:a16="http://schemas.microsoft.com/office/drawing/2014/main" id="{7D60197A-9C44-690E-C8D7-226852C0225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7" name="Graphic 946">
                  <a:extLst>
                    <a:ext uri="{FF2B5EF4-FFF2-40B4-BE49-F238E27FC236}">
                      <a16:creationId xmlns:a16="http://schemas.microsoft.com/office/drawing/2014/main" id="{A431A9A7-7DAC-0A9D-7B1A-B92C537C35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8" name="Graphic 947">
                  <a:extLst>
                    <a:ext uri="{FF2B5EF4-FFF2-40B4-BE49-F238E27FC236}">
                      <a16:creationId xmlns:a16="http://schemas.microsoft.com/office/drawing/2014/main" id="{A1FE084D-136B-B360-594C-B8ABECE07A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949" name="Graphic 948">
                  <a:extLst>
                    <a:ext uri="{FF2B5EF4-FFF2-40B4-BE49-F238E27FC236}">
                      <a16:creationId xmlns:a16="http://schemas.microsoft.com/office/drawing/2014/main" id="{8A1C1D45-96F8-2A0A-06E3-8A258BBF4F2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50" name="Graphic 949">
                  <a:extLst>
                    <a:ext uri="{FF2B5EF4-FFF2-40B4-BE49-F238E27FC236}">
                      <a16:creationId xmlns:a16="http://schemas.microsoft.com/office/drawing/2014/main" id="{B90EBA75-50C9-5940-290C-8719E4B4550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951" name="Graphic 950">
                  <a:extLst>
                    <a:ext uri="{FF2B5EF4-FFF2-40B4-BE49-F238E27FC236}">
                      <a16:creationId xmlns:a16="http://schemas.microsoft.com/office/drawing/2014/main" id="{4ADE421D-03E1-181F-5C05-2412929FE2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52" name="Graphic 951">
                  <a:extLst>
                    <a:ext uri="{FF2B5EF4-FFF2-40B4-BE49-F238E27FC236}">
                      <a16:creationId xmlns:a16="http://schemas.microsoft.com/office/drawing/2014/main" id="{E1247141-511D-5065-97BD-7A8BA75FCF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53" name="Graphic 952">
                  <a:extLst>
                    <a:ext uri="{FF2B5EF4-FFF2-40B4-BE49-F238E27FC236}">
                      <a16:creationId xmlns:a16="http://schemas.microsoft.com/office/drawing/2014/main" id="{8EBB3A8D-4B9F-BA93-D742-D545B0B38C4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54" name="Graphic 953">
                  <a:extLst>
                    <a:ext uri="{FF2B5EF4-FFF2-40B4-BE49-F238E27FC236}">
                      <a16:creationId xmlns:a16="http://schemas.microsoft.com/office/drawing/2014/main" id="{6B9DE8CB-BC7C-48EA-C397-8F25FDE03EA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55" name="Graphic 954">
                  <a:extLst>
                    <a:ext uri="{FF2B5EF4-FFF2-40B4-BE49-F238E27FC236}">
                      <a16:creationId xmlns:a16="http://schemas.microsoft.com/office/drawing/2014/main" id="{BAABE1A2-9526-3CEC-EE36-2B942EF8215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56" name="Graphic 955">
                  <a:extLst>
                    <a:ext uri="{FF2B5EF4-FFF2-40B4-BE49-F238E27FC236}">
                      <a16:creationId xmlns:a16="http://schemas.microsoft.com/office/drawing/2014/main" id="{C2CAB624-610C-21BC-1556-77782412C14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57" name="Graphic 956">
                  <a:extLst>
                    <a:ext uri="{FF2B5EF4-FFF2-40B4-BE49-F238E27FC236}">
                      <a16:creationId xmlns:a16="http://schemas.microsoft.com/office/drawing/2014/main" id="{628429AD-68DA-9F7C-90BF-0DC7835A020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940" name="Graphic 939">
                <a:extLst>
                  <a:ext uri="{FF2B5EF4-FFF2-40B4-BE49-F238E27FC236}">
                    <a16:creationId xmlns:a16="http://schemas.microsoft.com/office/drawing/2014/main" id="{F828C9E4-E168-FAA9-56FB-F0990ED501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941" name="Graphic 940">
                <a:extLst>
                  <a:ext uri="{FF2B5EF4-FFF2-40B4-BE49-F238E27FC236}">
                    <a16:creationId xmlns:a16="http://schemas.microsoft.com/office/drawing/2014/main" id="{A7C5B112-9F33-7622-3601-F084A7DC5E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942" name="Graphic 941">
                <a:extLst>
                  <a:ext uri="{FF2B5EF4-FFF2-40B4-BE49-F238E27FC236}">
                    <a16:creationId xmlns:a16="http://schemas.microsoft.com/office/drawing/2014/main" id="{A5FAA983-10B2-1533-9B76-47205A260C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943" name="Graphic 942">
                <a:extLst>
                  <a:ext uri="{FF2B5EF4-FFF2-40B4-BE49-F238E27FC236}">
                    <a16:creationId xmlns:a16="http://schemas.microsoft.com/office/drawing/2014/main" id="{FA321115-585A-9EA6-9318-3901B3624E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FF1594A4-21B9-A8ED-E66B-467A086F3A4A}"/>
                </a:ext>
              </a:extLst>
            </p:cNvPr>
            <p:cNvGrpSpPr/>
            <p:nvPr/>
          </p:nvGrpSpPr>
          <p:grpSpPr>
            <a:xfrm>
              <a:off x="668591" y="3476172"/>
              <a:ext cx="128989" cy="127417"/>
              <a:chOff x="5071590" y="2724817"/>
              <a:chExt cx="1901239" cy="1655213"/>
            </a:xfrm>
          </p:grpSpPr>
          <p:grpSp>
            <p:nvGrpSpPr>
              <p:cNvPr id="891" name="Group 890">
                <a:extLst>
                  <a:ext uri="{FF2B5EF4-FFF2-40B4-BE49-F238E27FC236}">
                    <a16:creationId xmlns:a16="http://schemas.microsoft.com/office/drawing/2014/main" id="{F56E793C-87E5-1CC4-6F4F-0A454B76B4C3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902" name="Group 901">
                  <a:extLst>
                    <a:ext uri="{FF2B5EF4-FFF2-40B4-BE49-F238E27FC236}">
                      <a16:creationId xmlns:a16="http://schemas.microsoft.com/office/drawing/2014/main" id="{05375C9A-E0EA-78E8-8E4B-67F38495E9FF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916" name="Oval 915">
                    <a:extLst>
                      <a:ext uri="{FF2B5EF4-FFF2-40B4-BE49-F238E27FC236}">
                        <a16:creationId xmlns:a16="http://schemas.microsoft.com/office/drawing/2014/main" id="{17E5E40C-D693-460C-B2C5-C0B42350DAC6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17" name="Group 916">
                    <a:extLst>
                      <a:ext uri="{FF2B5EF4-FFF2-40B4-BE49-F238E27FC236}">
                        <a16:creationId xmlns:a16="http://schemas.microsoft.com/office/drawing/2014/main" id="{3A494EA6-90EA-39FB-30BC-6773C7EE3571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918" name="Graphic 917">
                      <a:extLst>
                        <a:ext uri="{FF2B5EF4-FFF2-40B4-BE49-F238E27FC236}">
                          <a16:creationId xmlns:a16="http://schemas.microsoft.com/office/drawing/2014/main" id="{A6B17089-0E59-BBD3-8E8C-705D654CBBA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19" name="Graphic 918">
                      <a:extLst>
                        <a:ext uri="{FF2B5EF4-FFF2-40B4-BE49-F238E27FC236}">
                          <a16:creationId xmlns:a16="http://schemas.microsoft.com/office/drawing/2014/main" id="{DF5C069F-C7D1-B379-0910-C71D6C5938D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0" name="Graphic 919">
                      <a:extLst>
                        <a:ext uri="{FF2B5EF4-FFF2-40B4-BE49-F238E27FC236}">
                          <a16:creationId xmlns:a16="http://schemas.microsoft.com/office/drawing/2014/main" id="{81AF15A3-282A-A771-C6F0-5E90F35DC3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1" name="Graphic 920">
                      <a:extLst>
                        <a:ext uri="{FF2B5EF4-FFF2-40B4-BE49-F238E27FC236}">
                          <a16:creationId xmlns:a16="http://schemas.microsoft.com/office/drawing/2014/main" id="{0BF62617-4CFC-17BD-F6EB-90C32672AF8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2" name="Graphic 921">
                      <a:extLst>
                        <a:ext uri="{FF2B5EF4-FFF2-40B4-BE49-F238E27FC236}">
                          <a16:creationId xmlns:a16="http://schemas.microsoft.com/office/drawing/2014/main" id="{D2638785-FC8E-FA4D-5E0A-903C0D0CAC5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3" name="Graphic 922">
                      <a:extLst>
                        <a:ext uri="{FF2B5EF4-FFF2-40B4-BE49-F238E27FC236}">
                          <a16:creationId xmlns:a16="http://schemas.microsoft.com/office/drawing/2014/main" id="{D744F09E-9E8B-706D-9B04-6E2D0E3353B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4" name="Graphic 923">
                      <a:extLst>
                        <a:ext uri="{FF2B5EF4-FFF2-40B4-BE49-F238E27FC236}">
                          <a16:creationId xmlns:a16="http://schemas.microsoft.com/office/drawing/2014/main" id="{F4332C47-F41E-CB98-0021-B432DF11591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5" name="Graphic 924">
                      <a:extLst>
                        <a:ext uri="{FF2B5EF4-FFF2-40B4-BE49-F238E27FC236}">
                          <a16:creationId xmlns:a16="http://schemas.microsoft.com/office/drawing/2014/main" id="{E0EFCF56-C12D-3767-26D7-A6A4545267E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6" name="Graphic 925">
                      <a:extLst>
                        <a:ext uri="{FF2B5EF4-FFF2-40B4-BE49-F238E27FC236}">
                          <a16:creationId xmlns:a16="http://schemas.microsoft.com/office/drawing/2014/main" id="{98D35686-C60F-7008-CF05-DC1D747F17D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7" name="Graphic 926">
                      <a:extLst>
                        <a:ext uri="{FF2B5EF4-FFF2-40B4-BE49-F238E27FC236}">
                          <a16:creationId xmlns:a16="http://schemas.microsoft.com/office/drawing/2014/main" id="{8B3195E7-08B9-59D5-719A-5536BDA2271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8" name="Graphic 927">
                      <a:extLst>
                        <a:ext uri="{FF2B5EF4-FFF2-40B4-BE49-F238E27FC236}">
                          <a16:creationId xmlns:a16="http://schemas.microsoft.com/office/drawing/2014/main" id="{98CFDB88-4473-7C27-7FC7-4CD10E38CC9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29" name="Graphic 928">
                      <a:extLst>
                        <a:ext uri="{FF2B5EF4-FFF2-40B4-BE49-F238E27FC236}">
                          <a16:creationId xmlns:a16="http://schemas.microsoft.com/office/drawing/2014/main" id="{27CF9EE8-A924-5D82-51BB-B4B019F4E18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0" name="Graphic 929">
                      <a:extLst>
                        <a:ext uri="{FF2B5EF4-FFF2-40B4-BE49-F238E27FC236}">
                          <a16:creationId xmlns:a16="http://schemas.microsoft.com/office/drawing/2014/main" id="{A8A3B2F8-4FDB-4386-9C45-091957C3F67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1" name="Graphic 930">
                      <a:extLst>
                        <a:ext uri="{FF2B5EF4-FFF2-40B4-BE49-F238E27FC236}">
                          <a16:creationId xmlns:a16="http://schemas.microsoft.com/office/drawing/2014/main" id="{915D7018-5D78-F47D-F088-272711A6B5B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2" name="Graphic 931">
                      <a:extLst>
                        <a:ext uri="{FF2B5EF4-FFF2-40B4-BE49-F238E27FC236}">
                          <a16:creationId xmlns:a16="http://schemas.microsoft.com/office/drawing/2014/main" id="{EDA092B3-00F2-97F6-A053-7C2145700DD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3" name="Graphic 932">
                      <a:extLst>
                        <a:ext uri="{FF2B5EF4-FFF2-40B4-BE49-F238E27FC236}">
                          <a16:creationId xmlns:a16="http://schemas.microsoft.com/office/drawing/2014/main" id="{D81BDB84-51B3-DFBE-A81A-D71D9AECF38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4" name="Graphic 933">
                      <a:extLst>
                        <a:ext uri="{FF2B5EF4-FFF2-40B4-BE49-F238E27FC236}">
                          <a16:creationId xmlns:a16="http://schemas.microsoft.com/office/drawing/2014/main" id="{1CB68DA6-9C1D-B33E-87C3-051441B97D7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5" name="Graphic 934">
                      <a:extLst>
                        <a:ext uri="{FF2B5EF4-FFF2-40B4-BE49-F238E27FC236}">
                          <a16:creationId xmlns:a16="http://schemas.microsoft.com/office/drawing/2014/main" id="{9C271A12-ECB0-EA52-8664-AAFF62DC6E3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6" name="Graphic 935">
                      <a:extLst>
                        <a:ext uri="{FF2B5EF4-FFF2-40B4-BE49-F238E27FC236}">
                          <a16:creationId xmlns:a16="http://schemas.microsoft.com/office/drawing/2014/main" id="{E9503C5A-FCCB-28B5-E79C-401223A2D6C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7" name="Graphic 936">
                      <a:extLst>
                        <a:ext uri="{FF2B5EF4-FFF2-40B4-BE49-F238E27FC236}">
                          <a16:creationId xmlns:a16="http://schemas.microsoft.com/office/drawing/2014/main" id="{97B38613-EBBD-3081-8C8B-3BD12563651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38" name="Graphic 937">
                      <a:extLst>
                        <a:ext uri="{FF2B5EF4-FFF2-40B4-BE49-F238E27FC236}">
                          <a16:creationId xmlns:a16="http://schemas.microsoft.com/office/drawing/2014/main" id="{E2003549-7690-5624-1E4A-D1AFCF0D321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903" name="Graphic 902">
                  <a:extLst>
                    <a:ext uri="{FF2B5EF4-FFF2-40B4-BE49-F238E27FC236}">
                      <a16:creationId xmlns:a16="http://schemas.microsoft.com/office/drawing/2014/main" id="{503B01B6-6F42-5D1E-7C99-DF3C73D3C31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04" name="Graphic 903">
                  <a:extLst>
                    <a:ext uri="{FF2B5EF4-FFF2-40B4-BE49-F238E27FC236}">
                      <a16:creationId xmlns:a16="http://schemas.microsoft.com/office/drawing/2014/main" id="{47AA49D2-A757-1C03-9C15-F4D7032EF8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05" name="Graphic 904">
                  <a:extLst>
                    <a:ext uri="{FF2B5EF4-FFF2-40B4-BE49-F238E27FC236}">
                      <a16:creationId xmlns:a16="http://schemas.microsoft.com/office/drawing/2014/main" id="{291B331B-9DB0-4436-8A1E-4D705D0FFD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06" name="Graphic 905">
                  <a:extLst>
                    <a:ext uri="{FF2B5EF4-FFF2-40B4-BE49-F238E27FC236}">
                      <a16:creationId xmlns:a16="http://schemas.microsoft.com/office/drawing/2014/main" id="{264E1A44-A6AA-6B5C-513B-727C49953D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907" name="Graphic 906">
                  <a:extLst>
                    <a:ext uri="{FF2B5EF4-FFF2-40B4-BE49-F238E27FC236}">
                      <a16:creationId xmlns:a16="http://schemas.microsoft.com/office/drawing/2014/main" id="{E9865DCB-498C-E7A3-259B-EE5AE4A5468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08" name="Graphic 907">
                  <a:extLst>
                    <a:ext uri="{FF2B5EF4-FFF2-40B4-BE49-F238E27FC236}">
                      <a16:creationId xmlns:a16="http://schemas.microsoft.com/office/drawing/2014/main" id="{BC617894-F556-2DDA-2F6B-732463B1D7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909" name="Graphic 908">
                  <a:extLst>
                    <a:ext uri="{FF2B5EF4-FFF2-40B4-BE49-F238E27FC236}">
                      <a16:creationId xmlns:a16="http://schemas.microsoft.com/office/drawing/2014/main" id="{6284E604-5B8F-B65C-0D17-EF37096B0F5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0" name="Graphic 909">
                  <a:extLst>
                    <a:ext uri="{FF2B5EF4-FFF2-40B4-BE49-F238E27FC236}">
                      <a16:creationId xmlns:a16="http://schemas.microsoft.com/office/drawing/2014/main" id="{65743DE9-7D6D-D6A7-23D3-A13551EA6B8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1" name="Graphic 910">
                  <a:extLst>
                    <a:ext uri="{FF2B5EF4-FFF2-40B4-BE49-F238E27FC236}">
                      <a16:creationId xmlns:a16="http://schemas.microsoft.com/office/drawing/2014/main" id="{8BCC1FA0-07EB-D66D-BE37-04C5E34445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2" name="Graphic 911">
                  <a:extLst>
                    <a:ext uri="{FF2B5EF4-FFF2-40B4-BE49-F238E27FC236}">
                      <a16:creationId xmlns:a16="http://schemas.microsoft.com/office/drawing/2014/main" id="{9176F172-ACB7-A715-27CE-EB02975D1B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3" name="Graphic 912">
                  <a:extLst>
                    <a:ext uri="{FF2B5EF4-FFF2-40B4-BE49-F238E27FC236}">
                      <a16:creationId xmlns:a16="http://schemas.microsoft.com/office/drawing/2014/main" id="{DE248B0A-4907-E30B-46BA-58E37F6999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4" name="Graphic 913">
                  <a:extLst>
                    <a:ext uri="{FF2B5EF4-FFF2-40B4-BE49-F238E27FC236}">
                      <a16:creationId xmlns:a16="http://schemas.microsoft.com/office/drawing/2014/main" id="{05249B10-B4DE-9D01-E82B-ACC20EDCE7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5" name="Graphic 914">
                  <a:extLst>
                    <a:ext uri="{FF2B5EF4-FFF2-40B4-BE49-F238E27FC236}">
                      <a16:creationId xmlns:a16="http://schemas.microsoft.com/office/drawing/2014/main" id="{0C29EA29-A177-6123-6C80-809B5DC8186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892" name="Graphic 891">
                <a:extLst>
                  <a:ext uri="{FF2B5EF4-FFF2-40B4-BE49-F238E27FC236}">
                    <a16:creationId xmlns:a16="http://schemas.microsoft.com/office/drawing/2014/main" id="{A382F476-90F4-8C93-461C-B4B8C589EB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897" name="Graphic 896">
                <a:extLst>
                  <a:ext uri="{FF2B5EF4-FFF2-40B4-BE49-F238E27FC236}">
                    <a16:creationId xmlns:a16="http://schemas.microsoft.com/office/drawing/2014/main" id="{E03DC73A-C220-8450-B8F2-535D8F409D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898" name="Graphic 897">
                <a:extLst>
                  <a:ext uri="{FF2B5EF4-FFF2-40B4-BE49-F238E27FC236}">
                    <a16:creationId xmlns:a16="http://schemas.microsoft.com/office/drawing/2014/main" id="{111E396F-3C6C-F008-9835-8082FB4903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899" name="Graphic 898">
                <a:extLst>
                  <a:ext uri="{FF2B5EF4-FFF2-40B4-BE49-F238E27FC236}">
                    <a16:creationId xmlns:a16="http://schemas.microsoft.com/office/drawing/2014/main" id="{78F2EE7A-8CC4-7E3C-C34E-FB75FAC90D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9D88951-F604-AA74-386F-D991125020F9}"/>
                </a:ext>
              </a:extLst>
            </p:cNvPr>
            <p:cNvGrpSpPr/>
            <p:nvPr/>
          </p:nvGrpSpPr>
          <p:grpSpPr>
            <a:xfrm>
              <a:off x="416909" y="3491573"/>
              <a:ext cx="82797" cy="81788"/>
              <a:chOff x="5071590" y="2724817"/>
              <a:chExt cx="1901239" cy="1655213"/>
            </a:xfrm>
          </p:grpSpPr>
          <p:grpSp>
            <p:nvGrpSpPr>
              <p:cNvPr id="506" name="Group 505">
                <a:extLst>
                  <a:ext uri="{FF2B5EF4-FFF2-40B4-BE49-F238E27FC236}">
                    <a16:creationId xmlns:a16="http://schemas.microsoft.com/office/drawing/2014/main" id="{B96A8F31-E3AC-F9EA-7F84-8C5218AB0B19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511" name="Group 510">
                  <a:extLst>
                    <a:ext uri="{FF2B5EF4-FFF2-40B4-BE49-F238E27FC236}">
                      <a16:creationId xmlns:a16="http://schemas.microsoft.com/office/drawing/2014/main" id="{C80F7B6B-1855-3FDA-3E86-EC530B961B67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525" name="Oval 524">
                    <a:extLst>
                      <a:ext uri="{FF2B5EF4-FFF2-40B4-BE49-F238E27FC236}">
                        <a16:creationId xmlns:a16="http://schemas.microsoft.com/office/drawing/2014/main" id="{19671A58-D071-2225-5C07-060A23D9D625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526" name="Group 525">
                    <a:extLst>
                      <a:ext uri="{FF2B5EF4-FFF2-40B4-BE49-F238E27FC236}">
                        <a16:creationId xmlns:a16="http://schemas.microsoft.com/office/drawing/2014/main" id="{679A7164-4FE2-DA2A-A9CC-7AEB83BE0F01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527" name="Graphic 526">
                      <a:extLst>
                        <a:ext uri="{FF2B5EF4-FFF2-40B4-BE49-F238E27FC236}">
                          <a16:creationId xmlns:a16="http://schemas.microsoft.com/office/drawing/2014/main" id="{E35001EA-528F-CC94-2E4D-6C43266D9C2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28" name="Graphic 527">
                      <a:extLst>
                        <a:ext uri="{FF2B5EF4-FFF2-40B4-BE49-F238E27FC236}">
                          <a16:creationId xmlns:a16="http://schemas.microsoft.com/office/drawing/2014/main" id="{FD14F81C-C979-F7F9-D875-D049B779D7A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1" name="Graphic 580">
                      <a:extLst>
                        <a:ext uri="{FF2B5EF4-FFF2-40B4-BE49-F238E27FC236}">
                          <a16:creationId xmlns:a16="http://schemas.microsoft.com/office/drawing/2014/main" id="{D210809B-C409-5995-378B-D28DCA58BF0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2" name="Graphic 581">
                      <a:extLst>
                        <a:ext uri="{FF2B5EF4-FFF2-40B4-BE49-F238E27FC236}">
                          <a16:creationId xmlns:a16="http://schemas.microsoft.com/office/drawing/2014/main" id="{70092B77-7918-A405-5E59-5A018DC5F78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3" name="Graphic 582">
                      <a:extLst>
                        <a:ext uri="{FF2B5EF4-FFF2-40B4-BE49-F238E27FC236}">
                          <a16:creationId xmlns:a16="http://schemas.microsoft.com/office/drawing/2014/main" id="{9B5AF19C-3A45-E6FC-D442-D1D1BF7126F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4" name="Graphic 583">
                      <a:extLst>
                        <a:ext uri="{FF2B5EF4-FFF2-40B4-BE49-F238E27FC236}">
                          <a16:creationId xmlns:a16="http://schemas.microsoft.com/office/drawing/2014/main" id="{BEED4FCC-2CC9-1063-C576-85A18BFB4A6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5" name="Graphic 584">
                      <a:extLst>
                        <a:ext uri="{FF2B5EF4-FFF2-40B4-BE49-F238E27FC236}">
                          <a16:creationId xmlns:a16="http://schemas.microsoft.com/office/drawing/2014/main" id="{55D2D9F3-5EA7-68AE-0030-652A70A2EF9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6" name="Graphic 585">
                      <a:extLst>
                        <a:ext uri="{FF2B5EF4-FFF2-40B4-BE49-F238E27FC236}">
                          <a16:creationId xmlns:a16="http://schemas.microsoft.com/office/drawing/2014/main" id="{11DD4CBE-18ED-F54D-104A-E38BE83A704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7" name="Graphic 586">
                      <a:extLst>
                        <a:ext uri="{FF2B5EF4-FFF2-40B4-BE49-F238E27FC236}">
                          <a16:creationId xmlns:a16="http://schemas.microsoft.com/office/drawing/2014/main" id="{AF60B7CA-EDB3-0CB5-6677-15859A4D849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8" name="Graphic 587">
                      <a:extLst>
                        <a:ext uri="{FF2B5EF4-FFF2-40B4-BE49-F238E27FC236}">
                          <a16:creationId xmlns:a16="http://schemas.microsoft.com/office/drawing/2014/main" id="{C70F9767-D391-DDFD-8D65-F959FD62718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89" name="Graphic 588">
                      <a:extLst>
                        <a:ext uri="{FF2B5EF4-FFF2-40B4-BE49-F238E27FC236}">
                          <a16:creationId xmlns:a16="http://schemas.microsoft.com/office/drawing/2014/main" id="{D5F56697-C8EB-C0AE-9D0A-85D2F1D6646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90" name="Graphic 589">
                      <a:extLst>
                        <a:ext uri="{FF2B5EF4-FFF2-40B4-BE49-F238E27FC236}">
                          <a16:creationId xmlns:a16="http://schemas.microsoft.com/office/drawing/2014/main" id="{592E9CD7-E83C-4F37-DC76-6AF4A2B5B60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91" name="Graphic 590">
                      <a:extLst>
                        <a:ext uri="{FF2B5EF4-FFF2-40B4-BE49-F238E27FC236}">
                          <a16:creationId xmlns:a16="http://schemas.microsoft.com/office/drawing/2014/main" id="{390A51CD-DE98-0162-892A-0C1F5BE3002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92" name="Graphic 591">
                      <a:extLst>
                        <a:ext uri="{FF2B5EF4-FFF2-40B4-BE49-F238E27FC236}">
                          <a16:creationId xmlns:a16="http://schemas.microsoft.com/office/drawing/2014/main" id="{760BA951-850D-59B9-178B-3D39BE9C32A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93" name="Graphic 592">
                      <a:extLst>
                        <a:ext uri="{FF2B5EF4-FFF2-40B4-BE49-F238E27FC236}">
                          <a16:creationId xmlns:a16="http://schemas.microsoft.com/office/drawing/2014/main" id="{586B6DE9-78A1-239E-991B-A88CF857D62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95" name="Graphic 594">
                      <a:extLst>
                        <a:ext uri="{FF2B5EF4-FFF2-40B4-BE49-F238E27FC236}">
                          <a16:creationId xmlns:a16="http://schemas.microsoft.com/office/drawing/2014/main" id="{5D641D63-A1E5-5804-E4DE-3A43B11935E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96" name="Graphic 595">
                      <a:extLst>
                        <a:ext uri="{FF2B5EF4-FFF2-40B4-BE49-F238E27FC236}">
                          <a16:creationId xmlns:a16="http://schemas.microsoft.com/office/drawing/2014/main" id="{DC111E18-FAA9-299A-2D13-182F8D4D69F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87" name="Graphic 886">
                      <a:extLst>
                        <a:ext uri="{FF2B5EF4-FFF2-40B4-BE49-F238E27FC236}">
                          <a16:creationId xmlns:a16="http://schemas.microsoft.com/office/drawing/2014/main" id="{0FD2EA4C-953A-D342-3E1A-BC7A34780AC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88" name="Graphic 887">
                      <a:extLst>
                        <a:ext uri="{FF2B5EF4-FFF2-40B4-BE49-F238E27FC236}">
                          <a16:creationId xmlns:a16="http://schemas.microsoft.com/office/drawing/2014/main" id="{2F20C3B2-5046-AA9F-18E2-6BED0F9DE43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89" name="Graphic 888">
                      <a:extLst>
                        <a:ext uri="{FF2B5EF4-FFF2-40B4-BE49-F238E27FC236}">
                          <a16:creationId xmlns:a16="http://schemas.microsoft.com/office/drawing/2014/main" id="{36067BEA-3BE9-B57B-98C1-9BFB0EE8227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890" name="Graphic 889">
                      <a:extLst>
                        <a:ext uri="{FF2B5EF4-FFF2-40B4-BE49-F238E27FC236}">
                          <a16:creationId xmlns:a16="http://schemas.microsoft.com/office/drawing/2014/main" id="{E1C7347D-64C0-DE37-B1DF-06586E5F5C2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512" name="Graphic 511">
                  <a:extLst>
                    <a:ext uri="{FF2B5EF4-FFF2-40B4-BE49-F238E27FC236}">
                      <a16:creationId xmlns:a16="http://schemas.microsoft.com/office/drawing/2014/main" id="{5F1ADFD0-C3E5-325E-5284-E69DF13A05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13" name="Graphic 512">
                  <a:extLst>
                    <a:ext uri="{FF2B5EF4-FFF2-40B4-BE49-F238E27FC236}">
                      <a16:creationId xmlns:a16="http://schemas.microsoft.com/office/drawing/2014/main" id="{145E1249-FC72-9556-0BA6-F3C8E4145C9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14" name="Graphic 513">
                  <a:extLst>
                    <a:ext uri="{FF2B5EF4-FFF2-40B4-BE49-F238E27FC236}">
                      <a16:creationId xmlns:a16="http://schemas.microsoft.com/office/drawing/2014/main" id="{C8B15B65-DCD7-6C3C-1D04-FF8AA6C0A21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15" name="Graphic 514">
                  <a:extLst>
                    <a:ext uri="{FF2B5EF4-FFF2-40B4-BE49-F238E27FC236}">
                      <a16:creationId xmlns:a16="http://schemas.microsoft.com/office/drawing/2014/main" id="{5B9C7889-9BED-A1FF-6675-80080BB36B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516" name="Graphic 515">
                  <a:extLst>
                    <a:ext uri="{FF2B5EF4-FFF2-40B4-BE49-F238E27FC236}">
                      <a16:creationId xmlns:a16="http://schemas.microsoft.com/office/drawing/2014/main" id="{C78B370E-C3E5-D590-EBD7-D05BB6E93F2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17" name="Graphic 516">
                  <a:extLst>
                    <a:ext uri="{FF2B5EF4-FFF2-40B4-BE49-F238E27FC236}">
                      <a16:creationId xmlns:a16="http://schemas.microsoft.com/office/drawing/2014/main" id="{10D8BE39-9756-6D68-4E59-FAE251FFB5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518" name="Graphic 517">
                  <a:extLst>
                    <a:ext uri="{FF2B5EF4-FFF2-40B4-BE49-F238E27FC236}">
                      <a16:creationId xmlns:a16="http://schemas.microsoft.com/office/drawing/2014/main" id="{64F50DCD-7FBA-5ADD-1EE4-B7B25BD1F0F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19" name="Graphic 518">
                  <a:extLst>
                    <a:ext uri="{FF2B5EF4-FFF2-40B4-BE49-F238E27FC236}">
                      <a16:creationId xmlns:a16="http://schemas.microsoft.com/office/drawing/2014/main" id="{C9410B56-91BE-D851-2B95-1FFD2B4D2DC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20" name="Graphic 519">
                  <a:extLst>
                    <a:ext uri="{FF2B5EF4-FFF2-40B4-BE49-F238E27FC236}">
                      <a16:creationId xmlns:a16="http://schemas.microsoft.com/office/drawing/2014/main" id="{759B8E51-D21A-ED2B-1B34-34F48EE163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21" name="Graphic 520">
                  <a:extLst>
                    <a:ext uri="{FF2B5EF4-FFF2-40B4-BE49-F238E27FC236}">
                      <a16:creationId xmlns:a16="http://schemas.microsoft.com/office/drawing/2014/main" id="{40DD4764-1C81-D3BA-5D35-E896C593D4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22" name="Graphic 521">
                  <a:extLst>
                    <a:ext uri="{FF2B5EF4-FFF2-40B4-BE49-F238E27FC236}">
                      <a16:creationId xmlns:a16="http://schemas.microsoft.com/office/drawing/2014/main" id="{FA7BA966-8D2D-9B38-FDA4-630DBF22191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23" name="Graphic 522">
                  <a:extLst>
                    <a:ext uri="{FF2B5EF4-FFF2-40B4-BE49-F238E27FC236}">
                      <a16:creationId xmlns:a16="http://schemas.microsoft.com/office/drawing/2014/main" id="{9000A1E9-54E6-95F4-6DA0-E02873A108E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524" name="Graphic 523">
                  <a:extLst>
                    <a:ext uri="{FF2B5EF4-FFF2-40B4-BE49-F238E27FC236}">
                      <a16:creationId xmlns:a16="http://schemas.microsoft.com/office/drawing/2014/main" id="{C0580D50-20CA-53B4-FA9E-3BE3674B2FF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507" name="Graphic 506">
                <a:extLst>
                  <a:ext uri="{FF2B5EF4-FFF2-40B4-BE49-F238E27FC236}">
                    <a16:creationId xmlns:a16="http://schemas.microsoft.com/office/drawing/2014/main" id="{83A8B7DC-B850-DFBF-3BF4-C4396D839C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08" name="Graphic 507">
                <a:extLst>
                  <a:ext uri="{FF2B5EF4-FFF2-40B4-BE49-F238E27FC236}">
                    <a16:creationId xmlns:a16="http://schemas.microsoft.com/office/drawing/2014/main" id="{96138972-80E9-738A-CEEF-9D8BADC8A2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09" name="Graphic 508">
                <a:extLst>
                  <a:ext uri="{FF2B5EF4-FFF2-40B4-BE49-F238E27FC236}">
                    <a16:creationId xmlns:a16="http://schemas.microsoft.com/office/drawing/2014/main" id="{CA4D100D-A206-CE28-36E8-A4092A5FD5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510" name="Graphic 509">
                <a:extLst>
                  <a:ext uri="{FF2B5EF4-FFF2-40B4-BE49-F238E27FC236}">
                    <a16:creationId xmlns:a16="http://schemas.microsoft.com/office/drawing/2014/main" id="{094608B9-9839-B87D-AE02-166D465A69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6F98BA59-03FB-7AC2-C618-930172967C1F}"/>
                </a:ext>
              </a:extLst>
            </p:cNvPr>
            <p:cNvGrpSpPr/>
            <p:nvPr/>
          </p:nvGrpSpPr>
          <p:grpSpPr>
            <a:xfrm>
              <a:off x="360275" y="3613433"/>
              <a:ext cx="116581" cy="115160"/>
              <a:chOff x="5071590" y="2724817"/>
              <a:chExt cx="1901239" cy="1655213"/>
            </a:xfrm>
          </p:grpSpPr>
          <p:grpSp>
            <p:nvGrpSpPr>
              <p:cNvPr id="378" name="Group 377">
                <a:extLst>
                  <a:ext uri="{FF2B5EF4-FFF2-40B4-BE49-F238E27FC236}">
                    <a16:creationId xmlns:a16="http://schemas.microsoft.com/office/drawing/2014/main" id="{E5576497-A625-0F42-6739-7FE23D1A728C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83" name="Group 382">
                  <a:extLst>
                    <a:ext uri="{FF2B5EF4-FFF2-40B4-BE49-F238E27FC236}">
                      <a16:creationId xmlns:a16="http://schemas.microsoft.com/office/drawing/2014/main" id="{346D1159-0267-C202-0E76-4F5ABD2E9FC2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97" name="Oval 396">
                    <a:extLst>
                      <a:ext uri="{FF2B5EF4-FFF2-40B4-BE49-F238E27FC236}">
                        <a16:creationId xmlns:a16="http://schemas.microsoft.com/office/drawing/2014/main" id="{7BD20A18-EBE6-36BE-ABC4-49D857BD0B8A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98" name="Group 397">
                    <a:extLst>
                      <a:ext uri="{FF2B5EF4-FFF2-40B4-BE49-F238E27FC236}">
                        <a16:creationId xmlns:a16="http://schemas.microsoft.com/office/drawing/2014/main" id="{5A851B5F-D523-CE52-AD82-5F81F5212262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99" name="Graphic 398">
                      <a:extLst>
                        <a:ext uri="{FF2B5EF4-FFF2-40B4-BE49-F238E27FC236}">
                          <a16:creationId xmlns:a16="http://schemas.microsoft.com/office/drawing/2014/main" id="{D42CAB9B-9A2B-69A9-AE1F-F8A9A2BED71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6" name="Graphic 485">
                      <a:extLst>
                        <a:ext uri="{FF2B5EF4-FFF2-40B4-BE49-F238E27FC236}">
                          <a16:creationId xmlns:a16="http://schemas.microsoft.com/office/drawing/2014/main" id="{232E88EE-2FAF-42AD-AA47-9BA8803E293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7" name="Graphic 486">
                      <a:extLst>
                        <a:ext uri="{FF2B5EF4-FFF2-40B4-BE49-F238E27FC236}">
                          <a16:creationId xmlns:a16="http://schemas.microsoft.com/office/drawing/2014/main" id="{09013D4F-6E22-DADC-986F-65112E5671B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8" name="Graphic 487">
                      <a:extLst>
                        <a:ext uri="{FF2B5EF4-FFF2-40B4-BE49-F238E27FC236}">
                          <a16:creationId xmlns:a16="http://schemas.microsoft.com/office/drawing/2014/main" id="{00AAF864-842D-3DD4-954C-B9504B4368A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9" name="Graphic 488">
                      <a:extLst>
                        <a:ext uri="{FF2B5EF4-FFF2-40B4-BE49-F238E27FC236}">
                          <a16:creationId xmlns:a16="http://schemas.microsoft.com/office/drawing/2014/main" id="{9514D3BB-21CC-F252-15F6-4F1CDCBE264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0" name="Graphic 489">
                      <a:extLst>
                        <a:ext uri="{FF2B5EF4-FFF2-40B4-BE49-F238E27FC236}">
                          <a16:creationId xmlns:a16="http://schemas.microsoft.com/office/drawing/2014/main" id="{E6DA47B6-7EB9-DA0C-839C-6677DF3F357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1" name="Graphic 490">
                      <a:extLst>
                        <a:ext uri="{FF2B5EF4-FFF2-40B4-BE49-F238E27FC236}">
                          <a16:creationId xmlns:a16="http://schemas.microsoft.com/office/drawing/2014/main" id="{837020F5-126B-128A-6DC4-2E55F2A3998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2" name="Graphic 491">
                      <a:extLst>
                        <a:ext uri="{FF2B5EF4-FFF2-40B4-BE49-F238E27FC236}">
                          <a16:creationId xmlns:a16="http://schemas.microsoft.com/office/drawing/2014/main" id="{3B2A472F-9CC9-D934-E6E3-F392DCB890E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3" name="Graphic 492">
                      <a:extLst>
                        <a:ext uri="{FF2B5EF4-FFF2-40B4-BE49-F238E27FC236}">
                          <a16:creationId xmlns:a16="http://schemas.microsoft.com/office/drawing/2014/main" id="{E0F01522-0929-3B49-3CE1-76BAB70284B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4" name="Graphic 493">
                      <a:extLst>
                        <a:ext uri="{FF2B5EF4-FFF2-40B4-BE49-F238E27FC236}">
                          <a16:creationId xmlns:a16="http://schemas.microsoft.com/office/drawing/2014/main" id="{AB5B7FD8-0081-BA03-DFCE-11C130817F4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5" name="Graphic 494">
                      <a:extLst>
                        <a:ext uri="{FF2B5EF4-FFF2-40B4-BE49-F238E27FC236}">
                          <a16:creationId xmlns:a16="http://schemas.microsoft.com/office/drawing/2014/main" id="{B2BDC696-76AA-AF63-A577-984588F02D6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6" name="Graphic 495">
                      <a:extLst>
                        <a:ext uri="{FF2B5EF4-FFF2-40B4-BE49-F238E27FC236}">
                          <a16:creationId xmlns:a16="http://schemas.microsoft.com/office/drawing/2014/main" id="{E774BEC1-EC41-5842-36EF-6B0EF8C1966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7" name="Graphic 496">
                      <a:extLst>
                        <a:ext uri="{FF2B5EF4-FFF2-40B4-BE49-F238E27FC236}">
                          <a16:creationId xmlns:a16="http://schemas.microsoft.com/office/drawing/2014/main" id="{D72C4360-8FCB-BA63-E2EB-98A146C9C61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8" name="Graphic 497">
                      <a:extLst>
                        <a:ext uri="{FF2B5EF4-FFF2-40B4-BE49-F238E27FC236}">
                          <a16:creationId xmlns:a16="http://schemas.microsoft.com/office/drawing/2014/main" id="{81BA84EF-328B-0472-AB55-6ACDA8C56CF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9" name="Graphic 498">
                      <a:extLst>
                        <a:ext uri="{FF2B5EF4-FFF2-40B4-BE49-F238E27FC236}">
                          <a16:creationId xmlns:a16="http://schemas.microsoft.com/office/drawing/2014/main" id="{623F2917-7762-1B0C-31CB-7D6FA246E7A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0" name="Graphic 499">
                      <a:extLst>
                        <a:ext uri="{FF2B5EF4-FFF2-40B4-BE49-F238E27FC236}">
                          <a16:creationId xmlns:a16="http://schemas.microsoft.com/office/drawing/2014/main" id="{9953F0BD-B6F3-1729-F48B-A5BE87D9483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1" name="Graphic 500">
                      <a:extLst>
                        <a:ext uri="{FF2B5EF4-FFF2-40B4-BE49-F238E27FC236}">
                          <a16:creationId xmlns:a16="http://schemas.microsoft.com/office/drawing/2014/main" id="{E5D0622A-2C38-FCC1-36A5-4E8B3FDBABA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2" name="Graphic 501">
                      <a:extLst>
                        <a:ext uri="{FF2B5EF4-FFF2-40B4-BE49-F238E27FC236}">
                          <a16:creationId xmlns:a16="http://schemas.microsoft.com/office/drawing/2014/main" id="{B65242B2-9973-CAA5-D006-1E22F4D1837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3" name="Graphic 502">
                      <a:extLst>
                        <a:ext uri="{FF2B5EF4-FFF2-40B4-BE49-F238E27FC236}">
                          <a16:creationId xmlns:a16="http://schemas.microsoft.com/office/drawing/2014/main" id="{A2419A7D-FD21-ECA5-EF3E-2B049D808AE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4" name="Graphic 503">
                      <a:extLst>
                        <a:ext uri="{FF2B5EF4-FFF2-40B4-BE49-F238E27FC236}">
                          <a16:creationId xmlns:a16="http://schemas.microsoft.com/office/drawing/2014/main" id="{10DE565A-FCEB-4585-C599-FA0507BB646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5" name="Graphic 504">
                      <a:extLst>
                        <a:ext uri="{FF2B5EF4-FFF2-40B4-BE49-F238E27FC236}">
                          <a16:creationId xmlns:a16="http://schemas.microsoft.com/office/drawing/2014/main" id="{89D31DC4-A1E3-790D-0591-D4DC7487A78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84" name="Graphic 383">
                  <a:extLst>
                    <a:ext uri="{FF2B5EF4-FFF2-40B4-BE49-F238E27FC236}">
                      <a16:creationId xmlns:a16="http://schemas.microsoft.com/office/drawing/2014/main" id="{ED6A9505-C062-2036-8A03-F8558D3D39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85" name="Graphic 384">
                  <a:extLst>
                    <a:ext uri="{FF2B5EF4-FFF2-40B4-BE49-F238E27FC236}">
                      <a16:creationId xmlns:a16="http://schemas.microsoft.com/office/drawing/2014/main" id="{6D6D5BB7-5F87-281E-2A58-9712BDA7BD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86" name="Graphic 385">
                  <a:extLst>
                    <a:ext uri="{FF2B5EF4-FFF2-40B4-BE49-F238E27FC236}">
                      <a16:creationId xmlns:a16="http://schemas.microsoft.com/office/drawing/2014/main" id="{4DB21EB3-524F-CC19-088F-BCC8C4DC10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87" name="Graphic 386">
                  <a:extLst>
                    <a:ext uri="{FF2B5EF4-FFF2-40B4-BE49-F238E27FC236}">
                      <a16:creationId xmlns:a16="http://schemas.microsoft.com/office/drawing/2014/main" id="{42FBC098-6C48-1D50-0920-AC12C6ECAF1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88" name="Graphic 387">
                  <a:extLst>
                    <a:ext uri="{FF2B5EF4-FFF2-40B4-BE49-F238E27FC236}">
                      <a16:creationId xmlns:a16="http://schemas.microsoft.com/office/drawing/2014/main" id="{A0FA35DB-DC5E-1AE4-DAD2-6733ECA5D74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89" name="Graphic 388">
                  <a:extLst>
                    <a:ext uri="{FF2B5EF4-FFF2-40B4-BE49-F238E27FC236}">
                      <a16:creationId xmlns:a16="http://schemas.microsoft.com/office/drawing/2014/main" id="{AD548232-0711-004C-9522-5265D10FEB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90" name="Graphic 389">
                  <a:extLst>
                    <a:ext uri="{FF2B5EF4-FFF2-40B4-BE49-F238E27FC236}">
                      <a16:creationId xmlns:a16="http://schemas.microsoft.com/office/drawing/2014/main" id="{C8F035A0-AF5F-B5FD-1B90-F6F03F53BA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1" name="Graphic 390">
                  <a:extLst>
                    <a:ext uri="{FF2B5EF4-FFF2-40B4-BE49-F238E27FC236}">
                      <a16:creationId xmlns:a16="http://schemas.microsoft.com/office/drawing/2014/main" id="{5DDA4CAC-5E41-9E48-AE21-62EFF314AA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2" name="Graphic 391">
                  <a:extLst>
                    <a:ext uri="{FF2B5EF4-FFF2-40B4-BE49-F238E27FC236}">
                      <a16:creationId xmlns:a16="http://schemas.microsoft.com/office/drawing/2014/main" id="{8A7F2F2D-08CC-9407-8068-9C63997F8F1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3" name="Graphic 392">
                  <a:extLst>
                    <a:ext uri="{FF2B5EF4-FFF2-40B4-BE49-F238E27FC236}">
                      <a16:creationId xmlns:a16="http://schemas.microsoft.com/office/drawing/2014/main" id="{CB08F5CA-DB25-11F6-8666-B572F28F17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4" name="Graphic 393">
                  <a:extLst>
                    <a:ext uri="{FF2B5EF4-FFF2-40B4-BE49-F238E27FC236}">
                      <a16:creationId xmlns:a16="http://schemas.microsoft.com/office/drawing/2014/main" id="{367E8860-948D-64C4-533E-B4E00CBA913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5" name="Graphic 394">
                  <a:extLst>
                    <a:ext uri="{FF2B5EF4-FFF2-40B4-BE49-F238E27FC236}">
                      <a16:creationId xmlns:a16="http://schemas.microsoft.com/office/drawing/2014/main" id="{1864095C-3FF6-E422-B8DC-B742E689438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96" name="Graphic 395">
                  <a:extLst>
                    <a:ext uri="{FF2B5EF4-FFF2-40B4-BE49-F238E27FC236}">
                      <a16:creationId xmlns:a16="http://schemas.microsoft.com/office/drawing/2014/main" id="{05CD5311-E271-23FC-6654-571D3850C9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79" name="Graphic 378">
                <a:extLst>
                  <a:ext uri="{FF2B5EF4-FFF2-40B4-BE49-F238E27FC236}">
                    <a16:creationId xmlns:a16="http://schemas.microsoft.com/office/drawing/2014/main" id="{A8BF30F3-219D-BFD1-C04A-5539B73EE9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80" name="Graphic 379">
                <a:extLst>
                  <a:ext uri="{FF2B5EF4-FFF2-40B4-BE49-F238E27FC236}">
                    <a16:creationId xmlns:a16="http://schemas.microsoft.com/office/drawing/2014/main" id="{5EC7C236-9B1E-2C96-1740-8CE1B8DCE5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81" name="Graphic 380">
                <a:extLst>
                  <a:ext uri="{FF2B5EF4-FFF2-40B4-BE49-F238E27FC236}">
                    <a16:creationId xmlns:a16="http://schemas.microsoft.com/office/drawing/2014/main" id="{FA7641FA-69B9-0B76-63D5-F01AED1B3F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82" name="Graphic 381">
                <a:extLst>
                  <a:ext uri="{FF2B5EF4-FFF2-40B4-BE49-F238E27FC236}">
                    <a16:creationId xmlns:a16="http://schemas.microsoft.com/office/drawing/2014/main" id="{42A2B9FC-E646-3335-F2DE-8D79E98167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8AA51314-549C-97DC-2B79-EE7B9E848DEC}"/>
                </a:ext>
              </a:extLst>
            </p:cNvPr>
            <p:cNvGrpSpPr/>
            <p:nvPr/>
          </p:nvGrpSpPr>
          <p:grpSpPr>
            <a:xfrm>
              <a:off x="749040" y="4052016"/>
              <a:ext cx="88850" cy="87767"/>
              <a:chOff x="5071590" y="2724817"/>
              <a:chExt cx="1901239" cy="1655213"/>
            </a:xfrm>
          </p:grpSpPr>
          <p:grpSp>
            <p:nvGrpSpPr>
              <p:cNvPr id="323" name="Group 322">
                <a:extLst>
                  <a:ext uri="{FF2B5EF4-FFF2-40B4-BE49-F238E27FC236}">
                    <a16:creationId xmlns:a16="http://schemas.microsoft.com/office/drawing/2014/main" id="{93EB4C48-BA2B-0527-364D-8765FDBFA951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328" name="Group 327">
                  <a:extLst>
                    <a:ext uri="{FF2B5EF4-FFF2-40B4-BE49-F238E27FC236}">
                      <a16:creationId xmlns:a16="http://schemas.microsoft.com/office/drawing/2014/main" id="{E29EAEE9-9653-D1AD-1CB2-DDC7DD61134D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342" name="Oval 341">
                    <a:extLst>
                      <a:ext uri="{FF2B5EF4-FFF2-40B4-BE49-F238E27FC236}">
                        <a16:creationId xmlns:a16="http://schemas.microsoft.com/office/drawing/2014/main" id="{F07A0C9D-86BE-DAC6-9362-66E13BA06FB1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343" name="Group 342">
                    <a:extLst>
                      <a:ext uri="{FF2B5EF4-FFF2-40B4-BE49-F238E27FC236}">
                        <a16:creationId xmlns:a16="http://schemas.microsoft.com/office/drawing/2014/main" id="{E996A9BB-6178-8734-595D-702C8C472820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357" name="Graphic 356">
                      <a:extLst>
                        <a:ext uri="{FF2B5EF4-FFF2-40B4-BE49-F238E27FC236}">
                          <a16:creationId xmlns:a16="http://schemas.microsoft.com/office/drawing/2014/main" id="{F6D43C9B-989A-06E8-4AC8-B7A949D3D6D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8" name="Graphic 357">
                      <a:extLst>
                        <a:ext uri="{FF2B5EF4-FFF2-40B4-BE49-F238E27FC236}">
                          <a16:creationId xmlns:a16="http://schemas.microsoft.com/office/drawing/2014/main" id="{538E955B-8E58-5814-3834-6FE0335551D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59" name="Graphic 358">
                      <a:extLst>
                        <a:ext uri="{FF2B5EF4-FFF2-40B4-BE49-F238E27FC236}">
                          <a16:creationId xmlns:a16="http://schemas.microsoft.com/office/drawing/2014/main" id="{51182E0E-714C-F7D2-3602-B47ECE59566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0" name="Graphic 359">
                      <a:extLst>
                        <a:ext uri="{FF2B5EF4-FFF2-40B4-BE49-F238E27FC236}">
                          <a16:creationId xmlns:a16="http://schemas.microsoft.com/office/drawing/2014/main" id="{7D81A2B0-E7A1-F0E7-6454-86618F41E95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1" name="Graphic 360">
                      <a:extLst>
                        <a:ext uri="{FF2B5EF4-FFF2-40B4-BE49-F238E27FC236}">
                          <a16:creationId xmlns:a16="http://schemas.microsoft.com/office/drawing/2014/main" id="{FFE4F1A3-46EF-4866-8DFF-A292760745C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2" name="Graphic 361">
                      <a:extLst>
                        <a:ext uri="{FF2B5EF4-FFF2-40B4-BE49-F238E27FC236}">
                          <a16:creationId xmlns:a16="http://schemas.microsoft.com/office/drawing/2014/main" id="{58EBE250-B302-A8FF-06A2-D74B0A072C5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3" name="Graphic 362">
                      <a:extLst>
                        <a:ext uri="{FF2B5EF4-FFF2-40B4-BE49-F238E27FC236}">
                          <a16:creationId xmlns:a16="http://schemas.microsoft.com/office/drawing/2014/main" id="{803F8553-D993-63A4-9E32-47D92924146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4" name="Graphic 363">
                      <a:extLst>
                        <a:ext uri="{FF2B5EF4-FFF2-40B4-BE49-F238E27FC236}">
                          <a16:creationId xmlns:a16="http://schemas.microsoft.com/office/drawing/2014/main" id="{420A6086-2312-384D-FC4E-87D338FB2A9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5" name="Graphic 364">
                      <a:extLst>
                        <a:ext uri="{FF2B5EF4-FFF2-40B4-BE49-F238E27FC236}">
                          <a16:creationId xmlns:a16="http://schemas.microsoft.com/office/drawing/2014/main" id="{1AAB4ADA-61AB-7EB5-14BE-2CF52226321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6" name="Graphic 365">
                      <a:extLst>
                        <a:ext uri="{FF2B5EF4-FFF2-40B4-BE49-F238E27FC236}">
                          <a16:creationId xmlns:a16="http://schemas.microsoft.com/office/drawing/2014/main" id="{B0BF84B5-21FB-8369-AB28-9F03834144E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7" name="Graphic 366">
                      <a:extLst>
                        <a:ext uri="{FF2B5EF4-FFF2-40B4-BE49-F238E27FC236}">
                          <a16:creationId xmlns:a16="http://schemas.microsoft.com/office/drawing/2014/main" id="{0FA1A949-2BC6-70E3-DF5F-2840229CFDC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8" name="Graphic 367">
                      <a:extLst>
                        <a:ext uri="{FF2B5EF4-FFF2-40B4-BE49-F238E27FC236}">
                          <a16:creationId xmlns:a16="http://schemas.microsoft.com/office/drawing/2014/main" id="{2A6761E4-74EB-AFEB-47C0-A62A710E857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69" name="Graphic 368">
                      <a:extLst>
                        <a:ext uri="{FF2B5EF4-FFF2-40B4-BE49-F238E27FC236}">
                          <a16:creationId xmlns:a16="http://schemas.microsoft.com/office/drawing/2014/main" id="{6695BBD9-298C-8759-037E-3938CDD6774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0" name="Graphic 369">
                      <a:extLst>
                        <a:ext uri="{FF2B5EF4-FFF2-40B4-BE49-F238E27FC236}">
                          <a16:creationId xmlns:a16="http://schemas.microsoft.com/office/drawing/2014/main" id="{7B51EF5B-AF42-7D49-C8CD-5FFCEC6E1A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1" name="Graphic 370">
                      <a:extLst>
                        <a:ext uri="{FF2B5EF4-FFF2-40B4-BE49-F238E27FC236}">
                          <a16:creationId xmlns:a16="http://schemas.microsoft.com/office/drawing/2014/main" id="{9C622D14-5AE3-91AF-2806-3CA7DE3C43F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2" name="Graphic 371">
                      <a:extLst>
                        <a:ext uri="{FF2B5EF4-FFF2-40B4-BE49-F238E27FC236}">
                          <a16:creationId xmlns:a16="http://schemas.microsoft.com/office/drawing/2014/main" id="{275A0612-AF06-E6E8-BF4D-E87FCA714E0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3" name="Graphic 372">
                      <a:extLst>
                        <a:ext uri="{FF2B5EF4-FFF2-40B4-BE49-F238E27FC236}">
                          <a16:creationId xmlns:a16="http://schemas.microsoft.com/office/drawing/2014/main" id="{C2A1C9A0-39F8-D08E-0141-6F4E512630E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4" name="Graphic 373">
                      <a:extLst>
                        <a:ext uri="{FF2B5EF4-FFF2-40B4-BE49-F238E27FC236}">
                          <a16:creationId xmlns:a16="http://schemas.microsoft.com/office/drawing/2014/main" id="{3E186D53-CF2A-1A4F-C35A-02093D1DE6A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5" name="Graphic 374">
                      <a:extLst>
                        <a:ext uri="{FF2B5EF4-FFF2-40B4-BE49-F238E27FC236}">
                          <a16:creationId xmlns:a16="http://schemas.microsoft.com/office/drawing/2014/main" id="{9926E78F-1193-18DF-F0B0-1796D019476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6" name="Graphic 375">
                      <a:extLst>
                        <a:ext uri="{FF2B5EF4-FFF2-40B4-BE49-F238E27FC236}">
                          <a16:creationId xmlns:a16="http://schemas.microsoft.com/office/drawing/2014/main" id="{745D0036-6214-DB3B-BA90-8B8812254EB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77" name="Graphic 376">
                      <a:extLst>
                        <a:ext uri="{FF2B5EF4-FFF2-40B4-BE49-F238E27FC236}">
                          <a16:creationId xmlns:a16="http://schemas.microsoft.com/office/drawing/2014/main" id="{A73005CB-4ED3-A819-0E6B-7D27CBAE60E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329" name="Graphic 328">
                  <a:extLst>
                    <a:ext uri="{FF2B5EF4-FFF2-40B4-BE49-F238E27FC236}">
                      <a16:creationId xmlns:a16="http://schemas.microsoft.com/office/drawing/2014/main" id="{78D0C344-F8A4-A616-6C9A-2FC298C3B7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0" name="Graphic 329">
                  <a:extLst>
                    <a:ext uri="{FF2B5EF4-FFF2-40B4-BE49-F238E27FC236}">
                      <a16:creationId xmlns:a16="http://schemas.microsoft.com/office/drawing/2014/main" id="{9927780B-0302-F709-F57B-AB531B6E46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1" name="Graphic 330">
                  <a:extLst>
                    <a:ext uri="{FF2B5EF4-FFF2-40B4-BE49-F238E27FC236}">
                      <a16:creationId xmlns:a16="http://schemas.microsoft.com/office/drawing/2014/main" id="{7F7FB845-6409-B9F6-F5E8-2771A6EC260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2" name="Graphic 331">
                  <a:extLst>
                    <a:ext uri="{FF2B5EF4-FFF2-40B4-BE49-F238E27FC236}">
                      <a16:creationId xmlns:a16="http://schemas.microsoft.com/office/drawing/2014/main" id="{E998F9B0-5E2A-095E-E60A-9F069CD700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333" name="Graphic 332">
                  <a:extLst>
                    <a:ext uri="{FF2B5EF4-FFF2-40B4-BE49-F238E27FC236}">
                      <a16:creationId xmlns:a16="http://schemas.microsoft.com/office/drawing/2014/main" id="{9E192335-C438-08E4-7B0E-F78C2B764A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4" name="Graphic 333">
                  <a:extLst>
                    <a:ext uri="{FF2B5EF4-FFF2-40B4-BE49-F238E27FC236}">
                      <a16:creationId xmlns:a16="http://schemas.microsoft.com/office/drawing/2014/main" id="{55764B7F-1232-64AF-F2DB-88C52751DC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335" name="Graphic 334">
                  <a:extLst>
                    <a:ext uri="{FF2B5EF4-FFF2-40B4-BE49-F238E27FC236}">
                      <a16:creationId xmlns:a16="http://schemas.microsoft.com/office/drawing/2014/main" id="{BABC1089-16D1-751E-20CA-0941C7872C6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6" name="Graphic 335">
                  <a:extLst>
                    <a:ext uri="{FF2B5EF4-FFF2-40B4-BE49-F238E27FC236}">
                      <a16:creationId xmlns:a16="http://schemas.microsoft.com/office/drawing/2014/main" id="{F67758FF-1E03-3544-323A-E6BE81639C3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7" name="Graphic 336">
                  <a:extLst>
                    <a:ext uri="{FF2B5EF4-FFF2-40B4-BE49-F238E27FC236}">
                      <a16:creationId xmlns:a16="http://schemas.microsoft.com/office/drawing/2014/main" id="{CAB8DC38-1345-7B2F-653E-2AEA5096DC3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8" name="Graphic 337">
                  <a:extLst>
                    <a:ext uri="{FF2B5EF4-FFF2-40B4-BE49-F238E27FC236}">
                      <a16:creationId xmlns:a16="http://schemas.microsoft.com/office/drawing/2014/main" id="{5CA26810-040E-BBD2-69D6-F9111A60A6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39" name="Graphic 338">
                  <a:extLst>
                    <a:ext uri="{FF2B5EF4-FFF2-40B4-BE49-F238E27FC236}">
                      <a16:creationId xmlns:a16="http://schemas.microsoft.com/office/drawing/2014/main" id="{73CB508F-BCFA-967E-4C2D-CE3CBA3EB06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0" name="Graphic 339">
                  <a:extLst>
                    <a:ext uri="{FF2B5EF4-FFF2-40B4-BE49-F238E27FC236}">
                      <a16:creationId xmlns:a16="http://schemas.microsoft.com/office/drawing/2014/main" id="{130A9D94-7B0B-AF7C-0DF7-DDABBB9D1BA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341" name="Graphic 340">
                  <a:extLst>
                    <a:ext uri="{FF2B5EF4-FFF2-40B4-BE49-F238E27FC236}">
                      <a16:creationId xmlns:a16="http://schemas.microsoft.com/office/drawing/2014/main" id="{A5F32F9C-2362-5426-C493-57E06D6E55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324" name="Graphic 323">
                <a:extLst>
                  <a:ext uri="{FF2B5EF4-FFF2-40B4-BE49-F238E27FC236}">
                    <a16:creationId xmlns:a16="http://schemas.microsoft.com/office/drawing/2014/main" id="{F0E1821C-09EC-AAA5-F498-93ED2352BE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25" name="Graphic 324">
                <a:extLst>
                  <a:ext uri="{FF2B5EF4-FFF2-40B4-BE49-F238E27FC236}">
                    <a16:creationId xmlns:a16="http://schemas.microsoft.com/office/drawing/2014/main" id="{09DAEADC-46D4-2295-5B7D-0B6CF53A0E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26" name="Graphic 325">
                <a:extLst>
                  <a:ext uri="{FF2B5EF4-FFF2-40B4-BE49-F238E27FC236}">
                    <a16:creationId xmlns:a16="http://schemas.microsoft.com/office/drawing/2014/main" id="{F830CD32-F01E-AAF4-180D-7AFE5D9680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327" name="Graphic 326">
                <a:extLst>
                  <a:ext uri="{FF2B5EF4-FFF2-40B4-BE49-F238E27FC236}">
                    <a16:creationId xmlns:a16="http://schemas.microsoft.com/office/drawing/2014/main" id="{3052B8E4-5D6D-5577-0D1B-51EA1714DD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99F24113-762A-D01C-3545-6A660841DDFA}"/>
                </a:ext>
              </a:extLst>
            </p:cNvPr>
            <p:cNvGrpSpPr/>
            <p:nvPr/>
          </p:nvGrpSpPr>
          <p:grpSpPr>
            <a:xfrm>
              <a:off x="550882" y="4063083"/>
              <a:ext cx="137353" cy="135679"/>
              <a:chOff x="5071590" y="2724817"/>
              <a:chExt cx="1901239" cy="1655213"/>
            </a:xfrm>
          </p:grpSpPr>
          <p:grpSp>
            <p:nvGrpSpPr>
              <p:cNvPr id="276" name="Group 275">
                <a:extLst>
                  <a:ext uri="{FF2B5EF4-FFF2-40B4-BE49-F238E27FC236}">
                    <a16:creationId xmlns:a16="http://schemas.microsoft.com/office/drawing/2014/main" id="{5DB4E047-D1C5-4AF6-3009-6433CFF5E707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281" name="Group 280">
                  <a:extLst>
                    <a:ext uri="{FF2B5EF4-FFF2-40B4-BE49-F238E27FC236}">
                      <a16:creationId xmlns:a16="http://schemas.microsoft.com/office/drawing/2014/main" id="{A6D92D7C-2225-FFB3-8108-7B4A9CD9401C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296" name="Oval 295">
                    <a:extLst>
                      <a:ext uri="{FF2B5EF4-FFF2-40B4-BE49-F238E27FC236}">
                        <a16:creationId xmlns:a16="http://schemas.microsoft.com/office/drawing/2014/main" id="{057D4880-EDE6-9D1A-3840-08E81349DC34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297" name="Group 296">
                    <a:extLst>
                      <a:ext uri="{FF2B5EF4-FFF2-40B4-BE49-F238E27FC236}">
                        <a16:creationId xmlns:a16="http://schemas.microsoft.com/office/drawing/2014/main" id="{59084BB5-9FFC-405D-17A9-A772E4C2D103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298" name="Graphic 297">
                      <a:extLst>
                        <a:ext uri="{FF2B5EF4-FFF2-40B4-BE49-F238E27FC236}">
                          <a16:creationId xmlns:a16="http://schemas.microsoft.com/office/drawing/2014/main" id="{7B7E2055-31AD-F611-3D03-3FC5D136A75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99" name="Graphic 298">
                      <a:extLst>
                        <a:ext uri="{FF2B5EF4-FFF2-40B4-BE49-F238E27FC236}">
                          <a16:creationId xmlns:a16="http://schemas.microsoft.com/office/drawing/2014/main" id="{BE883786-8FE9-626D-56F4-D8ACEB2F135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0" name="Graphic 299">
                      <a:extLst>
                        <a:ext uri="{FF2B5EF4-FFF2-40B4-BE49-F238E27FC236}">
                          <a16:creationId xmlns:a16="http://schemas.microsoft.com/office/drawing/2014/main" id="{38BD9F90-0ACD-6322-435D-E301C9E2D52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1" name="Graphic 300">
                      <a:extLst>
                        <a:ext uri="{FF2B5EF4-FFF2-40B4-BE49-F238E27FC236}">
                          <a16:creationId xmlns:a16="http://schemas.microsoft.com/office/drawing/2014/main" id="{E9549B11-1A70-DE04-5C3A-F7E97BB48B8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2" name="Graphic 301">
                      <a:extLst>
                        <a:ext uri="{FF2B5EF4-FFF2-40B4-BE49-F238E27FC236}">
                          <a16:creationId xmlns:a16="http://schemas.microsoft.com/office/drawing/2014/main" id="{81BD19ED-A555-4245-783D-CFC430BC47F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3" name="Graphic 302">
                      <a:extLst>
                        <a:ext uri="{FF2B5EF4-FFF2-40B4-BE49-F238E27FC236}">
                          <a16:creationId xmlns:a16="http://schemas.microsoft.com/office/drawing/2014/main" id="{42116C10-3939-C401-B60B-EA0B2ADED6B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4" name="Graphic 303">
                      <a:extLst>
                        <a:ext uri="{FF2B5EF4-FFF2-40B4-BE49-F238E27FC236}">
                          <a16:creationId xmlns:a16="http://schemas.microsoft.com/office/drawing/2014/main" id="{9ECF08A4-01C2-85C1-6402-406D63E33AC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5" name="Graphic 304">
                      <a:extLst>
                        <a:ext uri="{FF2B5EF4-FFF2-40B4-BE49-F238E27FC236}">
                          <a16:creationId xmlns:a16="http://schemas.microsoft.com/office/drawing/2014/main" id="{4DB77C6E-7218-DE7E-1EC5-F3A838159DF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6" name="Graphic 305">
                      <a:extLst>
                        <a:ext uri="{FF2B5EF4-FFF2-40B4-BE49-F238E27FC236}">
                          <a16:creationId xmlns:a16="http://schemas.microsoft.com/office/drawing/2014/main" id="{CE0432C5-7D3C-0104-1C1F-4707BFE6C02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7" name="Graphic 306">
                      <a:extLst>
                        <a:ext uri="{FF2B5EF4-FFF2-40B4-BE49-F238E27FC236}">
                          <a16:creationId xmlns:a16="http://schemas.microsoft.com/office/drawing/2014/main" id="{2A8E08E7-F9BD-A67F-8D32-1A57C735E9E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8" name="Graphic 307">
                      <a:extLst>
                        <a:ext uri="{FF2B5EF4-FFF2-40B4-BE49-F238E27FC236}">
                          <a16:creationId xmlns:a16="http://schemas.microsoft.com/office/drawing/2014/main" id="{F51586BC-EDB5-3E6E-A323-0FD8DBA75C0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9" name="Graphic 308">
                      <a:extLst>
                        <a:ext uri="{FF2B5EF4-FFF2-40B4-BE49-F238E27FC236}">
                          <a16:creationId xmlns:a16="http://schemas.microsoft.com/office/drawing/2014/main" id="{2A715CD6-CAF2-4702-5C37-BC10E53F312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0" name="Graphic 309">
                      <a:extLst>
                        <a:ext uri="{FF2B5EF4-FFF2-40B4-BE49-F238E27FC236}">
                          <a16:creationId xmlns:a16="http://schemas.microsoft.com/office/drawing/2014/main" id="{9A503A50-C063-0FFC-446C-916DC35AAF7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5" name="Graphic 314">
                      <a:extLst>
                        <a:ext uri="{FF2B5EF4-FFF2-40B4-BE49-F238E27FC236}">
                          <a16:creationId xmlns:a16="http://schemas.microsoft.com/office/drawing/2014/main" id="{E85DDA73-1414-2F6B-647D-01B53F7F7CE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6" name="Graphic 315">
                      <a:extLst>
                        <a:ext uri="{FF2B5EF4-FFF2-40B4-BE49-F238E27FC236}">
                          <a16:creationId xmlns:a16="http://schemas.microsoft.com/office/drawing/2014/main" id="{BB8F5A35-DAD9-4FD0-B3BB-1629FF19CFA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7" name="Graphic 316">
                      <a:extLst>
                        <a:ext uri="{FF2B5EF4-FFF2-40B4-BE49-F238E27FC236}">
                          <a16:creationId xmlns:a16="http://schemas.microsoft.com/office/drawing/2014/main" id="{B48E57D9-7A7B-8A31-CE63-584ACAFDE58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8" name="Graphic 317">
                      <a:extLst>
                        <a:ext uri="{FF2B5EF4-FFF2-40B4-BE49-F238E27FC236}">
                          <a16:creationId xmlns:a16="http://schemas.microsoft.com/office/drawing/2014/main" id="{AE6EBCB6-2CAA-B69F-A660-79AB7B5EE09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9" name="Graphic 318">
                      <a:extLst>
                        <a:ext uri="{FF2B5EF4-FFF2-40B4-BE49-F238E27FC236}">
                          <a16:creationId xmlns:a16="http://schemas.microsoft.com/office/drawing/2014/main" id="{8CD4D0B3-778A-161D-7E84-62D2D50BCF0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0" name="Graphic 319">
                      <a:extLst>
                        <a:ext uri="{FF2B5EF4-FFF2-40B4-BE49-F238E27FC236}">
                          <a16:creationId xmlns:a16="http://schemas.microsoft.com/office/drawing/2014/main" id="{715F9FAC-F8AF-9358-D04E-05C9CFA2F44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1" name="Graphic 320">
                      <a:extLst>
                        <a:ext uri="{FF2B5EF4-FFF2-40B4-BE49-F238E27FC236}">
                          <a16:creationId xmlns:a16="http://schemas.microsoft.com/office/drawing/2014/main" id="{514F76E3-AD25-78E1-F948-0E872B528E2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22" name="Graphic 321">
                      <a:extLst>
                        <a:ext uri="{FF2B5EF4-FFF2-40B4-BE49-F238E27FC236}">
                          <a16:creationId xmlns:a16="http://schemas.microsoft.com/office/drawing/2014/main" id="{1729DD19-5139-7783-147B-AA74CFFCDE9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282" name="Graphic 281">
                  <a:extLst>
                    <a:ext uri="{FF2B5EF4-FFF2-40B4-BE49-F238E27FC236}">
                      <a16:creationId xmlns:a16="http://schemas.microsoft.com/office/drawing/2014/main" id="{9FA10D48-86B8-6818-F2F8-3523F65EC1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83" name="Graphic 282">
                  <a:extLst>
                    <a:ext uri="{FF2B5EF4-FFF2-40B4-BE49-F238E27FC236}">
                      <a16:creationId xmlns:a16="http://schemas.microsoft.com/office/drawing/2014/main" id="{6F590135-001F-9CA0-339E-AE15842C82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84" name="Graphic 283">
                  <a:extLst>
                    <a:ext uri="{FF2B5EF4-FFF2-40B4-BE49-F238E27FC236}">
                      <a16:creationId xmlns:a16="http://schemas.microsoft.com/office/drawing/2014/main" id="{4B5E8B00-8EF4-CC20-BAAD-CD805D4FCC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85" name="Graphic 284">
                  <a:extLst>
                    <a:ext uri="{FF2B5EF4-FFF2-40B4-BE49-F238E27FC236}">
                      <a16:creationId xmlns:a16="http://schemas.microsoft.com/office/drawing/2014/main" id="{0A1A1E1E-576C-DA20-CEC1-E08EB2ADC5A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286" name="Graphic 285">
                  <a:extLst>
                    <a:ext uri="{FF2B5EF4-FFF2-40B4-BE49-F238E27FC236}">
                      <a16:creationId xmlns:a16="http://schemas.microsoft.com/office/drawing/2014/main" id="{792094C7-D1BD-4E7D-3584-C57FB1DA8A2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87" name="Graphic 286">
                  <a:extLst>
                    <a:ext uri="{FF2B5EF4-FFF2-40B4-BE49-F238E27FC236}">
                      <a16:creationId xmlns:a16="http://schemas.microsoft.com/office/drawing/2014/main" id="{D476F526-55DD-57A1-0308-328B4CE3542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288" name="Graphic 287">
                  <a:extLst>
                    <a:ext uri="{FF2B5EF4-FFF2-40B4-BE49-F238E27FC236}">
                      <a16:creationId xmlns:a16="http://schemas.microsoft.com/office/drawing/2014/main" id="{F602619B-E536-A872-8487-93F4BA8CC64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89" name="Graphic 288">
                  <a:extLst>
                    <a:ext uri="{FF2B5EF4-FFF2-40B4-BE49-F238E27FC236}">
                      <a16:creationId xmlns:a16="http://schemas.microsoft.com/office/drawing/2014/main" id="{4C861CC3-CCD1-8FDB-DE5D-DE99548C4C8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90" name="Graphic 289">
                  <a:extLst>
                    <a:ext uri="{FF2B5EF4-FFF2-40B4-BE49-F238E27FC236}">
                      <a16:creationId xmlns:a16="http://schemas.microsoft.com/office/drawing/2014/main" id="{BE8331B1-3DBB-F1DF-A0A9-FE7BB3EE00B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91" name="Graphic 290">
                  <a:extLst>
                    <a:ext uri="{FF2B5EF4-FFF2-40B4-BE49-F238E27FC236}">
                      <a16:creationId xmlns:a16="http://schemas.microsoft.com/office/drawing/2014/main" id="{E7FE36B1-3624-4BA5-C022-19AA97185E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92" name="Graphic 291">
                  <a:extLst>
                    <a:ext uri="{FF2B5EF4-FFF2-40B4-BE49-F238E27FC236}">
                      <a16:creationId xmlns:a16="http://schemas.microsoft.com/office/drawing/2014/main" id="{A32A359D-0BA0-B9D7-1CE0-0211C14EF31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93" name="Graphic 292">
                  <a:extLst>
                    <a:ext uri="{FF2B5EF4-FFF2-40B4-BE49-F238E27FC236}">
                      <a16:creationId xmlns:a16="http://schemas.microsoft.com/office/drawing/2014/main" id="{7576DB27-3A0C-5D15-5D62-742153CD0B7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94" name="Graphic 293">
                  <a:extLst>
                    <a:ext uri="{FF2B5EF4-FFF2-40B4-BE49-F238E27FC236}">
                      <a16:creationId xmlns:a16="http://schemas.microsoft.com/office/drawing/2014/main" id="{1E240B0E-D864-A325-A3D2-8E655203E84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277" name="Graphic 276">
                <a:extLst>
                  <a:ext uri="{FF2B5EF4-FFF2-40B4-BE49-F238E27FC236}">
                    <a16:creationId xmlns:a16="http://schemas.microsoft.com/office/drawing/2014/main" id="{7AFC431E-F8C5-602C-54F5-6525241A4C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278" name="Graphic 277">
                <a:extLst>
                  <a:ext uri="{FF2B5EF4-FFF2-40B4-BE49-F238E27FC236}">
                    <a16:creationId xmlns:a16="http://schemas.microsoft.com/office/drawing/2014/main" id="{290C3CAF-81F3-8264-F736-497A958CE6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279" name="Graphic 278">
                <a:extLst>
                  <a:ext uri="{FF2B5EF4-FFF2-40B4-BE49-F238E27FC236}">
                    <a16:creationId xmlns:a16="http://schemas.microsoft.com/office/drawing/2014/main" id="{41BC27ED-8D98-51E5-7008-9575903B6C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280" name="Graphic 279">
                <a:extLst>
                  <a:ext uri="{FF2B5EF4-FFF2-40B4-BE49-F238E27FC236}">
                    <a16:creationId xmlns:a16="http://schemas.microsoft.com/office/drawing/2014/main" id="{45F51659-A8AF-333A-9B34-D58ACD37BC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20FDF81A-6C5D-C976-E283-E94179D4BACD}"/>
                </a:ext>
              </a:extLst>
            </p:cNvPr>
            <p:cNvGrpSpPr/>
            <p:nvPr/>
          </p:nvGrpSpPr>
          <p:grpSpPr>
            <a:xfrm>
              <a:off x="358695" y="3909640"/>
              <a:ext cx="137353" cy="135679"/>
              <a:chOff x="5071590" y="2724817"/>
              <a:chExt cx="1901239" cy="1655213"/>
            </a:xfrm>
          </p:grpSpPr>
          <p:grpSp>
            <p:nvGrpSpPr>
              <p:cNvPr id="2026" name="Group 2025">
                <a:extLst>
                  <a:ext uri="{FF2B5EF4-FFF2-40B4-BE49-F238E27FC236}">
                    <a16:creationId xmlns:a16="http://schemas.microsoft.com/office/drawing/2014/main" id="{F13D91DE-7869-BCEC-F955-3609F24615D2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2031" name="Group 2030">
                  <a:extLst>
                    <a:ext uri="{FF2B5EF4-FFF2-40B4-BE49-F238E27FC236}">
                      <a16:creationId xmlns:a16="http://schemas.microsoft.com/office/drawing/2014/main" id="{7F212533-B1BE-D0BA-86DF-2F6067B7EB00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2045" name="Oval 2044">
                    <a:extLst>
                      <a:ext uri="{FF2B5EF4-FFF2-40B4-BE49-F238E27FC236}">
                        <a16:creationId xmlns:a16="http://schemas.microsoft.com/office/drawing/2014/main" id="{9E211337-0314-5B9A-35FA-8A0E6DCAE82C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2046" name="Group 2045">
                    <a:extLst>
                      <a:ext uri="{FF2B5EF4-FFF2-40B4-BE49-F238E27FC236}">
                        <a16:creationId xmlns:a16="http://schemas.microsoft.com/office/drawing/2014/main" id="{ADB67B90-A4CF-BBA5-B85C-F011325C5381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2047" name="Graphic 2046">
                      <a:extLst>
                        <a:ext uri="{FF2B5EF4-FFF2-40B4-BE49-F238E27FC236}">
                          <a16:creationId xmlns:a16="http://schemas.microsoft.com/office/drawing/2014/main" id="{352DED6C-8AA9-157F-8EC8-5BE825DE2BC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56" name="Graphic 255">
                      <a:extLst>
                        <a:ext uri="{FF2B5EF4-FFF2-40B4-BE49-F238E27FC236}">
                          <a16:creationId xmlns:a16="http://schemas.microsoft.com/office/drawing/2014/main" id="{B463DD9F-4A02-0089-50EA-EC1CCB85024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57" name="Graphic 256">
                      <a:extLst>
                        <a:ext uri="{FF2B5EF4-FFF2-40B4-BE49-F238E27FC236}">
                          <a16:creationId xmlns:a16="http://schemas.microsoft.com/office/drawing/2014/main" id="{9A03BFAF-6946-C08C-37A8-F7B612FAB39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58" name="Graphic 257">
                      <a:extLst>
                        <a:ext uri="{FF2B5EF4-FFF2-40B4-BE49-F238E27FC236}">
                          <a16:creationId xmlns:a16="http://schemas.microsoft.com/office/drawing/2014/main" id="{DCCDBF64-C871-C849-1103-CB2B2F95C1B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59" name="Graphic 258">
                      <a:extLst>
                        <a:ext uri="{FF2B5EF4-FFF2-40B4-BE49-F238E27FC236}">
                          <a16:creationId xmlns:a16="http://schemas.microsoft.com/office/drawing/2014/main" id="{778A48C8-7BA0-461D-3C66-184AE3000FC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0" name="Graphic 259">
                      <a:extLst>
                        <a:ext uri="{FF2B5EF4-FFF2-40B4-BE49-F238E27FC236}">
                          <a16:creationId xmlns:a16="http://schemas.microsoft.com/office/drawing/2014/main" id="{7A439F91-4798-B1B5-CF64-87839FE39F1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1" name="Graphic 260">
                      <a:extLst>
                        <a:ext uri="{FF2B5EF4-FFF2-40B4-BE49-F238E27FC236}">
                          <a16:creationId xmlns:a16="http://schemas.microsoft.com/office/drawing/2014/main" id="{B0A956F4-1FFB-0B91-C754-99BB196E468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2" name="Graphic 261">
                      <a:extLst>
                        <a:ext uri="{FF2B5EF4-FFF2-40B4-BE49-F238E27FC236}">
                          <a16:creationId xmlns:a16="http://schemas.microsoft.com/office/drawing/2014/main" id="{65F5D474-B0C8-9A29-612F-B1AE608C3CE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3" name="Graphic 262">
                      <a:extLst>
                        <a:ext uri="{FF2B5EF4-FFF2-40B4-BE49-F238E27FC236}">
                          <a16:creationId xmlns:a16="http://schemas.microsoft.com/office/drawing/2014/main" id="{6C6DEB25-1991-607E-A45B-C03633A4455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4" name="Graphic 263">
                      <a:extLst>
                        <a:ext uri="{FF2B5EF4-FFF2-40B4-BE49-F238E27FC236}">
                          <a16:creationId xmlns:a16="http://schemas.microsoft.com/office/drawing/2014/main" id="{ED113DBE-429A-6ABD-6C07-EB3E900CAE0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5" name="Graphic 264">
                      <a:extLst>
                        <a:ext uri="{FF2B5EF4-FFF2-40B4-BE49-F238E27FC236}">
                          <a16:creationId xmlns:a16="http://schemas.microsoft.com/office/drawing/2014/main" id="{ABF60F25-DBBD-2C9C-A0A3-898A4710F08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6" name="Graphic 265">
                      <a:extLst>
                        <a:ext uri="{FF2B5EF4-FFF2-40B4-BE49-F238E27FC236}">
                          <a16:creationId xmlns:a16="http://schemas.microsoft.com/office/drawing/2014/main" id="{C74EBEB9-A0F5-C5A1-3A2C-9E1FE636C6A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7" name="Graphic 266">
                      <a:extLst>
                        <a:ext uri="{FF2B5EF4-FFF2-40B4-BE49-F238E27FC236}">
                          <a16:creationId xmlns:a16="http://schemas.microsoft.com/office/drawing/2014/main" id="{6E89731F-C5F8-2C02-6041-119A640A3CF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8" name="Graphic 267">
                      <a:extLst>
                        <a:ext uri="{FF2B5EF4-FFF2-40B4-BE49-F238E27FC236}">
                          <a16:creationId xmlns:a16="http://schemas.microsoft.com/office/drawing/2014/main" id="{95FF43C9-D62A-D31A-92A4-9F8FE25527B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9" name="Graphic 268">
                      <a:extLst>
                        <a:ext uri="{FF2B5EF4-FFF2-40B4-BE49-F238E27FC236}">
                          <a16:creationId xmlns:a16="http://schemas.microsoft.com/office/drawing/2014/main" id="{7D7DADDF-E90A-16E9-D182-7B66B15C935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70" name="Graphic 269">
                      <a:extLst>
                        <a:ext uri="{FF2B5EF4-FFF2-40B4-BE49-F238E27FC236}">
                          <a16:creationId xmlns:a16="http://schemas.microsoft.com/office/drawing/2014/main" id="{CC3E17FC-6C81-8963-ED8E-696BFA1A64C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71" name="Graphic 270">
                      <a:extLst>
                        <a:ext uri="{FF2B5EF4-FFF2-40B4-BE49-F238E27FC236}">
                          <a16:creationId xmlns:a16="http://schemas.microsoft.com/office/drawing/2014/main" id="{B277F484-EC1B-DD43-68E2-B570410DAD3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72" name="Graphic 271">
                      <a:extLst>
                        <a:ext uri="{FF2B5EF4-FFF2-40B4-BE49-F238E27FC236}">
                          <a16:creationId xmlns:a16="http://schemas.microsoft.com/office/drawing/2014/main" id="{6A976FA3-D2BF-5005-D8C8-7FF0B9F4E3F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73" name="Graphic 272">
                      <a:extLst>
                        <a:ext uri="{FF2B5EF4-FFF2-40B4-BE49-F238E27FC236}">
                          <a16:creationId xmlns:a16="http://schemas.microsoft.com/office/drawing/2014/main" id="{9186FE6B-B55F-772E-EA22-FF32A82BDF0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74" name="Graphic 273">
                      <a:extLst>
                        <a:ext uri="{FF2B5EF4-FFF2-40B4-BE49-F238E27FC236}">
                          <a16:creationId xmlns:a16="http://schemas.microsoft.com/office/drawing/2014/main" id="{DEEA8461-9127-C1BD-6BC0-7D59A6C6C3F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75" name="Graphic 274">
                      <a:extLst>
                        <a:ext uri="{FF2B5EF4-FFF2-40B4-BE49-F238E27FC236}">
                          <a16:creationId xmlns:a16="http://schemas.microsoft.com/office/drawing/2014/main" id="{3BE380BD-5FD9-7FD6-E4D9-CDDA845F426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2032" name="Graphic 2031">
                  <a:extLst>
                    <a:ext uri="{FF2B5EF4-FFF2-40B4-BE49-F238E27FC236}">
                      <a16:creationId xmlns:a16="http://schemas.microsoft.com/office/drawing/2014/main" id="{6E874B30-D3DF-27BB-2C27-548B82F404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033" name="Graphic 2032">
                  <a:extLst>
                    <a:ext uri="{FF2B5EF4-FFF2-40B4-BE49-F238E27FC236}">
                      <a16:creationId xmlns:a16="http://schemas.microsoft.com/office/drawing/2014/main" id="{392928DD-865D-5F58-9251-D47175454C8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034" name="Graphic 2033">
                  <a:extLst>
                    <a:ext uri="{FF2B5EF4-FFF2-40B4-BE49-F238E27FC236}">
                      <a16:creationId xmlns:a16="http://schemas.microsoft.com/office/drawing/2014/main" id="{610F1BC6-7147-4E66-4B5D-8CFC557031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035" name="Graphic 2034">
                  <a:extLst>
                    <a:ext uri="{FF2B5EF4-FFF2-40B4-BE49-F238E27FC236}">
                      <a16:creationId xmlns:a16="http://schemas.microsoft.com/office/drawing/2014/main" id="{F754DE5E-5ABE-2D03-2F57-9022226B27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2036" name="Graphic 2035">
                  <a:extLst>
                    <a:ext uri="{FF2B5EF4-FFF2-40B4-BE49-F238E27FC236}">
                      <a16:creationId xmlns:a16="http://schemas.microsoft.com/office/drawing/2014/main" id="{6DCAD738-31F0-451A-B01A-08039A81590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037" name="Graphic 2036">
                  <a:extLst>
                    <a:ext uri="{FF2B5EF4-FFF2-40B4-BE49-F238E27FC236}">
                      <a16:creationId xmlns:a16="http://schemas.microsoft.com/office/drawing/2014/main" id="{A63F76EB-ADE6-F8B5-E477-156C8D211AF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2038" name="Graphic 2037">
                  <a:extLst>
                    <a:ext uri="{FF2B5EF4-FFF2-40B4-BE49-F238E27FC236}">
                      <a16:creationId xmlns:a16="http://schemas.microsoft.com/office/drawing/2014/main" id="{F312613F-9CA1-74B5-46B9-223C183E1D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039" name="Graphic 2038">
                  <a:extLst>
                    <a:ext uri="{FF2B5EF4-FFF2-40B4-BE49-F238E27FC236}">
                      <a16:creationId xmlns:a16="http://schemas.microsoft.com/office/drawing/2014/main" id="{07478E8A-F91C-41CA-C18E-241C62C8AF9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040" name="Graphic 2039">
                  <a:extLst>
                    <a:ext uri="{FF2B5EF4-FFF2-40B4-BE49-F238E27FC236}">
                      <a16:creationId xmlns:a16="http://schemas.microsoft.com/office/drawing/2014/main" id="{F131EB24-5678-175A-A9BE-49634047092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041" name="Graphic 2040">
                  <a:extLst>
                    <a:ext uri="{FF2B5EF4-FFF2-40B4-BE49-F238E27FC236}">
                      <a16:creationId xmlns:a16="http://schemas.microsoft.com/office/drawing/2014/main" id="{C86B5E0B-A854-B608-E8C9-D6B8D322EB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042" name="Graphic 2041">
                  <a:extLst>
                    <a:ext uri="{FF2B5EF4-FFF2-40B4-BE49-F238E27FC236}">
                      <a16:creationId xmlns:a16="http://schemas.microsoft.com/office/drawing/2014/main" id="{F5832733-9B43-D4F0-7154-F8DAB79CD58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043" name="Graphic 2042">
                  <a:extLst>
                    <a:ext uri="{FF2B5EF4-FFF2-40B4-BE49-F238E27FC236}">
                      <a16:creationId xmlns:a16="http://schemas.microsoft.com/office/drawing/2014/main" id="{98A21250-2028-735E-29EB-E0F56A90F33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044" name="Graphic 2043">
                  <a:extLst>
                    <a:ext uri="{FF2B5EF4-FFF2-40B4-BE49-F238E27FC236}">
                      <a16:creationId xmlns:a16="http://schemas.microsoft.com/office/drawing/2014/main" id="{FA395C06-0818-CB3C-6B48-5DDF4DF90AD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2027" name="Graphic 2026">
                <a:extLst>
                  <a:ext uri="{FF2B5EF4-FFF2-40B4-BE49-F238E27FC236}">
                    <a16:creationId xmlns:a16="http://schemas.microsoft.com/office/drawing/2014/main" id="{ED72D52E-7DC8-995C-BB88-C052ECEDA1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2028" name="Graphic 2027">
                <a:extLst>
                  <a:ext uri="{FF2B5EF4-FFF2-40B4-BE49-F238E27FC236}">
                    <a16:creationId xmlns:a16="http://schemas.microsoft.com/office/drawing/2014/main" id="{BB718197-634D-AD0E-002A-E04AA0407D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2029" name="Graphic 2028">
                <a:extLst>
                  <a:ext uri="{FF2B5EF4-FFF2-40B4-BE49-F238E27FC236}">
                    <a16:creationId xmlns:a16="http://schemas.microsoft.com/office/drawing/2014/main" id="{0B88244F-D09E-335F-B930-03FC093C3D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2030" name="Graphic 2029">
                <a:extLst>
                  <a:ext uri="{FF2B5EF4-FFF2-40B4-BE49-F238E27FC236}">
                    <a16:creationId xmlns:a16="http://schemas.microsoft.com/office/drawing/2014/main" id="{AED4B612-F30A-0BF4-8EA1-17E1EC11B6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DB008AAC-112B-4BF3-637D-D5333CDBBDF5}"/>
                </a:ext>
              </a:extLst>
            </p:cNvPr>
            <p:cNvGrpSpPr/>
            <p:nvPr/>
          </p:nvGrpSpPr>
          <p:grpSpPr>
            <a:xfrm>
              <a:off x="477891" y="3712017"/>
              <a:ext cx="137353" cy="135679"/>
              <a:chOff x="5071590" y="2724817"/>
              <a:chExt cx="1901239" cy="1655213"/>
            </a:xfrm>
          </p:grpSpPr>
          <p:grpSp>
            <p:nvGrpSpPr>
              <p:cNvPr id="188" name="Group 187">
                <a:extLst>
                  <a:ext uri="{FF2B5EF4-FFF2-40B4-BE49-F238E27FC236}">
                    <a16:creationId xmlns:a16="http://schemas.microsoft.com/office/drawing/2014/main" id="{CC7E8CFD-E594-BC61-1D77-3001FE653DBD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1989" name="Group 1988">
                  <a:extLst>
                    <a:ext uri="{FF2B5EF4-FFF2-40B4-BE49-F238E27FC236}">
                      <a16:creationId xmlns:a16="http://schemas.microsoft.com/office/drawing/2014/main" id="{889332EF-BBE9-87B8-CBCC-8F6010BCDE7A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2003" name="Oval 2002">
                    <a:extLst>
                      <a:ext uri="{FF2B5EF4-FFF2-40B4-BE49-F238E27FC236}">
                        <a16:creationId xmlns:a16="http://schemas.microsoft.com/office/drawing/2014/main" id="{6DF9B56F-1A0C-3980-4637-50CAB34C3FA9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2004" name="Group 2003">
                    <a:extLst>
                      <a:ext uri="{FF2B5EF4-FFF2-40B4-BE49-F238E27FC236}">
                        <a16:creationId xmlns:a16="http://schemas.microsoft.com/office/drawing/2014/main" id="{B6BF5A10-1CD5-7836-7F22-9F39911D8E65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2005" name="Graphic 2004">
                      <a:extLst>
                        <a:ext uri="{FF2B5EF4-FFF2-40B4-BE49-F238E27FC236}">
                          <a16:creationId xmlns:a16="http://schemas.microsoft.com/office/drawing/2014/main" id="{381F4F6F-77CE-4084-D64F-5C1D9C122E7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06" name="Graphic 2005">
                      <a:extLst>
                        <a:ext uri="{FF2B5EF4-FFF2-40B4-BE49-F238E27FC236}">
                          <a16:creationId xmlns:a16="http://schemas.microsoft.com/office/drawing/2014/main" id="{B158D96C-A701-A4AD-6ADD-9545FBE8394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07" name="Graphic 2006">
                      <a:extLst>
                        <a:ext uri="{FF2B5EF4-FFF2-40B4-BE49-F238E27FC236}">
                          <a16:creationId xmlns:a16="http://schemas.microsoft.com/office/drawing/2014/main" id="{7B57D92F-953D-49C7-C1A1-F428B5D5248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08" name="Graphic 2007">
                      <a:extLst>
                        <a:ext uri="{FF2B5EF4-FFF2-40B4-BE49-F238E27FC236}">
                          <a16:creationId xmlns:a16="http://schemas.microsoft.com/office/drawing/2014/main" id="{AA901730-5492-9022-2A57-BB746CD65FF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09" name="Graphic 2008">
                      <a:extLst>
                        <a:ext uri="{FF2B5EF4-FFF2-40B4-BE49-F238E27FC236}">
                          <a16:creationId xmlns:a16="http://schemas.microsoft.com/office/drawing/2014/main" id="{AF684ECC-23B1-EE74-52AB-3B77AD28CD9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10" name="Graphic 2009">
                      <a:extLst>
                        <a:ext uri="{FF2B5EF4-FFF2-40B4-BE49-F238E27FC236}">
                          <a16:creationId xmlns:a16="http://schemas.microsoft.com/office/drawing/2014/main" id="{310D7402-8ABA-B9AE-8273-4CC00BC521E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11" name="Graphic 2010">
                      <a:extLst>
                        <a:ext uri="{FF2B5EF4-FFF2-40B4-BE49-F238E27FC236}">
                          <a16:creationId xmlns:a16="http://schemas.microsoft.com/office/drawing/2014/main" id="{26C6C417-0193-CC2F-7B59-5AE3776FE3F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12" name="Graphic 2011">
                      <a:extLst>
                        <a:ext uri="{FF2B5EF4-FFF2-40B4-BE49-F238E27FC236}">
                          <a16:creationId xmlns:a16="http://schemas.microsoft.com/office/drawing/2014/main" id="{69AF954D-4D5A-427A-DF98-6A79AD03323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13" name="Graphic 2012">
                      <a:extLst>
                        <a:ext uri="{FF2B5EF4-FFF2-40B4-BE49-F238E27FC236}">
                          <a16:creationId xmlns:a16="http://schemas.microsoft.com/office/drawing/2014/main" id="{436E0A78-7EFD-0EEE-4A30-8E37B05F731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14" name="Graphic 2013">
                      <a:extLst>
                        <a:ext uri="{FF2B5EF4-FFF2-40B4-BE49-F238E27FC236}">
                          <a16:creationId xmlns:a16="http://schemas.microsoft.com/office/drawing/2014/main" id="{DFA1BB3E-4C11-6063-CF6A-0C134E56061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15" name="Graphic 2014">
                      <a:extLst>
                        <a:ext uri="{FF2B5EF4-FFF2-40B4-BE49-F238E27FC236}">
                          <a16:creationId xmlns:a16="http://schemas.microsoft.com/office/drawing/2014/main" id="{E56284DB-18A6-BC1F-02E1-F56BA5A1889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16" name="Graphic 2015">
                      <a:extLst>
                        <a:ext uri="{FF2B5EF4-FFF2-40B4-BE49-F238E27FC236}">
                          <a16:creationId xmlns:a16="http://schemas.microsoft.com/office/drawing/2014/main" id="{D8D3C4B0-3211-F6CB-F0FC-37F7EED184E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17" name="Graphic 2016">
                      <a:extLst>
                        <a:ext uri="{FF2B5EF4-FFF2-40B4-BE49-F238E27FC236}">
                          <a16:creationId xmlns:a16="http://schemas.microsoft.com/office/drawing/2014/main" id="{4D46151D-7621-4672-4DE4-A83BD21D62F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18" name="Graphic 2017">
                      <a:extLst>
                        <a:ext uri="{FF2B5EF4-FFF2-40B4-BE49-F238E27FC236}">
                          <a16:creationId xmlns:a16="http://schemas.microsoft.com/office/drawing/2014/main" id="{99D773C7-FF1A-84E9-A316-42893E9ABAF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19" name="Graphic 2018">
                      <a:extLst>
                        <a:ext uri="{FF2B5EF4-FFF2-40B4-BE49-F238E27FC236}">
                          <a16:creationId xmlns:a16="http://schemas.microsoft.com/office/drawing/2014/main" id="{1580ACA7-5258-4307-A8BD-488B56FC107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20" name="Graphic 2019">
                      <a:extLst>
                        <a:ext uri="{FF2B5EF4-FFF2-40B4-BE49-F238E27FC236}">
                          <a16:creationId xmlns:a16="http://schemas.microsoft.com/office/drawing/2014/main" id="{C8C8CCFC-EDF4-26B6-53E6-62A8789BA45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21" name="Graphic 2020">
                      <a:extLst>
                        <a:ext uri="{FF2B5EF4-FFF2-40B4-BE49-F238E27FC236}">
                          <a16:creationId xmlns:a16="http://schemas.microsoft.com/office/drawing/2014/main" id="{A3FBEDDD-3A6E-3654-2E63-57242EF91CC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22" name="Graphic 2021">
                      <a:extLst>
                        <a:ext uri="{FF2B5EF4-FFF2-40B4-BE49-F238E27FC236}">
                          <a16:creationId xmlns:a16="http://schemas.microsoft.com/office/drawing/2014/main" id="{00CE3BD1-4D18-AA5A-48FB-42DABE8DF7D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23" name="Graphic 2022">
                      <a:extLst>
                        <a:ext uri="{FF2B5EF4-FFF2-40B4-BE49-F238E27FC236}">
                          <a16:creationId xmlns:a16="http://schemas.microsoft.com/office/drawing/2014/main" id="{F899F607-0B1E-1C6A-8E85-9CCC8176482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24" name="Graphic 2023">
                      <a:extLst>
                        <a:ext uri="{FF2B5EF4-FFF2-40B4-BE49-F238E27FC236}">
                          <a16:creationId xmlns:a16="http://schemas.microsoft.com/office/drawing/2014/main" id="{90046C8E-2093-9E9B-6822-69FEDBE7EED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025" name="Graphic 2024">
                      <a:extLst>
                        <a:ext uri="{FF2B5EF4-FFF2-40B4-BE49-F238E27FC236}">
                          <a16:creationId xmlns:a16="http://schemas.microsoft.com/office/drawing/2014/main" id="{BEA82230-EC34-4B7D-19D5-F5569344B17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1990" name="Graphic 1989">
                  <a:extLst>
                    <a:ext uri="{FF2B5EF4-FFF2-40B4-BE49-F238E27FC236}">
                      <a16:creationId xmlns:a16="http://schemas.microsoft.com/office/drawing/2014/main" id="{2EE0750D-5EBB-90E0-7EBE-337A91C2B26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91" name="Graphic 1990">
                  <a:extLst>
                    <a:ext uri="{FF2B5EF4-FFF2-40B4-BE49-F238E27FC236}">
                      <a16:creationId xmlns:a16="http://schemas.microsoft.com/office/drawing/2014/main" id="{44B0E314-305D-7519-42A0-19BCE08EDD0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92" name="Graphic 1991">
                  <a:extLst>
                    <a:ext uri="{FF2B5EF4-FFF2-40B4-BE49-F238E27FC236}">
                      <a16:creationId xmlns:a16="http://schemas.microsoft.com/office/drawing/2014/main" id="{324992F9-C1CE-00BB-74E9-F743E99BD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93" name="Graphic 1992">
                  <a:extLst>
                    <a:ext uri="{FF2B5EF4-FFF2-40B4-BE49-F238E27FC236}">
                      <a16:creationId xmlns:a16="http://schemas.microsoft.com/office/drawing/2014/main" id="{AEDB2044-F35A-CA40-849B-7175504124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1994" name="Graphic 1993">
                  <a:extLst>
                    <a:ext uri="{FF2B5EF4-FFF2-40B4-BE49-F238E27FC236}">
                      <a16:creationId xmlns:a16="http://schemas.microsoft.com/office/drawing/2014/main" id="{725A82B9-AFB3-739B-74B3-865838DD8B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95" name="Graphic 1994">
                  <a:extLst>
                    <a:ext uri="{FF2B5EF4-FFF2-40B4-BE49-F238E27FC236}">
                      <a16:creationId xmlns:a16="http://schemas.microsoft.com/office/drawing/2014/main" id="{E561902B-3649-5C98-7557-90217C203C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1996" name="Graphic 1995">
                  <a:extLst>
                    <a:ext uri="{FF2B5EF4-FFF2-40B4-BE49-F238E27FC236}">
                      <a16:creationId xmlns:a16="http://schemas.microsoft.com/office/drawing/2014/main" id="{538C9443-6841-A91F-8CDF-0E96D66388D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97" name="Graphic 1996">
                  <a:extLst>
                    <a:ext uri="{FF2B5EF4-FFF2-40B4-BE49-F238E27FC236}">
                      <a16:creationId xmlns:a16="http://schemas.microsoft.com/office/drawing/2014/main" id="{FDC673A4-A61C-F8BA-ABA9-8869EEF80E8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98" name="Graphic 1997">
                  <a:extLst>
                    <a:ext uri="{FF2B5EF4-FFF2-40B4-BE49-F238E27FC236}">
                      <a16:creationId xmlns:a16="http://schemas.microsoft.com/office/drawing/2014/main" id="{AD73BC2F-2EE0-CAE8-5B9B-65F45F3E42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99" name="Graphic 1998">
                  <a:extLst>
                    <a:ext uri="{FF2B5EF4-FFF2-40B4-BE49-F238E27FC236}">
                      <a16:creationId xmlns:a16="http://schemas.microsoft.com/office/drawing/2014/main" id="{710CFCDA-C747-0A82-1215-5D59A5938F0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000" name="Graphic 1999">
                  <a:extLst>
                    <a:ext uri="{FF2B5EF4-FFF2-40B4-BE49-F238E27FC236}">
                      <a16:creationId xmlns:a16="http://schemas.microsoft.com/office/drawing/2014/main" id="{AE5D0945-896F-7B19-3BFE-1ACE3BE259F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001" name="Graphic 2000">
                  <a:extLst>
                    <a:ext uri="{FF2B5EF4-FFF2-40B4-BE49-F238E27FC236}">
                      <a16:creationId xmlns:a16="http://schemas.microsoft.com/office/drawing/2014/main" id="{6B6D39A0-BF20-70F5-BDAE-7DAADAB5BF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2002" name="Graphic 2001">
                  <a:extLst>
                    <a:ext uri="{FF2B5EF4-FFF2-40B4-BE49-F238E27FC236}">
                      <a16:creationId xmlns:a16="http://schemas.microsoft.com/office/drawing/2014/main" id="{445ABA0D-5742-6B65-17B5-80AFE8766CC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189" name="Graphic 188">
                <a:extLst>
                  <a:ext uri="{FF2B5EF4-FFF2-40B4-BE49-F238E27FC236}">
                    <a16:creationId xmlns:a16="http://schemas.microsoft.com/office/drawing/2014/main" id="{86E62DF0-D6E0-A3CD-D350-CF0A5E378F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190" name="Graphic 189">
                <a:extLst>
                  <a:ext uri="{FF2B5EF4-FFF2-40B4-BE49-F238E27FC236}">
                    <a16:creationId xmlns:a16="http://schemas.microsoft.com/office/drawing/2014/main" id="{F2C8D81E-7F43-7884-F77C-F3DD1828E1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191" name="Graphic 190">
                <a:extLst>
                  <a:ext uri="{FF2B5EF4-FFF2-40B4-BE49-F238E27FC236}">
                    <a16:creationId xmlns:a16="http://schemas.microsoft.com/office/drawing/2014/main" id="{CB0E7AAD-CE38-F08F-AE8F-61E2AE14AE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1988" name="Graphic 1987">
                <a:extLst>
                  <a:ext uri="{FF2B5EF4-FFF2-40B4-BE49-F238E27FC236}">
                    <a16:creationId xmlns:a16="http://schemas.microsoft.com/office/drawing/2014/main" id="{0ABBE043-E35D-BDCC-910D-5E30A273A1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0C0D3227-D8D9-8DA2-BE58-088B968DAFA4}"/>
                </a:ext>
              </a:extLst>
            </p:cNvPr>
            <p:cNvGrpSpPr/>
            <p:nvPr/>
          </p:nvGrpSpPr>
          <p:grpSpPr>
            <a:xfrm>
              <a:off x="666831" y="3801602"/>
              <a:ext cx="107097" cy="105792"/>
              <a:chOff x="5071590" y="2724817"/>
              <a:chExt cx="1901239" cy="1655213"/>
            </a:xfrm>
          </p:grpSpPr>
          <p:grpSp>
            <p:nvGrpSpPr>
              <p:cNvPr id="134" name="Group 133">
                <a:extLst>
                  <a:ext uri="{FF2B5EF4-FFF2-40B4-BE49-F238E27FC236}">
                    <a16:creationId xmlns:a16="http://schemas.microsoft.com/office/drawing/2014/main" id="{0B3CDD10-1EF0-F8D8-D4D7-3E575C3DBCE8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139" name="Group 138">
                  <a:extLst>
                    <a:ext uri="{FF2B5EF4-FFF2-40B4-BE49-F238E27FC236}">
                      <a16:creationId xmlns:a16="http://schemas.microsoft.com/office/drawing/2014/main" id="{5495A80E-3259-4011-0CBC-447530AB3A38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153" name="Oval 152">
                    <a:extLst>
                      <a:ext uri="{FF2B5EF4-FFF2-40B4-BE49-F238E27FC236}">
                        <a16:creationId xmlns:a16="http://schemas.microsoft.com/office/drawing/2014/main" id="{8B30FCDB-9BE0-E38E-95BF-BE2CC2A6AFA9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54" name="Group 153">
                    <a:extLst>
                      <a:ext uri="{FF2B5EF4-FFF2-40B4-BE49-F238E27FC236}">
                        <a16:creationId xmlns:a16="http://schemas.microsoft.com/office/drawing/2014/main" id="{DD8232CD-4D86-E15D-841A-CDA5A38CC68E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155" name="Graphic 154">
                      <a:extLst>
                        <a:ext uri="{FF2B5EF4-FFF2-40B4-BE49-F238E27FC236}">
                          <a16:creationId xmlns:a16="http://schemas.microsoft.com/office/drawing/2014/main" id="{BA282ABC-1E1A-AA85-DCC9-25328FC706F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57" name="Graphic 156">
                      <a:extLst>
                        <a:ext uri="{FF2B5EF4-FFF2-40B4-BE49-F238E27FC236}">
                          <a16:creationId xmlns:a16="http://schemas.microsoft.com/office/drawing/2014/main" id="{5CDB5311-C41F-0FFB-1A2B-E7C3B98CD39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58" name="Graphic 157">
                      <a:extLst>
                        <a:ext uri="{FF2B5EF4-FFF2-40B4-BE49-F238E27FC236}">
                          <a16:creationId xmlns:a16="http://schemas.microsoft.com/office/drawing/2014/main" id="{D04285AC-BC88-BF4D-5CCD-C31227ACEB5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59" name="Graphic 158">
                      <a:extLst>
                        <a:ext uri="{FF2B5EF4-FFF2-40B4-BE49-F238E27FC236}">
                          <a16:creationId xmlns:a16="http://schemas.microsoft.com/office/drawing/2014/main" id="{F2525A91-ECB9-A4FF-2B4E-AB8DD46C5EB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3" name="Graphic 162">
                      <a:extLst>
                        <a:ext uri="{FF2B5EF4-FFF2-40B4-BE49-F238E27FC236}">
                          <a16:creationId xmlns:a16="http://schemas.microsoft.com/office/drawing/2014/main" id="{FB24CA10-23AA-9C19-A0AF-5930D31D1B4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5" name="Graphic 164">
                      <a:extLst>
                        <a:ext uri="{FF2B5EF4-FFF2-40B4-BE49-F238E27FC236}">
                          <a16:creationId xmlns:a16="http://schemas.microsoft.com/office/drawing/2014/main" id="{E2DEAFD5-40B7-8DAC-C723-F82395F68A0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3" name="Graphic 172">
                      <a:extLst>
                        <a:ext uri="{FF2B5EF4-FFF2-40B4-BE49-F238E27FC236}">
                          <a16:creationId xmlns:a16="http://schemas.microsoft.com/office/drawing/2014/main" id="{6F36554E-BDD2-9C36-A7AF-88EC0E6150C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4" name="Graphic 173">
                      <a:extLst>
                        <a:ext uri="{FF2B5EF4-FFF2-40B4-BE49-F238E27FC236}">
                          <a16:creationId xmlns:a16="http://schemas.microsoft.com/office/drawing/2014/main" id="{E9A752BE-AC7E-812B-A7E1-F7EA88B3E1F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5" name="Graphic 174">
                      <a:extLst>
                        <a:ext uri="{FF2B5EF4-FFF2-40B4-BE49-F238E27FC236}">
                          <a16:creationId xmlns:a16="http://schemas.microsoft.com/office/drawing/2014/main" id="{69A30573-2D55-5E86-70EE-31AEC5AD218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6" name="Graphic 175">
                      <a:extLst>
                        <a:ext uri="{FF2B5EF4-FFF2-40B4-BE49-F238E27FC236}">
                          <a16:creationId xmlns:a16="http://schemas.microsoft.com/office/drawing/2014/main" id="{8E9A994F-A75A-D428-8086-29080E0B77A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7" name="Graphic 176">
                      <a:extLst>
                        <a:ext uri="{FF2B5EF4-FFF2-40B4-BE49-F238E27FC236}">
                          <a16:creationId xmlns:a16="http://schemas.microsoft.com/office/drawing/2014/main" id="{8B878E8F-989F-9DED-3B94-EEC0A672F8D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8" name="Graphic 177">
                      <a:extLst>
                        <a:ext uri="{FF2B5EF4-FFF2-40B4-BE49-F238E27FC236}">
                          <a16:creationId xmlns:a16="http://schemas.microsoft.com/office/drawing/2014/main" id="{E5A61873-41EC-65CF-7519-821FA217BEC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9" name="Graphic 178">
                      <a:extLst>
                        <a:ext uri="{FF2B5EF4-FFF2-40B4-BE49-F238E27FC236}">
                          <a16:creationId xmlns:a16="http://schemas.microsoft.com/office/drawing/2014/main" id="{EEFB59F5-C2CA-8E9B-0C19-2F995C78292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0" name="Graphic 179">
                      <a:extLst>
                        <a:ext uri="{FF2B5EF4-FFF2-40B4-BE49-F238E27FC236}">
                          <a16:creationId xmlns:a16="http://schemas.microsoft.com/office/drawing/2014/main" id="{0A00431F-F9F9-0C32-179B-166719DE9F2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1" name="Graphic 180">
                      <a:extLst>
                        <a:ext uri="{FF2B5EF4-FFF2-40B4-BE49-F238E27FC236}">
                          <a16:creationId xmlns:a16="http://schemas.microsoft.com/office/drawing/2014/main" id="{25D03413-8187-C547-9C29-466B5364F77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2" name="Graphic 181">
                      <a:extLst>
                        <a:ext uri="{FF2B5EF4-FFF2-40B4-BE49-F238E27FC236}">
                          <a16:creationId xmlns:a16="http://schemas.microsoft.com/office/drawing/2014/main" id="{95B4FAB8-AB77-2D61-790D-F66DFACFDE6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3" name="Graphic 182">
                      <a:extLst>
                        <a:ext uri="{FF2B5EF4-FFF2-40B4-BE49-F238E27FC236}">
                          <a16:creationId xmlns:a16="http://schemas.microsoft.com/office/drawing/2014/main" id="{4CD5D846-6A60-DA15-81A2-FE68F033F07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4" name="Graphic 183">
                      <a:extLst>
                        <a:ext uri="{FF2B5EF4-FFF2-40B4-BE49-F238E27FC236}">
                          <a16:creationId xmlns:a16="http://schemas.microsoft.com/office/drawing/2014/main" id="{9911DB75-6927-11F8-8042-E8366BA367D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5" name="Graphic 184">
                      <a:extLst>
                        <a:ext uri="{FF2B5EF4-FFF2-40B4-BE49-F238E27FC236}">
                          <a16:creationId xmlns:a16="http://schemas.microsoft.com/office/drawing/2014/main" id="{57165EE7-4347-FDD4-481D-6FFE412E3E0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6" name="Graphic 185">
                      <a:extLst>
                        <a:ext uri="{FF2B5EF4-FFF2-40B4-BE49-F238E27FC236}">
                          <a16:creationId xmlns:a16="http://schemas.microsoft.com/office/drawing/2014/main" id="{A9BA446D-57B0-B202-9EAD-6C9A58CB047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7" name="Graphic 186">
                      <a:extLst>
                        <a:ext uri="{FF2B5EF4-FFF2-40B4-BE49-F238E27FC236}">
                          <a16:creationId xmlns:a16="http://schemas.microsoft.com/office/drawing/2014/main" id="{A2521D1F-B3A7-484D-44C2-F893794DB9A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140" name="Graphic 139">
                  <a:extLst>
                    <a:ext uri="{FF2B5EF4-FFF2-40B4-BE49-F238E27FC236}">
                      <a16:creationId xmlns:a16="http://schemas.microsoft.com/office/drawing/2014/main" id="{A03EDD9B-2714-BFA1-8BE2-FE27893B94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41" name="Graphic 140">
                  <a:extLst>
                    <a:ext uri="{FF2B5EF4-FFF2-40B4-BE49-F238E27FC236}">
                      <a16:creationId xmlns:a16="http://schemas.microsoft.com/office/drawing/2014/main" id="{3DBF4469-5437-C3C8-7969-6A87C1EF54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42" name="Graphic 141">
                  <a:extLst>
                    <a:ext uri="{FF2B5EF4-FFF2-40B4-BE49-F238E27FC236}">
                      <a16:creationId xmlns:a16="http://schemas.microsoft.com/office/drawing/2014/main" id="{8FAF9F6D-67EA-4537-6E3F-2E0F2D76499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43" name="Graphic 142">
                  <a:extLst>
                    <a:ext uri="{FF2B5EF4-FFF2-40B4-BE49-F238E27FC236}">
                      <a16:creationId xmlns:a16="http://schemas.microsoft.com/office/drawing/2014/main" id="{3B599DF3-A121-4DA4-4C40-8B60450753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144" name="Graphic 143">
                  <a:extLst>
                    <a:ext uri="{FF2B5EF4-FFF2-40B4-BE49-F238E27FC236}">
                      <a16:creationId xmlns:a16="http://schemas.microsoft.com/office/drawing/2014/main" id="{1070F25C-50E7-0FB8-C00E-D90A0152949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45" name="Graphic 144">
                  <a:extLst>
                    <a:ext uri="{FF2B5EF4-FFF2-40B4-BE49-F238E27FC236}">
                      <a16:creationId xmlns:a16="http://schemas.microsoft.com/office/drawing/2014/main" id="{31EC70B6-31E5-5BFC-5F7A-9C5CE34A86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146" name="Graphic 145">
                  <a:extLst>
                    <a:ext uri="{FF2B5EF4-FFF2-40B4-BE49-F238E27FC236}">
                      <a16:creationId xmlns:a16="http://schemas.microsoft.com/office/drawing/2014/main" id="{6CD49C1E-D54C-BABF-E42B-3C1011C5E8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47" name="Graphic 146">
                  <a:extLst>
                    <a:ext uri="{FF2B5EF4-FFF2-40B4-BE49-F238E27FC236}">
                      <a16:creationId xmlns:a16="http://schemas.microsoft.com/office/drawing/2014/main" id="{418115E4-424B-8C2E-D7FD-A90E257A00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48" name="Graphic 147">
                  <a:extLst>
                    <a:ext uri="{FF2B5EF4-FFF2-40B4-BE49-F238E27FC236}">
                      <a16:creationId xmlns:a16="http://schemas.microsoft.com/office/drawing/2014/main" id="{E1E4F993-B34E-E082-08AC-CB0D17450C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49" name="Graphic 148">
                  <a:extLst>
                    <a:ext uri="{FF2B5EF4-FFF2-40B4-BE49-F238E27FC236}">
                      <a16:creationId xmlns:a16="http://schemas.microsoft.com/office/drawing/2014/main" id="{530A91D9-EC8F-92FA-8A29-A9C530F38D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50" name="Graphic 149">
                  <a:extLst>
                    <a:ext uri="{FF2B5EF4-FFF2-40B4-BE49-F238E27FC236}">
                      <a16:creationId xmlns:a16="http://schemas.microsoft.com/office/drawing/2014/main" id="{6D9E34A2-48D2-8C13-CFD0-E375324D72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51" name="Graphic 150">
                  <a:extLst>
                    <a:ext uri="{FF2B5EF4-FFF2-40B4-BE49-F238E27FC236}">
                      <a16:creationId xmlns:a16="http://schemas.microsoft.com/office/drawing/2014/main" id="{99E7CDA0-AD21-E249-F4D6-BB629EB3E8D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52" name="Graphic 151">
                  <a:extLst>
                    <a:ext uri="{FF2B5EF4-FFF2-40B4-BE49-F238E27FC236}">
                      <a16:creationId xmlns:a16="http://schemas.microsoft.com/office/drawing/2014/main" id="{25D0C82F-07D6-16D5-6C52-356ED7B5C6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135" name="Graphic 134">
                <a:extLst>
                  <a:ext uri="{FF2B5EF4-FFF2-40B4-BE49-F238E27FC236}">
                    <a16:creationId xmlns:a16="http://schemas.microsoft.com/office/drawing/2014/main" id="{C9192B1C-F27A-3F98-4861-2C5741F2B4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136" name="Graphic 135">
                <a:extLst>
                  <a:ext uri="{FF2B5EF4-FFF2-40B4-BE49-F238E27FC236}">
                    <a16:creationId xmlns:a16="http://schemas.microsoft.com/office/drawing/2014/main" id="{EE7CE88D-D680-C258-FB65-3AB179C208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137" name="Graphic 136">
                <a:extLst>
                  <a:ext uri="{FF2B5EF4-FFF2-40B4-BE49-F238E27FC236}">
                    <a16:creationId xmlns:a16="http://schemas.microsoft.com/office/drawing/2014/main" id="{F312CCD6-E9E6-8433-9A42-0FC1162AF6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138" name="Graphic 137">
                <a:extLst>
                  <a:ext uri="{FF2B5EF4-FFF2-40B4-BE49-F238E27FC236}">
                    <a16:creationId xmlns:a16="http://schemas.microsoft.com/office/drawing/2014/main" id="{2CA63901-1FF4-57FB-6913-46DB91C716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13A0A306-CD27-3160-473E-131EC08B7CF4}"/>
                </a:ext>
              </a:extLst>
            </p:cNvPr>
            <p:cNvGrpSpPr/>
            <p:nvPr/>
          </p:nvGrpSpPr>
          <p:grpSpPr>
            <a:xfrm>
              <a:off x="543560" y="3946386"/>
              <a:ext cx="87316" cy="86252"/>
              <a:chOff x="5071590" y="2724817"/>
              <a:chExt cx="1901239" cy="1655213"/>
            </a:xfrm>
          </p:grpSpPr>
          <p:grpSp>
            <p:nvGrpSpPr>
              <p:cNvPr id="1931" name="Group 1930">
                <a:extLst>
                  <a:ext uri="{FF2B5EF4-FFF2-40B4-BE49-F238E27FC236}">
                    <a16:creationId xmlns:a16="http://schemas.microsoft.com/office/drawing/2014/main" id="{4B70F613-8150-CA50-23DA-ECAFDE7B9CA9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1941" name="Group 1940">
                  <a:extLst>
                    <a:ext uri="{FF2B5EF4-FFF2-40B4-BE49-F238E27FC236}">
                      <a16:creationId xmlns:a16="http://schemas.microsoft.com/office/drawing/2014/main" id="{963036E9-390E-0D92-0345-05E6139F1D7E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1955" name="Oval 1954">
                    <a:extLst>
                      <a:ext uri="{FF2B5EF4-FFF2-40B4-BE49-F238E27FC236}">
                        <a16:creationId xmlns:a16="http://schemas.microsoft.com/office/drawing/2014/main" id="{E08BD073-7ABB-9C7E-363F-7E7D5BDFC008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956" name="Group 1955">
                    <a:extLst>
                      <a:ext uri="{FF2B5EF4-FFF2-40B4-BE49-F238E27FC236}">
                        <a16:creationId xmlns:a16="http://schemas.microsoft.com/office/drawing/2014/main" id="{2B869D9A-7506-CD8C-A304-88F4653CE96D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1957" name="Graphic 1956">
                      <a:extLst>
                        <a:ext uri="{FF2B5EF4-FFF2-40B4-BE49-F238E27FC236}">
                          <a16:creationId xmlns:a16="http://schemas.microsoft.com/office/drawing/2014/main" id="{AE4AC8DE-9B3F-FA33-08FE-0A7F1AE2B52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58" name="Graphic 1957">
                      <a:extLst>
                        <a:ext uri="{FF2B5EF4-FFF2-40B4-BE49-F238E27FC236}">
                          <a16:creationId xmlns:a16="http://schemas.microsoft.com/office/drawing/2014/main" id="{66664478-07C2-5EB1-0396-EB4741AC84C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59" name="Graphic 1958">
                      <a:extLst>
                        <a:ext uri="{FF2B5EF4-FFF2-40B4-BE49-F238E27FC236}">
                          <a16:creationId xmlns:a16="http://schemas.microsoft.com/office/drawing/2014/main" id="{88FAB10F-C77A-7E40-9871-1FB4B6EF08E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60" name="Graphic 1959">
                      <a:extLst>
                        <a:ext uri="{FF2B5EF4-FFF2-40B4-BE49-F238E27FC236}">
                          <a16:creationId xmlns:a16="http://schemas.microsoft.com/office/drawing/2014/main" id="{57EB7B8B-0D69-16E5-3252-E560E73E1D0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61" name="Graphic 1960">
                      <a:extLst>
                        <a:ext uri="{FF2B5EF4-FFF2-40B4-BE49-F238E27FC236}">
                          <a16:creationId xmlns:a16="http://schemas.microsoft.com/office/drawing/2014/main" id="{4B0EE904-469E-668C-874E-67BB833784D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62" name="Graphic 1961">
                      <a:extLst>
                        <a:ext uri="{FF2B5EF4-FFF2-40B4-BE49-F238E27FC236}">
                          <a16:creationId xmlns:a16="http://schemas.microsoft.com/office/drawing/2014/main" id="{E6086800-7F66-7D27-8B51-B5E31D9D5AA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63" name="Graphic 1962">
                      <a:extLst>
                        <a:ext uri="{FF2B5EF4-FFF2-40B4-BE49-F238E27FC236}">
                          <a16:creationId xmlns:a16="http://schemas.microsoft.com/office/drawing/2014/main" id="{CBD4C2A3-C8A1-1AE4-0A56-3B6424E404B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64" name="Graphic 1963">
                      <a:extLst>
                        <a:ext uri="{FF2B5EF4-FFF2-40B4-BE49-F238E27FC236}">
                          <a16:creationId xmlns:a16="http://schemas.microsoft.com/office/drawing/2014/main" id="{899A4976-B955-E075-DC9A-BCDE400588D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65" name="Graphic 1964">
                      <a:extLst>
                        <a:ext uri="{FF2B5EF4-FFF2-40B4-BE49-F238E27FC236}">
                          <a16:creationId xmlns:a16="http://schemas.microsoft.com/office/drawing/2014/main" id="{6995B693-41AF-007F-0464-A9C3D564961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66" name="Graphic 1965">
                      <a:extLst>
                        <a:ext uri="{FF2B5EF4-FFF2-40B4-BE49-F238E27FC236}">
                          <a16:creationId xmlns:a16="http://schemas.microsoft.com/office/drawing/2014/main" id="{CA32DAB0-1DBF-D24F-8E2D-BF97B08E1D4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67" name="Graphic 1966">
                      <a:extLst>
                        <a:ext uri="{FF2B5EF4-FFF2-40B4-BE49-F238E27FC236}">
                          <a16:creationId xmlns:a16="http://schemas.microsoft.com/office/drawing/2014/main" id="{28EA180B-F8C1-D81D-9061-3B1D6A8B8C5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68" name="Graphic 1967">
                      <a:extLst>
                        <a:ext uri="{FF2B5EF4-FFF2-40B4-BE49-F238E27FC236}">
                          <a16:creationId xmlns:a16="http://schemas.microsoft.com/office/drawing/2014/main" id="{A8B00219-35FA-F3DC-B7A1-1BD5A8866F7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69" name="Graphic 1968">
                      <a:extLst>
                        <a:ext uri="{FF2B5EF4-FFF2-40B4-BE49-F238E27FC236}">
                          <a16:creationId xmlns:a16="http://schemas.microsoft.com/office/drawing/2014/main" id="{760FBD53-2A95-FB9E-35A2-E3B5DF6D053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70" name="Graphic 1969">
                      <a:extLst>
                        <a:ext uri="{FF2B5EF4-FFF2-40B4-BE49-F238E27FC236}">
                          <a16:creationId xmlns:a16="http://schemas.microsoft.com/office/drawing/2014/main" id="{34AC340B-81D2-C193-98F3-44575913B40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71" name="Graphic 1970">
                      <a:extLst>
                        <a:ext uri="{FF2B5EF4-FFF2-40B4-BE49-F238E27FC236}">
                          <a16:creationId xmlns:a16="http://schemas.microsoft.com/office/drawing/2014/main" id="{711E36AF-7480-FAE9-5E7F-50C3DD10EBA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72" name="Graphic 1971">
                      <a:extLst>
                        <a:ext uri="{FF2B5EF4-FFF2-40B4-BE49-F238E27FC236}">
                          <a16:creationId xmlns:a16="http://schemas.microsoft.com/office/drawing/2014/main" id="{B48ED78F-CAAD-8B8D-6F0A-DB23493FAD4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73" name="Graphic 1972">
                      <a:extLst>
                        <a:ext uri="{FF2B5EF4-FFF2-40B4-BE49-F238E27FC236}">
                          <a16:creationId xmlns:a16="http://schemas.microsoft.com/office/drawing/2014/main" id="{19245530-21ED-9DDB-67D9-F48265B3AAA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30" name="Graphic 129">
                      <a:extLst>
                        <a:ext uri="{FF2B5EF4-FFF2-40B4-BE49-F238E27FC236}">
                          <a16:creationId xmlns:a16="http://schemas.microsoft.com/office/drawing/2014/main" id="{2C0FA0EB-7B07-E177-1389-553D015E08F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31" name="Graphic 130">
                      <a:extLst>
                        <a:ext uri="{FF2B5EF4-FFF2-40B4-BE49-F238E27FC236}">
                          <a16:creationId xmlns:a16="http://schemas.microsoft.com/office/drawing/2014/main" id="{11D78CE5-6F24-8AE3-CC7E-4634D7D5BF1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32" name="Graphic 131">
                      <a:extLst>
                        <a:ext uri="{FF2B5EF4-FFF2-40B4-BE49-F238E27FC236}">
                          <a16:creationId xmlns:a16="http://schemas.microsoft.com/office/drawing/2014/main" id="{8CE3BA1E-68B1-084C-2AD8-C81F4E9A422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33" name="Graphic 132">
                      <a:extLst>
                        <a:ext uri="{FF2B5EF4-FFF2-40B4-BE49-F238E27FC236}">
                          <a16:creationId xmlns:a16="http://schemas.microsoft.com/office/drawing/2014/main" id="{79081DF1-E9CF-AA7F-43DE-52D07ED65C7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1942" name="Graphic 1941">
                  <a:extLst>
                    <a:ext uri="{FF2B5EF4-FFF2-40B4-BE49-F238E27FC236}">
                      <a16:creationId xmlns:a16="http://schemas.microsoft.com/office/drawing/2014/main" id="{A184817F-0641-3110-EB2F-86BBBF622CA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43" name="Graphic 1942">
                  <a:extLst>
                    <a:ext uri="{FF2B5EF4-FFF2-40B4-BE49-F238E27FC236}">
                      <a16:creationId xmlns:a16="http://schemas.microsoft.com/office/drawing/2014/main" id="{895F1411-C2B1-611B-8B4D-C1CA4AA53E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44" name="Graphic 1943">
                  <a:extLst>
                    <a:ext uri="{FF2B5EF4-FFF2-40B4-BE49-F238E27FC236}">
                      <a16:creationId xmlns:a16="http://schemas.microsoft.com/office/drawing/2014/main" id="{BD860F9D-3FAE-C477-61BF-0FAA54B127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45" name="Graphic 1944">
                  <a:extLst>
                    <a:ext uri="{FF2B5EF4-FFF2-40B4-BE49-F238E27FC236}">
                      <a16:creationId xmlns:a16="http://schemas.microsoft.com/office/drawing/2014/main" id="{71E2556D-C227-8C57-16BA-43C107D2FB8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1946" name="Graphic 1945">
                  <a:extLst>
                    <a:ext uri="{FF2B5EF4-FFF2-40B4-BE49-F238E27FC236}">
                      <a16:creationId xmlns:a16="http://schemas.microsoft.com/office/drawing/2014/main" id="{5ACB5AA6-68E7-CD1C-F977-FBC05B74A40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47" name="Graphic 1946">
                  <a:extLst>
                    <a:ext uri="{FF2B5EF4-FFF2-40B4-BE49-F238E27FC236}">
                      <a16:creationId xmlns:a16="http://schemas.microsoft.com/office/drawing/2014/main" id="{88946D50-ABF1-A373-3B19-6EF0952D665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1948" name="Graphic 1947">
                  <a:extLst>
                    <a:ext uri="{FF2B5EF4-FFF2-40B4-BE49-F238E27FC236}">
                      <a16:creationId xmlns:a16="http://schemas.microsoft.com/office/drawing/2014/main" id="{D37F3078-DB8D-D31F-9868-0D73DE0D97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49" name="Graphic 1948">
                  <a:extLst>
                    <a:ext uri="{FF2B5EF4-FFF2-40B4-BE49-F238E27FC236}">
                      <a16:creationId xmlns:a16="http://schemas.microsoft.com/office/drawing/2014/main" id="{0E9577EA-1DF7-2D45-0224-8910D8E1433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50" name="Graphic 1949">
                  <a:extLst>
                    <a:ext uri="{FF2B5EF4-FFF2-40B4-BE49-F238E27FC236}">
                      <a16:creationId xmlns:a16="http://schemas.microsoft.com/office/drawing/2014/main" id="{ABD92601-DDAF-D451-574D-A7D512F44DA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51" name="Graphic 1950">
                  <a:extLst>
                    <a:ext uri="{FF2B5EF4-FFF2-40B4-BE49-F238E27FC236}">
                      <a16:creationId xmlns:a16="http://schemas.microsoft.com/office/drawing/2014/main" id="{34228BEC-1E26-B391-B8B6-78DD531CF55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52" name="Graphic 1951">
                  <a:extLst>
                    <a:ext uri="{FF2B5EF4-FFF2-40B4-BE49-F238E27FC236}">
                      <a16:creationId xmlns:a16="http://schemas.microsoft.com/office/drawing/2014/main" id="{B3AF96DA-A93C-5355-E46E-AEC9C7C6A3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53" name="Graphic 1952">
                  <a:extLst>
                    <a:ext uri="{FF2B5EF4-FFF2-40B4-BE49-F238E27FC236}">
                      <a16:creationId xmlns:a16="http://schemas.microsoft.com/office/drawing/2014/main" id="{4D6840AC-D84D-28E0-928B-4A26529BB0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1954" name="Graphic 1953">
                  <a:extLst>
                    <a:ext uri="{FF2B5EF4-FFF2-40B4-BE49-F238E27FC236}">
                      <a16:creationId xmlns:a16="http://schemas.microsoft.com/office/drawing/2014/main" id="{EDD2BD95-CF54-3B0A-B61F-6F2B6B24970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1937" name="Graphic 1936">
                <a:extLst>
                  <a:ext uri="{FF2B5EF4-FFF2-40B4-BE49-F238E27FC236}">
                    <a16:creationId xmlns:a16="http://schemas.microsoft.com/office/drawing/2014/main" id="{F20E5165-41E0-A6C5-702F-E36591B6B9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1938" name="Graphic 1937">
                <a:extLst>
                  <a:ext uri="{FF2B5EF4-FFF2-40B4-BE49-F238E27FC236}">
                    <a16:creationId xmlns:a16="http://schemas.microsoft.com/office/drawing/2014/main" id="{4DDCD0B7-2115-A263-1887-33BD9882FD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1939" name="Graphic 1938">
                <a:extLst>
                  <a:ext uri="{FF2B5EF4-FFF2-40B4-BE49-F238E27FC236}">
                    <a16:creationId xmlns:a16="http://schemas.microsoft.com/office/drawing/2014/main" id="{265B494E-2B72-D1D6-26A3-E4928EAB5E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1940" name="Graphic 1939">
                <a:extLst>
                  <a:ext uri="{FF2B5EF4-FFF2-40B4-BE49-F238E27FC236}">
                    <a16:creationId xmlns:a16="http://schemas.microsoft.com/office/drawing/2014/main" id="{F252FB22-DD23-84C3-C9F8-B563C4276D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1B09563A-7DC4-ACD7-B3E7-C0F4DCFB52D5}"/>
                </a:ext>
              </a:extLst>
            </p:cNvPr>
            <p:cNvGrpSpPr/>
            <p:nvPr/>
          </p:nvGrpSpPr>
          <p:grpSpPr>
            <a:xfrm>
              <a:off x="431999" y="4061989"/>
              <a:ext cx="87316" cy="86252"/>
              <a:chOff x="5071590" y="2724817"/>
              <a:chExt cx="1901239" cy="1655213"/>
            </a:xfrm>
          </p:grpSpPr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24663DDE-62E3-3BE7-5CFF-C8F23B7EEB26}"/>
                  </a:ext>
                </a:extLst>
              </p:cNvPr>
              <p:cNvGrpSpPr/>
              <p:nvPr/>
            </p:nvGrpSpPr>
            <p:grpSpPr>
              <a:xfrm>
                <a:off x="5071590" y="2724817"/>
                <a:ext cx="1901239" cy="1655213"/>
                <a:chOff x="5071590" y="2724817"/>
                <a:chExt cx="1901239" cy="1655213"/>
              </a:xfrm>
            </p:grpSpPr>
            <p:grpSp>
              <p:nvGrpSpPr>
                <p:cNvPr id="83" name="Group 82">
                  <a:extLst>
                    <a:ext uri="{FF2B5EF4-FFF2-40B4-BE49-F238E27FC236}">
                      <a16:creationId xmlns:a16="http://schemas.microsoft.com/office/drawing/2014/main" id="{9441B03B-E5EB-0DFC-ABB6-38A627B5260B}"/>
                    </a:ext>
                  </a:extLst>
                </p:cNvPr>
                <p:cNvGrpSpPr/>
                <p:nvPr/>
              </p:nvGrpSpPr>
              <p:grpSpPr>
                <a:xfrm>
                  <a:off x="5071590" y="2724817"/>
                  <a:ext cx="1901239" cy="1655213"/>
                  <a:chOff x="1798565" y="3314011"/>
                  <a:chExt cx="971569" cy="971569"/>
                </a:xfrm>
              </p:grpSpPr>
              <p:sp>
                <p:nvSpPr>
                  <p:cNvPr id="97" name="Oval 96">
                    <a:extLst>
                      <a:ext uri="{FF2B5EF4-FFF2-40B4-BE49-F238E27FC236}">
                        <a16:creationId xmlns:a16="http://schemas.microsoft.com/office/drawing/2014/main" id="{CAB6C6D7-35C2-74DD-63A7-56D4B6EAF160}"/>
                      </a:ext>
                    </a:extLst>
                  </p:cNvPr>
                  <p:cNvSpPr/>
                  <p:nvPr/>
                </p:nvSpPr>
                <p:spPr>
                  <a:xfrm>
                    <a:off x="1798565" y="3314011"/>
                    <a:ext cx="971569" cy="97156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7967B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351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98" name="Group 97">
                    <a:extLst>
                      <a:ext uri="{FF2B5EF4-FFF2-40B4-BE49-F238E27FC236}">
                        <a16:creationId xmlns:a16="http://schemas.microsoft.com/office/drawing/2014/main" id="{0B2F2859-8ED2-122B-D637-3815C77571DD}"/>
                      </a:ext>
                    </a:extLst>
                  </p:cNvPr>
                  <p:cNvGrpSpPr/>
                  <p:nvPr/>
                </p:nvGrpSpPr>
                <p:grpSpPr>
                  <a:xfrm>
                    <a:off x="1895983" y="3499462"/>
                    <a:ext cx="776733" cy="632250"/>
                    <a:chOff x="6556107" y="1328513"/>
                    <a:chExt cx="4136389" cy="3366966"/>
                  </a:xfrm>
                </p:grpSpPr>
                <p:pic>
                  <p:nvPicPr>
                    <p:cNvPr id="99" name="Graphic 98">
                      <a:extLst>
                        <a:ext uri="{FF2B5EF4-FFF2-40B4-BE49-F238E27FC236}">
                          <a16:creationId xmlns:a16="http://schemas.microsoft.com/office/drawing/2014/main" id="{27DE6AE5-94E3-9B85-7339-5D3149F7F7A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3735" y="201854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00" name="Graphic 99">
                      <a:extLst>
                        <a:ext uri="{FF2B5EF4-FFF2-40B4-BE49-F238E27FC236}">
                          <a16:creationId xmlns:a16="http://schemas.microsoft.com/office/drawing/2014/main" id="{7BE54F33-AC12-3CD8-E5C1-3DC6D79EB4C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630582" y="224489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01" name="Graphic 100">
                      <a:extLst>
                        <a:ext uri="{FF2B5EF4-FFF2-40B4-BE49-F238E27FC236}">
                          <a16:creationId xmlns:a16="http://schemas.microsoft.com/office/drawing/2014/main" id="{CF942C42-2F5B-8477-ADD6-117EE1346D2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706098" y="297803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02" name="Graphic 101">
                      <a:extLst>
                        <a:ext uri="{FF2B5EF4-FFF2-40B4-BE49-F238E27FC236}">
                          <a16:creationId xmlns:a16="http://schemas.microsoft.com/office/drawing/2014/main" id="{C108D740-E619-A2C6-4356-A04A9411FF6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74691" y="1573462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03" name="Graphic 102">
                      <a:extLst>
                        <a:ext uri="{FF2B5EF4-FFF2-40B4-BE49-F238E27FC236}">
                          <a16:creationId xmlns:a16="http://schemas.microsoft.com/office/drawing/2014/main" id="{04705C67-D97E-DEDD-E6E6-55F58152490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927513" y="1806617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04" name="Graphic 103">
                      <a:extLst>
                        <a:ext uri="{FF2B5EF4-FFF2-40B4-BE49-F238E27FC236}">
                          <a16:creationId xmlns:a16="http://schemas.microsoft.com/office/drawing/2014/main" id="{086D2D80-3160-573A-C62B-F9A974D6FB2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22276" y="2329588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05" name="Graphic 104">
                      <a:extLst>
                        <a:ext uri="{FF2B5EF4-FFF2-40B4-BE49-F238E27FC236}">
                          <a16:creationId xmlns:a16="http://schemas.microsoft.com/office/drawing/2014/main" id="{BA8BD162-BC54-E197-A80E-24A7140324B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299253" y="283329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06" name="Graphic 105">
                      <a:extLst>
                        <a:ext uri="{FF2B5EF4-FFF2-40B4-BE49-F238E27FC236}">
                          <a16:creationId xmlns:a16="http://schemas.microsoft.com/office/drawing/2014/main" id="{F4D627F2-9D6E-6F55-8DF7-6D60818905A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69166" y="371769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07" name="Graphic 106">
                      <a:extLst>
                        <a:ext uri="{FF2B5EF4-FFF2-40B4-BE49-F238E27FC236}">
                          <a16:creationId xmlns:a16="http://schemas.microsoft.com/office/drawing/2014/main" id="{83EBA27C-24BB-5666-B9EE-FCC2B94B898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101569" y="3618436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08" name="Graphic 107">
                      <a:extLst>
                        <a:ext uri="{FF2B5EF4-FFF2-40B4-BE49-F238E27FC236}">
                          <a16:creationId xmlns:a16="http://schemas.microsoft.com/office/drawing/2014/main" id="{3077FD2A-7301-EE9C-C475-91C8F67E86D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210147" y="1661379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09" name="Graphic 108">
                      <a:extLst>
                        <a:ext uri="{FF2B5EF4-FFF2-40B4-BE49-F238E27FC236}">
                          <a16:creationId xmlns:a16="http://schemas.microsoft.com/office/drawing/2014/main" id="{C7235DDF-4F94-B2E0-88E0-52A9FD6FC07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494708" y="299850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10" name="Graphic 109">
                      <a:extLst>
                        <a:ext uri="{FF2B5EF4-FFF2-40B4-BE49-F238E27FC236}">
                          <a16:creationId xmlns:a16="http://schemas.microsoft.com/office/drawing/2014/main" id="{040FAB8A-C571-1DA0-85EC-75BEB614688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013970" y="246626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20" name="Graphic 1919">
                      <a:extLst>
                        <a:ext uri="{FF2B5EF4-FFF2-40B4-BE49-F238E27FC236}">
                          <a16:creationId xmlns:a16="http://schemas.microsoft.com/office/drawing/2014/main" id="{ED46629F-0E9F-7ED2-6922-FF1C2EDB535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833970" y="359583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21" name="Graphic 1920">
                      <a:extLst>
                        <a:ext uri="{FF2B5EF4-FFF2-40B4-BE49-F238E27FC236}">
                          <a16:creationId xmlns:a16="http://schemas.microsoft.com/office/drawing/2014/main" id="{E54AA48A-7E74-E256-7650-DCD2CB11A99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638361" y="4055074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23" name="Graphic 1922">
                      <a:extLst>
                        <a:ext uri="{FF2B5EF4-FFF2-40B4-BE49-F238E27FC236}">
                          <a16:creationId xmlns:a16="http://schemas.microsoft.com/office/drawing/2014/main" id="{E3731DE0-753C-3E75-388E-420D7714719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4148" y="2157540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24" name="Graphic 1923">
                      <a:extLst>
                        <a:ext uri="{FF2B5EF4-FFF2-40B4-BE49-F238E27FC236}">
                          <a16:creationId xmlns:a16="http://schemas.microsoft.com/office/drawing/2014/main" id="{27F49A56-DF0B-E41A-FDCD-7445C7DAB21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556107" y="2682471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25" name="Graphic 1924">
                      <a:extLst>
                        <a:ext uri="{FF2B5EF4-FFF2-40B4-BE49-F238E27FC236}">
                          <a16:creationId xmlns:a16="http://schemas.microsoft.com/office/drawing/2014/main" id="{89E20AAE-A1F7-3102-B516-6D512F8DD72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99052" y="1328513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26" name="Graphic 1925">
                      <a:extLst>
                        <a:ext uri="{FF2B5EF4-FFF2-40B4-BE49-F238E27FC236}">
                          <a16:creationId xmlns:a16="http://schemas.microsoft.com/office/drawing/2014/main" id="{3ABDBD5D-924B-B9D5-6089-8E19782956B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4804" y="3529685"/>
                      <a:ext cx="678526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27" name="Graphic 1926">
                      <a:extLst>
                        <a:ext uri="{FF2B5EF4-FFF2-40B4-BE49-F238E27FC236}">
                          <a16:creationId xmlns:a16="http://schemas.microsoft.com/office/drawing/2014/main" id="{A1643C65-5851-2CCC-5621-11C2A0F80AF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44312" y="2021888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29" name="Graphic 1928">
                      <a:extLst>
                        <a:ext uri="{FF2B5EF4-FFF2-40B4-BE49-F238E27FC236}">
                          <a16:creationId xmlns:a16="http://schemas.microsoft.com/office/drawing/2014/main" id="{E39AAFDB-64AA-8848-6C7C-08350B7B61B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132881" y="2160243"/>
                      <a:ext cx="678524" cy="6404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30" name="Graphic 1929">
                      <a:extLst>
                        <a:ext uri="{FF2B5EF4-FFF2-40B4-BE49-F238E27FC236}">
                          <a16:creationId xmlns:a16="http://schemas.microsoft.com/office/drawing/2014/main" id="{48EF3E82-A3B1-A3EA-6518-78B993C8422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53018" y="3532387"/>
                      <a:ext cx="678524" cy="640405"/>
                    </a:xfrm>
                    <a:prstGeom prst="rect">
                      <a:avLst/>
                    </a:prstGeom>
                  </p:spPr>
                </p:pic>
              </p:grpSp>
            </p:grpSp>
            <p:pic>
              <p:nvPicPr>
                <p:cNvPr id="84" name="Graphic 83">
                  <a:extLst>
                    <a:ext uri="{FF2B5EF4-FFF2-40B4-BE49-F238E27FC236}">
                      <a16:creationId xmlns:a16="http://schemas.microsoft.com/office/drawing/2014/main" id="{7E24D4F4-6C1A-A5D3-CE38-9DCF57CC09D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7542" y="4038592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5" name="Graphic 84">
                  <a:extLst>
                    <a:ext uri="{FF2B5EF4-FFF2-40B4-BE49-F238E27FC236}">
                      <a16:creationId xmlns:a16="http://schemas.microsoft.com/office/drawing/2014/main" id="{38F3BEA0-FBDD-916D-4404-C67BD761226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7934" y="3690906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6" name="Graphic 85">
                  <a:extLst>
                    <a:ext uri="{FF2B5EF4-FFF2-40B4-BE49-F238E27FC236}">
                      <a16:creationId xmlns:a16="http://schemas.microsoft.com/office/drawing/2014/main" id="{03CE50E9-C3A2-0371-4745-DB1CCD23A69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82097" y="3107260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7" name="Graphic 86">
                  <a:extLst>
                    <a:ext uri="{FF2B5EF4-FFF2-40B4-BE49-F238E27FC236}">
                      <a16:creationId xmlns:a16="http://schemas.microsoft.com/office/drawing/2014/main" id="{98A68821-220E-C7D6-A565-ED69FA0AE0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790" y="3538763"/>
                  <a:ext cx="249333" cy="153413"/>
                </a:xfrm>
                <a:prstGeom prst="rect">
                  <a:avLst/>
                </a:prstGeom>
              </p:spPr>
            </p:pic>
            <p:pic>
              <p:nvPicPr>
                <p:cNvPr id="88" name="Graphic 87">
                  <a:extLst>
                    <a:ext uri="{FF2B5EF4-FFF2-40B4-BE49-F238E27FC236}">
                      <a16:creationId xmlns:a16="http://schemas.microsoft.com/office/drawing/2014/main" id="{E3B99280-B0DC-4A0C-7B77-366896B925D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0274" y="4012517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89" name="Graphic 88">
                  <a:extLst>
                    <a:ext uri="{FF2B5EF4-FFF2-40B4-BE49-F238E27FC236}">
                      <a16:creationId xmlns:a16="http://schemas.microsoft.com/office/drawing/2014/main" id="{57B85478-FA90-C8B0-76FE-3B4A8DB595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80489" y="2963820"/>
                  <a:ext cx="249333" cy="133065"/>
                </a:xfrm>
                <a:prstGeom prst="rect">
                  <a:avLst/>
                </a:prstGeom>
              </p:spPr>
            </p:pic>
            <p:pic>
              <p:nvPicPr>
                <p:cNvPr id="90" name="Graphic 89">
                  <a:extLst>
                    <a:ext uri="{FF2B5EF4-FFF2-40B4-BE49-F238E27FC236}">
                      <a16:creationId xmlns:a16="http://schemas.microsoft.com/office/drawing/2014/main" id="{A24D4F4C-ED2F-A4D2-AAF3-51884FB4C0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13749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1" name="Graphic 90">
                  <a:extLst>
                    <a:ext uri="{FF2B5EF4-FFF2-40B4-BE49-F238E27FC236}">
                      <a16:creationId xmlns:a16="http://schemas.microsoft.com/office/drawing/2014/main" id="{C1799204-2302-90BD-E6D5-A02B1EBD6A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05184" y="3987501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2" name="Graphic 91">
                  <a:extLst>
                    <a:ext uri="{FF2B5EF4-FFF2-40B4-BE49-F238E27FC236}">
                      <a16:creationId xmlns:a16="http://schemas.microsoft.com/office/drawing/2014/main" id="{DA16EB1A-2419-73C1-BFE1-054AC55230A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19448" y="296326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3" name="Graphic 92">
                  <a:extLst>
                    <a:ext uri="{FF2B5EF4-FFF2-40B4-BE49-F238E27FC236}">
                      <a16:creationId xmlns:a16="http://schemas.microsoft.com/office/drawing/2014/main" id="{8CA00DBA-AF79-7562-F8D9-F0430A9D0DE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5242" y="3208875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4" name="Graphic 93">
                  <a:extLst>
                    <a:ext uri="{FF2B5EF4-FFF2-40B4-BE49-F238E27FC236}">
                      <a16:creationId xmlns:a16="http://schemas.microsoft.com/office/drawing/2014/main" id="{B6D6DB77-06AD-841F-27F5-2177E98A21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9821" y="3699529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5" name="Graphic 94">
                  <a:extLst>
                    <a:ext uri="{FF2B5EF4-FFF2-40B4-BE49-F238E27FC236}">
                      <a16:creationId xmlns:a16="http://schemas.microsoft.com/office/drawing/2014/main" id="{E04973FA-99EB-6233-1054-08A50AD67A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5246" y="2870633"/>
                  <a:ext cx="249333" cy="204873"/>
                </a:xfrm>
                <a:prstGeom prst="rect">
                  <a:avLst/>
                </a:prstGeom>
              </p:spPr>
            </p:pic>
            <p:pic>
              <p:nvPicPr>
                <p:cNvPr id="96" name="Graphic 95">
                  <a:extLst>
                    <a:ext uri="{FF2B5EF4-FFF2-40B4-BE49-F238E27FC236}">
                      <a16:creationId xmlns:a16="http://schemas.microsoft.com/office/drawing/2014/main" id="{9F9F1F23-443A-1AA4-7C7A-B4B4F592E70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43626" y="3597092"/>
                  <a:ext cx="249333" cy="204873"/>
                </a:xfrm>
                <a:prstGeom prst="rect">
                  <a:avLst/>
                </a:prstGeom>
              </p:spPr>
            </p:pic>
          </p:grpSp>
          <p:pic>
            <p:nvPicPr>
              <p:cNvPr id="79" name="Graphic 78">
                <a:extLst>
                  <a:ext uri="{FF2B5EF4-FFF2-40B4-BE49-F238E27FC236}">
                    <a16:creationId xmlns:a16="http://schemas.microsoft.com/office/drawing/2014/main" id="{97178EFA-E281-DB19-6B2B-079B838CD8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664055" y="4113228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80" name="Graphic 79">
                <a:extLst>
                  <a:ext uri="{FF2B5EF4-FFF2-40B4-BE49-F238E27FC236}">
                    <a16:creationId xmlns:a16="http://schemas.microsoft.com/office/drawing/2014/main" id="{DBA0DA4F-0F2D-47BB-39E5-08768EE108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34938" y="2775099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81" name="Graphic 80">
                <a:extLst>
                  <a:ext uri="{FF2B5EF4-FFF2-40B4-BE49-F238E27FC236}">
                    <a16:creationId xmlns:a16="http://schemas.microsoft.com/office/drawing/2014/main" id="{A01C5CAF-07C9-F00F-02F1-82E9F5DD5E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75166" y="2995230"/>
                <a:ext cx="249333" cy="204873"/>
              </a:xfrm>
              <a:prstGeom prst="rect">
                <a:avLst/>
              </a:prstGeom>
            </p:spPr>
          </p:pic>
          <p:pic>
            <p:nvPicPr>
              <p:cNvPr id="82" name="Graphic 81">
                <a:extLst>
                  <a:ext uri="{FF2B5EF4-FFF2-40B4-BE49-F238E27FC236}">
                    <a16:creationId xmlns:a16="http://schemas.microsoft.com/office/drawing/2014/main" id="{5D1E7947-844F-CB7A-F968-B8EA756110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8398152">
                <a:off x="5053822" y="3436356"/>
                <a:ext cx="249333" cy="204873"/>
              </a:xfrm>
              <a:prstGeom prst="rect">
                <a:avLst/>
              </a:prstGeom>
            </p:spPr>
          </p:pic>
        </p:grpSp>
      </p:grpSp>
      <p:grpSp>
        <p:nvGrpSpPr>
          <p:cNvPr id="3718" name="Group 3717">
            <a:extLst>
              <a:ext uri="{FF2B5EF4-FFF2-40B4-BE49-F238E27FC236}">
                <a16:creationId xmlns:a16="http://schemas.microsoft.com/office/drawing/2014/main" id="{7C6FC952-9BE9-33D6-E460-ADFCF624BB55}"/>
              </a:ext>
            </a:extLst>
          </p:cNvPr>
          <p:cNvGrpSpPr/>
          <p:nvPr/>
        </p:nvGrpSpPr>
        <p:grpSpPr>
          <a:xfrm>
            <a:off x="1991091" y="1490890"/>
            <a:ext cx="3778688" cy="2227595"/>
            <a:chOff x="2392534" y="2291189"/>
            <a:chExt cx="4956858" cy="2970124"/>
          </a:xfrm>
        </p:grpSpPr>
        <p:grpSp>
          <p:nvGrpSpPr>
            <p:cNvPr id="3719" name="Group 3718">
              <a:extLst>
                <a:ext uri="{FF2B5EF4-FFF2-40B4-BE49-F238E27FC236}">
                  <a16:creationId xmlns:a16="http://schemas.microsoft.com/office/drawing/2014/main" id="{32057D88-2897-2722-E42D-003B4883211D}"/>
                </a:ext>
              </a:extLst>
            </p:cNvPr>
            <p:cNvGrpSpPr/>
            <p:nvPr/>
          </p:nvGrpSpPr>
          <p:grpSpPr>
            <a:xfrm>
              <a:off x="2392534" y="2291189"/>
              <a:ext cx="4956858" cy="2970124"/>
              <a:chOff x="2392534" y="2291189"/>
              <a:chExt cx="4956858" cy="2970124"/>
            </a:xfrm>
          </p:grpSpPr>
          <p:grpSp>
            <p:nvGrpSpPr>
              <p:cNvPr id="3753" name="Group 3752">
                <a:extLst>
                  <a:ext uri="{FF2B5EF4-FFF2-40B4-BE49-F238E27FC236}">
                    <a16:creationId xmlns:a16="http://schemas.microsoft.com/office/drawing/2014/main" id="{0C635972-82B8-E9FD-0A50-B28A7B344ACF}"/>
                  </a:ext>
                </a:extLst>
              </p:cNvPr>
              <p:cNvGrpSpPr/>
              <p:nvPr/>
            </p:nvGrpSpPr>
            <p:grpSpPr>
              <a:xfrm>
                <a:off x="2392534" y="2291189"/>
                <a:ext cx="4956858" cy="2970124"/>
                <a:chOff x="2392534" y="2291189"/>
                <a:chExt cx="4956858" cy="2970124"/>
              </a:xfrm>
            </p:grpSpPr>
            <p:grpSp>
              <p:nvGrpSpPr>
                <p:cNvPr id="3799" name="Group 3798">
                  <a:extLst>
                    <a:ext uri="{FF2B5EF4-FFF2-40B4-BE49-F238E27FC236}">
                      <a16:creationId xmlns:a16="http://schemas.microsoft.com/office/drawing/2014/main" id="{E595CB19-1B96-0665-74A6-567E25399AD2}"/>
                    </a:ext>
                  </a:extLst>
                </p:cNvPr>
                <p:cNvGrpSpPr/>
                <p:nvPr/>
              </p:nvGrpSpPr>
              <p:grpSpPr>
                <a:xfrm rot="1705139">
                  <a:off x="5667029" y="2765420"/>
                  <a:ext cx="803005" cy="617952"/>
                  <a:chOff x="4062809" y="3905957"/>
                  <a:chExt cx="929486" cy="715286"/>
                </a:xfrm>
              </p:grpSpPr>
              <p:grpSp>
                <p:nvGrpSpPr>
                  <p:cNvPr id="3851" name="Group 3850">
                    <a:extLst>
                      <a:ext uri="{FF2B5EF4-FFF2-40B4-BE49-F238E27FC236}">
                        <a16:creationId xmlns:a16="http://schemas.microsoft.com/office/drawing/2014/main" id="{942DD666-CDCB-78E7-DB7F-A06335165676}"/>
                      </a:ext>
                    </a:extLst>
                  </p:cNvPr>
                  <p:cNvGrpSpPr/>
                  <p:nvPr/>
                </p:nvGrpSpPr>
                <p:grpSpPr>
                  <a:xfrm>
                    <a:off x="4131175" y="3981941"/>
                    <a:ext cx="825956" cy="639302"/>
                    <a:chOff x="3592267" y="4385785"/>
                    <a:chExt cx="699371" cy="541323"/>
                  </a:xfrm>
                </p:grpSpPr>
                <p:pic>
                  <p:nvPicPr>
                    <p:cNvPr id="3858" name="Graphic 3857">
                      <a:extLst>
                        <a:ext uri="{FF2B5EF4-FFF2-40B4-BE49-F238E27FC236}">
                          <a16:creationId xmlns:a16="http://schemas.microsoft.com/office/drawing/2014/main" id="{44989293-8B94-2C82-4BB5-200383F8D6B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0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1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19745088">
                      <a:off x="4051064" y="4776117"/>
                      <a:ext cx="164287" cy="150991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59" name="Graphic 3858">
                      <a:extLst>
                        <a:ext uri="{FF2B5EF4-FFF2-40B4-BE49-F238E27FC236}">
                          <a16:creationId xmlns:a16="http://schemas.microsoft.com/office/drawing/2014/main" id="{5C000BC4-DA35-F9A5-8945-6DA0B1013FE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3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14873583">
                      <a:off x="3598915" y="4379137"/>
                      <a:ext cx="150991" cy="16428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60" name="Graphic 3859">
                      <a:extLst>
                        <a:ext uri="{FF2B5EF4-FFF2-40B4-BE49-F238E27FC236}">
                          <a16:creationId xmlns:a16="http://schemas.microsoft.com/office/drawing/2014/main" id="{39AE0BF4-5ECE-7BF1-7A36-96DCB536163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4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11423421">
                      <a:off x="3625005" y="4548640"/>
                      <a:ext cx="164287" cy="150991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61" name="Graphic 3860">
                      <a:extLst>
                        <a:ext uri="{FF2B5EF4-FFF2-40B4-BE49-F238E27FC236}">
                          <a16:creationId xmlns:a16="http://schemas.microsoft.com/office/drawing/2014/main" id="{AFF1E2F6-0E2F-D5EF-4F53-EF1A6055D59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0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1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17246322">
                      <a:off x="3774444" y="4534906"/>
                      <a:ext cx="164287" cy="150991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62" name="Graphic 3861">
                      <a:extLst>
                        <a:ext uri="{FF2B5EF4-FFF2-40B4-BE49-F238E27FC236}">
                          <a16:creationId xmlns:a16="http://schemas.microsoft.com/office/drawing/2014/main" id="{2B321C3F-3472-AB1B-8540-C12FEB3A78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3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19017704">
                      <a:off x="4140647" y="4557805"/>
                      <a:ext cx="150991" cy="16428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63" name="Graphic 3862">
                      <a:extLst>
                        <a:ext uri="{FF2B5EF4-FFF2-40B4-BE49-F238E27FC236}">
                          <a16:creationId xmlns:a16="http://schemas.microsoft.com/office/drawing/2014/main" id="{73117C0F-798D-7DA9-265D-BB3229B3A1C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4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9386479">
                      <a:off x="3937613" y="4649588"/>
                      <a:ext cx="164287" cy="150991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3852" name="Isosceles Triangle 1866">
                    <a:extLst>
                      <a:ext uri="{FF2B5EF4-FFF2-40B4-BE49-F238E27FC236}">
                        <a16:creationId xmlns:a16="http://schemas.microsoft.com/office/drawing/2014/main" id="{894ED13D-11AC-91E2-D049-C11F88B61F6C}"/>
                      </a:ext>
                    </a:extLst>
                  </p:cNvPr>
                  <p:cNvSpPr/>
                  <p:nvPr/>
                </p:nvSpPr>
                <p:spPr>
                  <a:xfrm rot="4594861">
                    <a:off x="4030181" y="3938585"/>
                    <a:ext cx="156696" cy="91440"/>
                  </a:xfrm>
                  <a:prstGeom prst="triangle">
                    <a:avLst/>
                  </a:prstGeom>
                  <a:solidFill>
                    <a:srgbClr val="70AD47"/>
                  </a:solidFill>
                  <a:ln w="12700" cap="flat" cmpd="sng" algn="ctr">
                    <a:solidFill>
                      <a:srgbClr val="70AD47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200" kern="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853" name="Isosceles Triangle 1867">
                    <a:extLst>
                      <a:ext uri="{FF2B5EF4-FFF2-40B4-BE49-F238E27FC236}">
                        <a16:creationId xmlns:a16="http://schemas.microsoft.com/office/drawing/2014/main" id="{22C02C0D-6EDF-0C3C-8D17-67D069A3BAFA}"/>
                      </a:ext>
                    </a:extLst>
                  </p:cNvPr>
                  <p:cNvSpPr/>
                  <p:nvPr/>
                </p:nvSpPr>
                <p:spPr>
                  <a:xfrm rot="12694861">
                    <a:off x="4443431" y="4084594"/>
                    <a:ext cx="156696" cy="91440"/>
                  </a:xfrm>
                  <a:prstGeom prst="triangle">
                    <a:avLst/>
                  </a:prstGeom>
                  <a:solidFill>
                    <a:srgbClr val="70AD47"/>
                  </a:solidFill>
                  <a:ln w="12700" cap="flat" cmpd="sng" algn="ctr">
                    <a:solidFill>
                      <a:srgbClr val="70AD47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200" kern="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854" name="Isosceles Triangle 1868">
                    <a:extLst>
                      <a:ext uri="{FF2B5EF4-FFF2-40B4-BE49-F238E27FC236}">
                        <a16:creationId xmlns:a16="http://schemas.microsoft.com/office/drawing/2014/main" id="{DB9694DA-88EF-54F7-D5E3-A5788A586149}"/>
                      </a:ext>
                    </a:extLst>
                  </p:cNvPr>
                  <p:cNvSpPr/>
                  <p:nvPr/>
                </p:nvSpPr>
                <p:spPr>
                  <a:xfrm rot="9994861">
                    <a:off x="4835599" y="4113317"/>
                    <a:ext cx="156696" cy="91440"/>
                  </a:xfrm>
                  <a:prstGeom prst="triangle">
                    <a:avLst/>
                  </a:prstGeom>
                  <a:solidFill>
                    <a:srgbClr val="70AD47"/>
                  </a:solidFill>
                  <a:ln w="12700" cap="flat" cmpd="sng" algn="ctr">
                    <a:solidFill>
                      <a:srgbClr val="70AD47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200" kern="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855" name="Isosceles Triangle 1869">
                    <a:extLst>
                      <a:ext uri="{FF2B5EF4-FFF2-40B4-BE49-F238E27FC236}">
                        <a16:creationId xmlns:a16="http://schemas.microsoft.com/office/drawing/2014/main" id="{64D7920A-605A-ECAF-0AE2-1F444D828F6C}"/>
                      </a:ext>
                    </a:extLst>
                  </p:cNvPr>
                  <p:cNvSpPr/>
                  <p:nvPr/>
                </p:nvSpPr>
                <p:spPr>
                  <a:xfrm rot="15394861">
                    <a:off x="4821530" y="4441642"/>
                    <a:ext cx="156696" cy="91440"/>
                  </a:xfrm>
                  <a:prstGeom prst="triangle">
                    <a:avLst/>
                  </a:prstGeom>
                  <a:solidFill>
                    <a:srgbClr val="70AD47"/>
                  </a:solidFill>
                  <a:ln w="12700" cap="flat" cmpd="sng" algn="ctr">
                    <a:solidFill>
                      <a:srgbClr val="70AD47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200" kern="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856" name="Isosceles Triangle 1870">
                    <a:extLst>
                      <a:ext uri="{FF2B5EF4-FFF2-40B4-BE49-F238E27FC236}">
                        <a16:creationId xmlns:a16="http://schemas.microsoft.com/office/drawing/2014/main" id="{35F1F061-18AC-D661-4D63-6A81FB42D079}"/>
                      </a:ext>
                    </a:extLst>
                  </p:cNvPr>
                  <p:cNvSpPr/>
                  <p:nvPr/>
                </p:nvSpPr>
                <p:spPr>
                  <a:xfrm rot="3694861">
                    <a:off x="4072871" y="4239631"/>
                    <a:ext cx="156696" cy="91440"/>
                  </a:xfrm>
                  <a:prstGeom prst="triangle">
                    <a:avLst/>
                  </a:prstGeom>
                  <a:solidFill>
                    <a:srgbClr val="70AD47"/>
                  </a:solidFill>
                  <a:ln w="12700" cap="flat" cmpd="sng" algn="ctr">
                    <a:solidFill>
                      <a:srgbClr val="70AD47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200" kern="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857" name="Isosceles Triangle 1871">
                    <a:extLst>
                      <a:ext uri="{FF2B5EF4-FFF2-40B4-BE49-F238E27FC236}">
                        <a16:creationId xmlns:a16="http://schemas.microsoft.com/office/drawing/2014/main" id="{411461A7-1C17-B3E9-43F4-A12639722551}"/>
                      </a:ext>
                    </a:extLst>
                  </p:cNvPr>
                  <p:cNvSpPr/>
                  <p:nvPr/>
                </p:nvSpPr>
                <p:spPr>
                  <a:xfrm rot="94861">
                    <a:off x="4492410" y="4447595"/>
                    <a:ext cx="156696" cy="91440"/>
                  </a:xfrm>
                  <a:prstGeom prst="triangle">
                    <a:avLst/>
                  </a:prstGeom>
                  <a:solidFill>
                    <a:srgbClr val="70AD47"/>
                  </a:solidFill>
                  <a:ln w="12700" cap="flat" cmpd="sng" algn="ctr">
                    <a:solidFill>
                      <a:srgbClr val="70AD47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200" kern="0">
                      <a:solidFill>
                        <a:prstClr val="white"/>
                      </a:solidFill>
                    </a:endParaRPr>
                  </a:p>
                </p:txBody>
              </p:sp>
            </p:grpSp>
            <p:grpSp>
              <p:nvGrpSpPr>
                <p:cNvPr id="3800" name="Group 3799">
                  <a:extLst>
                    <a:ext uri="{FF2B5EF4-FFF2-40B4-BE49-F238E27FC236}">
                      <a16:creationId xmlns:a16="http://schemas.microsoft.com/office/drawing/2014/main" id="{085CBD3E-A921-83A6-514F-4F0ECC0ABA0A}"/>
                    </a:ext>
                  </a:extLst>
                </p:cNvPr>
                <p:cNvGrpSpPr/>
                <p:nvPr/>
              </p:nvGrpSpPr>
              <p:grpSpPr>
                <a:xfrm>
                  <a:off x="2392534" y="2291189"/>
                  <a:ext cx="4956858" cy="2970124"/>
                  <a:chOff x="2392534" y="2291189"/>
                  <a:chExt cx="4956858" cy="2970124"/>
                </a:xfrm>
              </p:grpSpPr>
              <p:sp>
                <p:nvSpPr>
                  <p:cNvPr id="3801" name="Rectangle 3800">
                    <a:extLst>
                      <a:ext uri="{FF2B5EF4-FFF2-40B4-BE49-F238E27FC236}">
                        <a16:creationId xmlns:a16="http://schemas.microsoft.com/office/drawing/2014/main" id="{3F3FA2E6-A44C-ADDF-5123-EAADAD39C5CB}"/>
                      </a:ext>
                    </a:extLst>
                  </p:cNvPr>
                  <p:cNvSpPr/>
                  <p:nvPr/>
                </p:nvSpPr>
                <p:spPr>
                  <a:xfrm>
                    <a:off x="2611858" y="4481614"/>
                    <a:ext cx="4737534" cy="779699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 defTabSz="685766">
                      <a:defRPr/>
                    </a:pPr>
                    <a:r>
                      <a:rPr lang="de" sz="800">
                        <a:solidFill>
                          <a:srgbClr val="404040"/>
                        </a:solidFill>
                        <a:ea typeface="Arial"/>
                        <a:cs typeface="Arial"/>
                      </a:rPr>
                      <a:t>Ein schädigendes Ereignis löst die Freisetzung von Antigenen aus Betazellen aus. Antigene aktivieren autoreaktive T-Zellen und schaffen so eine proinflammatorische Umgebung, die die Schädigung von Betazellen verschlimmert.</a:t>
                    </a:r>
                    <a:r>
                      <a:rPr lang="de" sz="800" baseline="30000">
                        <a:solidFill>
                          <a:srgbClr val="404040"/>
                        </a:solidFill>
                        <a:ea typeface="Arial"/>
                        <a:cs typeface="Arial"/>
                      </a:rPr>
                      <a:t>1</a:t>
                    </a:r>
                  </a:p>
                </p:txBody>
              </p:sp>
              <p:sp>
                <p:nvSpPr>
                  <p:cNvPr id="3802" name="Rectangle 3801">
                    <a:extLst>
                      <a:ext uri="{FF2B5EF4-FFF2-40B4-BE49-F238E27FC236}">
                        <a16:creationId xmlns:a16="http://schemas.microsoft.com/office/drawing/2014/main" id="{D6A63FB1-E7E8-C4AC-CBD3-B6898BACB8B8}"/>
                      </a:ext>
                    </a:extLst>
                  </p:cNvPr>
                  <p:cNvSpPr/>
                  <p:nvPr/>
                </p:nvSpPr>
                <p:spPr>
                  <a:xfrm>
                    <a:off x="3739091" y="2291189"/>
                    <a:ext cx="3116664" cy="348813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algn="ctr" defTabSz="685766">
                      <a:defRPr/>
                    </a:pPr>
                    <a:r>
                      <a:rPr lang="de" sz="1100" b="1">
                        <a:solidFill>
                          <a:srgbClr val="7030A0"/>
                        </a:solidFill>
                        <a:ea typeface="Arial"/>
                        <a:cs typeface="Arial"/>
                      </a:rPr>
                      <a:t>LANGERHANS‘SCHE INSEL</a:t>
                    </a:r>
                    <a:r>
                      <a:rPr lang="de" sz="1100" b="1" baseline="30000">
                        <a:solidFill>
                          <a:srgbClr val="7030A0"/>
                        </a:solidFill>
                        <a:ea typeface="Arial"/>
                        <a:cs typeface="Arial"/>
                      </a:rPr>
                      <a:t>2</a:t>
                    </a:r>
                  </a:p>
                </p:txBody>
              </p:sp>
              <p:sp>
                <p:nvSpPr>
                  <p:cNvPr id="3803" name="Freeform 19">
                    <a:extLst>
                      <a:ext uri="{FF2B5EF4-FFF2-40B4-BE49-F238E27FC236}">
                        <a16:creationId xmlns:a16="http://schemas.microsoft.com/office/drawing/2014/main" id="{89606299-FDE7-A0B5-4A7E-250B23B77F24}"/>
                      </a:ext>
                    </a:extLst>
                  </p:cNvPr>
                  <p:cNvSpPr/>
                  <p:nvPr/>
                </p:nvSpPr>
                <p:spPr>
                  <a:xfrm>
                    <a:off x="2392534" y="2968412"/>
                    <a:ext cx="2946890" cy="1404459"/>
                  </a:xfrm>
                  <a:custGeom>
                    <a:avLst/>
                    <a:gdLst>
                      <a:gd name="connsiteX0" fmla="*/ 0 w 2336800"/>
                      <a:gd name="connsiteY0" fmla="*/ 474133 h 1210733"/>
                      <a:gd name="connsiteX1" fmla="*/ 2336800 w 2336800"/>
                      <a:gd name="connsiteY1" fmla="*/ 0 h 1210733"/>
                      <a:gd name="connsiteX2" fmla="*/ 2336800 w 2336800"/>
                      <a:gd name="connsiteY2" fmla="*/ 1210733 h 1210733"/>
                      <a:gd name="connsiteX3" fmla="*/ 0 w 2336800"/>
                      <a:gd name="connsiteY3" fmla="*/ 474133 h 12107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36800" h="1210733">
                        <a:moveTo>
                          <a:pt x="0" y="474133"/>
                        </a:moveTo>
                        <a:lnTo>
                          <a:pt x="2336800" y="0"/>
                        </a:lnTo>
                        <a:lnTo>
                          <a:pt x="2336800" y="1210733"/>
                        </a:lnTo>
                        <a:lnTo>
                          <a:pt x="0" y="474133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chemeClr val="accent5">
                          <a:lumMod val="20000"/>
                          <a:lumOff val="80000"/>
                          <a:alpha val="50000"/>
                        </a:schemeClr>
                      </a:gs>
                      <a:gs pos="100000">
                        <a:schemeClr val="accent5"/>
                      </a:gs>
                      <a:gs pos="67000">
                        <a:schemeClr val="accent5">
                          <a:alpha val="50000"/>
                        </a:schemeClr>
                      </a:gs>
                    </a:gsLst>
                    <a:lin ang="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66">
                      <a:defRPr/>
                    </a:pPr>
                    <a:endParaRPr lang="en-US" sz="1200">
                      <a:solidFill>
                        <a:srgbClr val="FFFFFF"/>
                      </a:solidFill>
                    </a:endParaRPr>
                  </a:p>
                </p:txBody>
              </p:sp>
              <p:grpSp>
                <p:nvGrpSpPr>
                  <p:cNvPr id="3804" name="Group 3803">
                    <a:extLst>
                      <a:ext uri="{FF2B5EF4-FFF2-40B4-BE49-F238E27FC236}">
                        <a16:creationId xmlns:a16="http://schemas.microsoft.com/office/drawing/2014/main" id="{45FD53C3-7882-55E0-8E69-6FF35A2D76AA}"/>
                      </a:ext>
                    </a:extLst>
                  </p:cNvPr>
                  <p:cNvGrpSpPr/>
                  <p:nvPr/>
                </p:nvGrpSpPr>
                <p:grpSpPr>
                  <a:xfrm>
                    <a:off x="4593148" y="2968412"/>
                    <a:ext cx="1430967" cy="1372145"/>
                    <a:chOff x="2919401" y="1828364"/>
                    <a:chExt cx="1073225" cy="1029108"/>
                  </a:xfrm>
                </p:grpSpPr>
                <p:grpSp>
                  <p:nvGrpSpPr>
                    <p:cNvPr id="3805" name="Group 3804">
                      <a:extLst>
                        <a:ext uri="{FF2B5EF4-FFF2-40B4-BE49-F238E27FC236}">
                          <a16:creationId xmlns:a16="http://schemas.microsoft.com/office/drawing/2014/main" id="{90814053-D416-C045-7E66-ECFB746C5FC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919401" y="1850176"/>
                      <a:ext cx="1042899" cy="929390"/>
                      <a:chOff x="4882902" y="2687708"/>
                      <a:chExt cx="1695659" cy="1584262"/>
                    </a:xfrm>
                  </p:grpSpPr>
                  <p:grpSp>
                    <p:nvGrpSpPr>
                      <p:cNvPr id="3817" name="Group 3816">
                        <a:extLst>
                          <a:ext uri="{FF2B5EF4-FFF2-40B4-BE49-F238E27FC236}">
                            <a16:creationId xmlns:a16="http://schemas.microsoft.com/office/drawing/2014/main" id="{545CB333-7FF5-4A96-CB9D-ADE4A1B3A303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095154" y="2892346"/>
                        <a:ext cx="1483407" cy="1077132"/>
                        <a:chOff x="6655611" y="1328513"/>
                        <a:chExt cx="4036885" cy="3366966"/>
                      </a:xfrm>
                    </p:grpSpPr>
                    <p:pic>
                      <p:nvPicPr>
                        <p:cNvPr id="3833" name="Graphic 3832">
                          <a:extLst>
                            <a:ext uri="{FF2B5EF4-FFF2-40B4-BE49-F238E27FC236}">
                              <a16:creationId xmlns:a16="http://schemas.microsoft.com/office/drawing/2014/main" id="{B70AABAA-6CA1-78D1-D812-E1BDB0C9EB29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>
                          <a:extLs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7843735" y="2018549"/>
                          <a:ext cx="678525" cy="640407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34" name="Graphic 3833">
                          <a:extLst>
                            <a:ext uri="{FF2B5EF4-FFF2-40B4-BE49-F238E27FC236}">
                              <a16:creationId xmlns:a16="http://schemas.microsoft.com/office/drawing/2014/main" id="{CFEBFE68-6196-E9DC-2858-373452905702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>
                          <a:extLs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8630582" y="2244892"/>
                          <a:ext cx="678526" cy="64040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35" name="Graphic 3834">
                          <a:extLst>
                            <a:ext uri="{FF2B5EF4-FFF2-40B4-BE49-F238E27FC236}">
                              <a16:creationId xmlns:a16="http://schemas.microsoft.com/office/drawing/2014/main" id="{3EBE0A40-F3A0-EC87-DBDF-AD347905A9EB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>
                          <a:extLs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8706098" y="2978031"/>
                          <a:ext cx="678526" cy="64040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36" name="Graphic 3835">
                          <a:extLst>
                            <a:ext uri="{FF2B5EF4-FFF2-40B4-BE49-F238E27FC236}">
                              <a16:creationId xmlns:a16="http://schemas.microsoft.com/office/drawing/2014/main" id="{C9B56B00-B0E9-9771-D979-97C803FAD850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">
                          <a:extLst>
                            <a:ext uri="{96DAC541-7B7A-43D3-8B79-37D633B846F1}">
                              <asvg:svgBlip xmlns:asvg="http://schemas.microsoft.com/office/drawing/2016/SVG/main" r:embed="rId7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8474691" y="1573462"/>
                          <a:ext cx="678526" cy="64040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37" name="Graphic 3836">
                          <a:extLst>
                            <a:ext uri="{FF2B5EF4-FFF2-40B4-BE49-F238E27FC236}">
                              <a16:creationId xmlns:a16="http://schemas.microsoft.com/office/drawing/2014/main" id="{B8887FC6-0EAF-7BEF-6670-782A492626CE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>
                          <a:extLs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9927513" y="1940221"/>
                          <a:ext cx="536966" cy="506802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38" name="Graphic 3837">
                          <a:extLst>
                            <a:ext uri="{FF2B5EF4-FFF2-40B4-BE49-F238E27FC236}">
                              <a16:creationId xmlns:a16="http://schemas.microsoft.com/office/drawing/2014/main" id="{3760AD99-4427-ADFD-6145-5760E9970787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>
                          <a:extLs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9322276" y="2329588"/>
                          <a:ext cx="678526" cy="64040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39" name="Graphic 3838">
                          <a:extLst>
                            <a:ext uri="{FF2B5EF4-FFF2-40B4-BE49-F238E27FC236}">
                              <a16:creationId xmlns:a16="http://schemas.microsoft.com/office/drawing/2014/main" id="{F648550D-8A68-0058-D57C-8D56D76BE93D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>
                          <a:extLs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7299253" y="2833295"/>
                          <a:ext cx="678526" cy="64040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40" name="Graphic 3839">
                          <a:extLst>
                            <a:ext uri="{FF2B5EF4-FFF2-40B4-BE49-F238E27FC236}">
                              <a16:creationId xmlns:a16="http://schemas.microsoft.com/office/drawing/2014/main" id="{FB22177F-66AB-4C61-078C-7F88D1A5D800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">
                          <a:extLst>
                            <a:ext uri="{96DAC541-7B7A-43D3-8B79-37D633B846F1}">
                              <asvg:svgBlip xmlns:asvg="http://schemas.microsoft.com/office/drawing/2016/SVG/main" r:embed="rId7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8369166" y="3717694"/>
                          <a:ext cx="678526" cy="64040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41" name="Graphic 3840">
                          <a:extLst>
                            <a:ext uri="{FF2B5EF4-FFF2-40B4-BE49-F238E27FC236}">
                              <a16:creationId xmlns:a16="http://schemas.microsoft.com/office/drawing/2014/main" id="{12600B51-D8E0-8964-6A75-C828BFA05F7F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>
                          <a:extLs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9101569" y="3618436"/>
                          <a:ext cx="678526" cy="64040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42" name="Graphic 3841">
                          <a:extLst>
                            <a:ext uri="{FF2B5EF4-FFF2-40B4-BE49-F238E27FC236}">
                              <a16:creationId xmlns:a16="http://schemas.microsoft.com/office/drawing/2014/main" id="{49817010-88B2-07FF-118D-A6C176A89E8F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>
                          <a:extLs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9210147" y="1661379"/>
                          <a:ext cx="678526" cy="64040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43" name="Graphic 3842">
                          <a:extLst>
                            <a:ext uri="{FF2B5EF4-FFF2-40B4-BE49-F238E27FC236}">
                              <a16:creationId xmlns:a16="http://schemas.microsoft.com/office/drawing/2014/main" id="{C724FD61-DB3B-4C62-D0A1-DE18BCA4791C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>
                          <a:extLs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9494708" y="2998503"/>
                          <a:ext cx="678526" cy="64040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44" name="Graphic 3843">
                          <a:extLst>
                            <a:ext uri="{FF2B5EF4-FFF2-40B4-BE49-F238E27FC236}">
                              <a16:creationId xmlns:a16="http://schemas.microsoft.com/office/drawing/2014/main" id="{98698E10-7337-E81D-DE84-8FF7A3748010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">
                          <a:extLst>
                            <a:ext uri="{96DAC541-7B7A-43D3-8B79-37D633B846F1}">
                              <asvg:svgBlip xmlns:asvg="http://schemas.microsoft.com/office/drawing/2016/SVG/main" r:embed="rId7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10013970" y="2466260"/>
                          <a:ext cx="678526" cy="64040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45" name="Graphic 3844">
                          <a:extLst>
                            <a:ext uri="{FF2B5EF4-FFF2-40B4-BE49-F238E27FC236}">
                              <a16:creationId xmlns:a16="http://schemas.microsoft.com/office/drawing/2014/main" id="{72AE87D5-C4CE-3AB5-2BE0-46081F67658C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>
                          <a:extLs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9833970" y="3595834"/>
                          <a:ext cx="678526" cy="64040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46" name="Graphic 3845">
                          <a:extLst>
                            <a:ext uri="{FF2B5EF4-FFF2-40B4-BE49-F238E27FC236}">
                              <a16:creationId xmlns:a16="http://schemas.microsoft.com/office/drawing/2014/main" id="{C67DD27D-3025-2ED8-50AE-CA4DF67C5327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>
                          <a:extLs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7638361" y="4055074"/>
                          <a:ext cx="678526" cy="64040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47" name="Graphic 3846">
                          <a:extLst>
                            <a:ext uri="{FF2B5EF4-FFF2-40B4-BE49-F238E27FC236}">
                              <a16:creationId xmlns:a16="http://schemas.microsoft.com/office/drawing/2014/main" id="{1B6AA082-9DD6-7531-3E7D-10024365EA3A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>
                          <a:extLs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7134148" y="2157540"/>
                          <a:ext cx="678526" cy="64040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48" name="Graphic 3847">
                          <a:extLst>
                            <a:ext uri="{FF2B5EF4-FFF2-40B4-BE49-F238E27FC236}">
                              <a16:creationId xmlns:a16="http://schemas.microsoft.com/office/drawing/2014/main" id="{AAD1BEC5-9A54-9533-BC45-70FF244AAD3D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>
                          <a:extLs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6655611" y="2662499"/>
                          <a:ext cx="678525" cy="640407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49" name="Graphic 3848">
                          <a:extLst>
                            <a:ext uri="{FF2B5EF4-FFF2-40B4-BE49-F238E27FC236}">
                              <a16:creationId xmlns:a16="http://schemas.microsoft.com/office/drawing/2014/main" id="{171B13A9-B274-890E-666E-3B3446602A5B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>
                          <a:extLs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7799052" y="1328513"/>
                          <a:ext cx="678526" cy="64040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850" name="Graphic 3849">
                          <a:extLst>
                            <a:ext uri="{FF2B5EF4-FFF2-40B4-BE49-F238E27FC236}">
                              <a16:creationId xmlns:a16="http://schemas.microsoft.com/office/drawing/2014/main" id="{58807815-0C97-739A-B857-EBB739879467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>
                          <a:extLs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7054804" y="3529685"/>
                          <a:ext cx="678526" cy="640405"/>
                        </a:xfrm>
                        <a:prstGeom prst="rect">
                          <a:avLst/>
                        </a:prstGeom>
                      </p:spPr>
                    </p:pic>
                  </p:grpSp>
                  <p:pic>
                    <p:nvPicPr>
                      <p:cNvPr id="3818" name="Graphic 3817">
                        <a:extLst>
                          <a:ext uri="{FF2B5EF4-FFF2-40B4-BE49-F238E27FC236}">
                            <a16:creationId xmlns:a16="http://schemas.microsoft.com/office/drawing/2014/main" id="{583E724F-8712-BC0C-ED15-B055BA7B9BB1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5693910" y="3890179"/>
                        <a:ext cx="249333" cy="204873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819" name="Graphic 3818">
                        <a:extLst>
                          <a:ext uri="{FF2B5EF4-FFF2-40B4-BE49-F238E27FC236}">
                            <a16:creationId xmlns:a16="http://schemas.microsoft.com/office/drawing/2014/main" id="{8F5FB15C-8B6B-D2DC-101E-07D3A4B4AC48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5024302" y="3542493"/>
                        <a:ext cx="249333" cy="204873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820" name="Graphic 3819">
                        <a:extLst>
                          <a:ext uri="{FF2B5EF4-FFF2-40B4-BE49-F238E27FC236}">
                            <a16:creationId xmlns:a16="http://schemas.microsoft.com/office/drawing/2014/main" id="{F4F52BAE-532C-175C-DC13-A95A8AD2BDAF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5278465" y="2958847"/>
                        <a:ext cx="249333" cy="204873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821" name="Graphic 3820">
                        <a:extLst>
                          <a:ext uri="{FF2B5EF4-FFF2-40B4-BE49-F238E27FC236}">
                            <a16:creationId xmlns:a16="http://schemas.microsoft.com/office/drawing/2014/main" id="{B18B19F8-70CA-A0A5-DB9F-753A744A9B38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5956642" y="3838548"/>
                        <a:ext cx="249333" cy="204874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822" name="Graphic 3821">
                        <a:extLst>
                          <a:ext uri="{FF2B5EF4-FFF2-40B4-BE49-F238E27FC236}">
                            <a16:creationId xmlns:a16="http://schemas.microsoft.com/office/drawing/2014/main" id="{945A9261-BCB7-70B8-066A-54DEC37CDF58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6210116" y="3813531"/>
                        <a:ext cx="249333" cy="204874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823" name="Graphic 3822">
                        <a:extLst>
                          <a:ext uri="{FF2B5EF4-FFF2-40B4-BE49-F238E27FC236}">
                            <a16:creationId xmlns:a16="http://schemas.microsoft.com/office/drawing/2014/main" id="{15CD0A81-A043-9B57-BBDE-4AE240AFF13D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5201552" y="3839088"/>
                        <a:ext cx="249333" cy="204873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824" name="Graphic 3823">
                        <a:extLst>
                          <a:ext uri="{FF2B5EF4-FFF2-40B4-BE49-F238E27FC236}">
                            <a16:creationId xmlns:a16="http://schemas.microsoft.com/office/drawing/2014/main" id="{3438DBE2-7B36-D719-87B1-941F4609B2B5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6009523" y="2782809"/>
                        <a:ext cx="249333" cy="204874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825" name="Graphic 3824">
                        <a:extLst>
                          <a:ext uri="{FF2B5EF4-FFF2-40B4-BE49-F238E27FC236}">
                            <a16:creationId xmlns:a16="http://schemas.microsoft.com/office/drawing/2014/main" id="{0E142530-1590-4B04-CFAC-0BD568C7B9C0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4962313" y="3142793"/>
                        <a:ext cx="249333" cy="204874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826" name="Graphic 3825">
                        <a:extLst>
                          <a:ext uri="{FF2B5EF4-FFF2-40B4-BE49-F238E27FC236}">
                            <a16:creationId xmlns:a16="http://schemas.microsoft.com/office/drawing/2014/main" id="{1D9B0585-FEC3-A239-DF40-85A0AB8AB301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5516188" y="3551116"/>
                        <a:ext cx="205440" cy="168807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827" name="Graphic 3826">
                        <a:extLst>
                          <a:ext uri="{FF2B5EF4-FFF2-40B4-BE49-F238E27FC236}">
                            <a16:creationId xmlns:a16="http://schemas.microsoft.com/office/drawing/2014/main" id="{32DCDE5A-5EA3-3A29-8EB2-B955584D3D82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6">
                        <a:extLst>
                          <a:ext uri="{96DAC541-7B7A-43D3-8B79-37D633B846F1}">
                            <asvg:svgBlip xmlns:asvg="http://schemas.microsoft.com/office/drawing/2016/SVG/main" r:embed="rId7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5244966" y="2744422"/>
                        <a:ext cx="249333" cy="204874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828" name="Graphic 3827">
                        <a:extLst>
                          <a:ext uri="{FF2B5EF4-FFF2-40B4-BE49-F238E27FC236}">
                            <a16:creationId xmlns:a16="http://schemas.microsoft.com/office/drawing/2014/main" id="{462A81C8-7171-47A2-AC51-10459DE80183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 rot="1800000">
                        <a:off x="5951506" y="4067096"/>
                        <a:ext cx="249333" cy="204874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829" name="Graphic 3828">
                        <a:extLst>
                          <a:ext uri="{FF2B5EF4-FFF2-40B4-BE49-F238E27FC236}">
                            <a16:creationId xmlns:a16="http://schemas.microsoft.com/office/drawing/2014/main" id="{8BD6E36A-CE05-9922-CD10-9FAE7BD9802B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6">
                        <a:extLst>
                          <a:ext uri="{96DAC541-7B7A-43D3-8B79-37D633B846F1}">
                            <asvg:svgBlip xmlns:asvg="http://schemas.microsoft.com/office/drawing/2016/SVG/main" r:embed="rId7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5460423" y="3964815"/>
                        <a:ext cx="249333" cy="204873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830" name="Graphic 3829">
                        <a:extLst>
                          <a:ext uri="{FF2B5EF4-FFF2-40B4-BE49-F238E27FC236}">
                            <a16:creationId xmlns:a16="http://schemas.microsoft.com/office/drawing/2014/main" id="{1F19583E-D0BA-DA82-5953-E126A45392E3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 rot="900000">
                        <a:off x="5752213" y="2756909"/>
                        <a:ext cx="249333" cy="204874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831" name="Graphic 3830">
                        <a:extLst>
                          <a:ext uri="{FF2B5EF4-FFF2-40B4-BE49-F238E27FC236}">
                            <a16:creationId xmlns:a16="http://schemas.microsoft.com/office/drawing/2014/main" id="{F2037C05-C0B0-72FB-6055-382B940514E4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5515327" y="2687708"/>
                        <a:ext cx="249333" cy="204874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832" name="Graphic 3831">
                        <a:extLst>
                          <a:ext uri="{FF2B5EF4-FFF2-40B4-BE49-F238E27FC236}">
                            <a16:creationId xmlns:a16="http://schemas.microsoft.com/office/drawing/2014/main" id="{1F6BA70E-2CA0-AFAD-3386-DEE87E002BF8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6">
                        <a:extLst>
                          <a:ext uri="{96DAC541-7B7A-43D3-8B79-37D633B846F1}">
                            <asvg:svgBlip xmlns:asvg="http://schemas.microsoft.com/office/drawing/2016/SVG/main" r:embed="rId7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 rot="17100000">
                        <a:off x="4860673" y="3370999"/>
                        <a:ext cx="249332" cy="204873"/>
                      </a:xfrm>
                      <a:prstGeom prst="rect">
                        <a:avLst/>
                      </a:prstGeom>
                    </p:spPr>
                  </p:pic>
                </p:grpSp>
                <p:pic>
                  <p:nvPicPr>
                    <p:cNvPr id="3806" name="Graphic 3805">
                      <a:extLst>
                        <a:ext uri="{FF2B5EF4-FFF2-40B4-BE49-F238E27FC236}">
                          <a16:creationId xmlns:a16="http://schemas.microsoft.com/office/drawing/2014/main" id="{4004EBE5-CACA-7DD1-2DE4-3F0CA1DD138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367900" y="2220795"/>
                      <a:ext cx="153350" cy="12018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07" name="Graphic 3806">
                      <a:extLst>
                        <a:ext uri="{FF2B5EF4-FFF2-40B4-BE49-F238E27FC236}">
                          <a16:creationId xmlns:a16="http://schemas.microsoft.com/office/drawing/2014/main" id="{C9FB5D0F-2170-7B71-914D-E96179FA89F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2700000">
                      <a:off x="3437218" y="2683883"/>
                      <a:ext cx="153350" cy="12018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08" name="Graphic 3807">
                      <a:extLst>
                        <a:ext uri="{FF2B5EF4-FFF2-40B4-BE49-F238E27FC236}">
                          <a16:creationId xmlns:a16="http://schemas.microsoft.com/office/drawing/2014/main" id="{1E97D284-E3B9-738E-2E0D-763219C5341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728664" y="2636590"/>
                      <a:ext cx="101873" cy="7984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09" name="Graphic 3808">
                      <a:extLst>
                        <a:ext uri="{FF2B5EF4-FFF2-40B4-BE49-F238E27FC236}">
                          <a16:creationId xmlns:a16="http://schemas.microsoft.com/office/drawing/2014/main" id="{710E1E63-9031-28F4-C2FA-9E4AFC080C7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854762" y="2299145"/>
                      <a:ext cx="137864" cy="10805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10" name="Graphic 3809">
                      <a:extLst>
                        <a:ext uri="{FF2B5EF4-FFF2-40B4-BE49-F238E27FC236}">
                          <a16:creationId xmlns:a16="http://schemas.microsoft.com/office/drawing/2014/main" id="{FD8CBDB6-CB97-A1F7-5EA2-5C985CD49D4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4500000">
                      <a:off x="3318467" y="2720703"/>
                      <a:ext cx="153350" cy="12018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11" name="Graphic 3810">
                      <a:extLst>
                        <a:ext uri="{FF2B5EF4-FFF2-40B4-BE49-F238E27FC236}">
                          <a16:creationId xmlns:a16="http://schemas.microsoft.com/office/drawing/2014/main" id="{C32F16A8-C768-6514-D11B-73C69356529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7200000">
                      <a:off x="3148110" y="2658937"/>
                      <a:ext cx="153350" cy="12018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12" name="Graphic 3811">
                      <a:extLst>
                        <a:ext uri="{FF2B5EF4-FFF2-40B4-BE49-F238E27FC236}">
                          <a16:creationId xmlns:a16="http://schemas.microsoft.com/office/drawing/2014/main" id="{AC9ED99F-83D3-12F3-4146-D90EC08462D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7200000">
                      <a:off x="2988353" y="2491555"/>
                      <a:ext cx="153350" cy="12018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13" name="Graphic 3812">
                      <a:extLst>
                        <a:ext uri="{FF2B5EF4-FFF2-40B4-BE49-F238E27FC236}">
                          <a16:creationId xmlns:a16="http://schemas.microsoft.com/office/drawing/2014/main" id="{9B4B65F2-57F2-CE2D-8EA5-A29A7F26EDC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1800000">
                      <a:off x="3058300" y="2618539"/>
                      <a:ext cx="102863" cy="80618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14" name="Graphic 3813">
                      <a:extLst>
                        <a:ext uri="{FF2B5EF4-FFF2-40B4-BE49-F238E27FC236}">
                          <a16:creationId xmlns:a16="http://schemas.microsoft.com/office/drawing/2014/main" id="{93FE212A-E661-3B7A-8B75-D20DC3DDC2A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2700000">
                      <a:off x="2920755" y="2403018"/>
                      <a:ext cx="105240" cy="82481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15" name="Graphic 3814">
                      <a:extLst>
                        <a:ext uri="{FF2B5EF4-FFF2-40B4-BE49-F238E27FC236}">
                          <a16:creationId xmlns:a16="http://schemas.microsoft.com/office/drawing/2014/main" id="{AE489D09-2E47-F487-9787-75B30647BFF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6595814">
                      <a:off x="3023331" y="1988535"/>
                      <a:ext cx="153350" cy="12018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16" name="Graphic 3815">
                      <a:extLst>
                        <a:ext uri="{FF2B5EF4-FFF2-40B4-BE49-F238E27FC236}">
                          <a16:creationId xmlns:a16="http://schemas.microsoft.com/office/drawing/2014/main" id="{E1E5A727-18EA-FD55-CDE8-F3BE5C4D3EC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>
                      <a:extLst>
                        <a:ext uri="{96DAC541-7B7A-43D3-8B79-37D633B846F1}">
                          <asvg:svgBlip xmlns:asvg="http://schemas.microsoft.com/office/drawing/2016/SVG/main" r:embed="rId5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561036" y="1828364"/>
                      <a:ext cx="130304" cy="102125"/>
                    </a:xfrm>
                    <a:prstGeom prst="rect">
                      <a:avLst/>
                    </a:prstGeom>
                  </p:spPr>
                </p:pic>
              </p:grpSp>
            </p:grpSp>
          </p:grpSp>
          <p:grpSp>
            <p:nvGrpSpPr>
              <p:cNvPr id="3754" name="Group 3753">
                <a:extLst>
                  <a:ext uri="{FF2B5EF4-FFF2-40B4-BE49-F238E27FC236}">
                    <a16:creationId xmlns:a16="http://schemas.microsoft.com/office/drawing/2014/main" id="{17301C55-D06B-F2D7-7ECA-AF538B578CA2}"/>
                  </a:ext>
                </a:extLst>
              </p:cNvPr>
              <p:cNvGrpSpPr/>
              <p:nvPr/>
            </p:nvGrpSpPr>
            <p:grpSpPr>
              <a:xfrm>
                <a:off x="4563195" y="2902307"/>
                <a:ext cx="1470409" cy="1470408"/>
                <a:chOff x="2898967" y="1781131"/>
                <a:chExt cx="1097280" cy="1097279"/>
              </a:xfrm>
            </p:grpSpPr>
            <p:grpSp>
              <p:nvGrpSpPr>
                <p:cNvPr id="3755" name="Group 3754">
                  <a:extLst>
                    <a:ext uri="{FF2B5EF4-FFF2-40B4-BE49-F238E27FC236}">
                      <a16:creationId xmlns:a16="http://schemas.microsoft.com/office/drawing/2014/main" id="{BFDC87CD-31D2-593E-A2AF-3C94D691144C}"/>
                    </a:ext>
                  </a:extLst>
                </p:cNvPr>
                <p:cNvGrpSpPr/>
                <p:nvPr/>
              </p:nvGrpSpPr>
              <p:grpSpPr>
                <a:xfrm>
                  <a:off x="2898967" y="1781131"/>
                  <a:ext cx="1097280" cy="1097279"/>
                  <a:chOff x="4849676" y="2570012"/>
                  <a:chExt cx="1784077" cy="1870450"/>
                </a:xfrm>
              </p:grpSpPr>
              <p:grpSp>
                <p:nvGrpSpPr>
                  <p:cNvPr id="3765" name="Group 3764">
                    <a:extLst>
                      <a:ext uri="{FF2B5EF4-FFF2-40B4-BE49-F238E27FC236}">
                        <a16:creationId xmlns:a16="http://schemas.microsoft.com/office/drawing/2014/main" id="{952715E9-7A2B-C2C4-4557-1850E30670B1}"/>
                      </a:ext>
                    </a:extLst>
                  </p:cNvPr>
                  <p:cNvGrpSpPr/>
                  <p:nvPr/>
                </p:nvGrpSpPr>
                <p:grpSpPr>
                  <a:xfrm>
                    <a:off x="4849676" y="2570012"/>
                    <a:ext cx="1784077" cy="1870450"/>
                    <a:chOff x="1789223" y="3310260"/>
                    <a:chExt cx="911697" cy="1097908"/>
                  </a:xfrm>
                </p:grpSpPr>
                <p:sp>
                  <p:nvSpPr>
                    <p:cNvPr id="3780" name="Oval 3779">
                      <a:extLst>
                        <a:ext uri="{FF2B5EF4-FFF2-40B4-BE49-F238E27FC236}">
                          <a16:creationId xmlns:a16="http://schemas.microsoft.com/office/drawing/2014/main" id="{05E4E3B4-7F9B-EA54-8AEC-A89C739602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789223" y="3310260"/>
                      <a:ext cx="911697" cy="1097908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19050">
                      <a:solidFill>
                        <a:srgbClr val="7967BE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685766">
                        <a:defRPr/>
                      </a:pPr>
                      <a:endParaRPr lang="en-US" sz="1200"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grpSp>
                  <p:nvGrpSpPr>
                    <p:cNvPr id="3781" name="Group 3780">
                      <a:extLst>
                        <a:ext uri="{FF2B5EF4-FFF2-40B4-BE49-F238E27FC236}">
                          <a16:creationId xmlns:a16="http://schemas.microsoft.com/office/drawing/2014/main" id="{8F2128C5-4850-AEF6-F141-794404B90EC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914667" y="3499462"/>
                      <a:ext cx="758049" cy="632250"/>
                      <a:chOff x="6655611" y="1328513"/>
                      <a:chExt cx="4036885" cy="3366966"/>
                    </a:xfrm>
                  </p:grpSpPr>
                  <p:pic>
                    <p:nvPicPr>
                      <p:cNvPr id="3782" name="Graphic 3781">
                        <a:extLst>
                          <a:ext uri="{FF2B5EF4-FFF2-40B4-BE49-F238E27FC236}">
                            <a16:creationId xmlns:a16="http://schemas.microsoft.com/office/drawing/2014/main" id="{647FE050-C8C5-1077-F089-AC051D21DEDD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7843735" y="2018549"/>
                        <a:ext cx="678525" cy="640407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783" name="Graphic 3782">
                        <a:extLst>
                          <a:ext uri="{FF2B5EF4-FFF2-40B4-BE49-F238E27FC236}">
                            <a16:creationId xmlns:a16="http://schemas.microsoft.com/office/drawing/2014/main" id="{75CB58E0-282C-2338-2C36-76FEF2F0FE8D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8630582" y="2244892"/>
                        <a:ext cx="678526" cy="640405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784" name="Graphic 3783">
                        <a:extLst>
                          <a:ext uri="{FF2B5EF4-FFF2-40B4-BE49-F238E27FC236}">
                            <a16:creationId xmlns:a16="http://schemas.microsoft.com/office/drawing/2014/main" id="{AF01A7B4-635A-7F5F-7BCD-1C64FE8EAC9B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8706098" y="2978031"/>
                        <a:ext cx="678526" cy="640405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785" name="Graphic 3784">
                        <a:extLst>
                          <a:ext uri="{FF2B5EF4-FFF2-40B4-BE49-F238E27FC236}">
                            <a16:creationId xmlns:a16="http://schemas.microsoft.com/office/drawing/2014/main" id="{ABD95CCC-4F16-4EEB-7181-DA6B616E083E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6">
                        <a:extLst>
                          <a:ext uri="{96DAC541-7B7A-43D3-8B79-37D633B846F1}">
                            <asvg:svgBlip xmlns:asvg="http://schemas.microsoft.com/office/drawing/2016/SVG/main" r:embed="rId17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8474691" y="1573462"/>
                        <a:ext cx="678526" cy="640405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786" name="Graphic 3785">
                        <a:extLst>
                          <a:ext uri="{FF2B5EF4-FFF2-40B4-BE49-F238E27FC236}">
                            <a16:creationId xmlns:a16="http://schemas.microsoft.com/office/drawing/2014/main" id="{80690A88-6CC0-9E69-EFB2-711500BE1DAD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927513" y="1940221"/>
                        <a:ext cx="536966" cy="506802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787" name="Graphic 3786">
                        <a:extLst>
                          <a:ext uri="{FF2B5EF4-FFF2-40B4-BE49-F238E27FC236}">
                            <a16:creationId xmlns:a16="http://schemas.microsoft.com/office/drawing/2014/main" id="{6E41D1E5-29EE-A01E-F979-91D6604D0F85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322276" y="2329588"/>
                        <a:ext cx="678526" cy="640405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788" name="Graphic 3787">
                        <a:extLst>
                          <a:ext uri="{FF2B5EF4-FFF2-40B4-BE49-F238E27FC236}">
                            <a16:creationId xmlns:a16="http://schemas.microsoft.com/office/drawing/2014/main" id="{82BA3423-1FCC-91F9-760F-1EF2F015A9DE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7299253" y="2833295"/>
                        <a:ext cx="678526" cy="640405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789" name="Graphic 3788">
                        <a:extLst>
                          <a:ext uri="{FF2B5EF4-FFF2-40B4-BE49-F238E27FC236}">
                            <a16:creationId xmlns:a16="http://schemas.microsoft.com/office/drawing/2014/main" id="{5BA5DF4B-0CA3-2CA2-1329-AFB5E190867F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6">
                        <a:extLst>
                          <a:ext uri="{96DAC541-7B7A-43D3-8B79-37D633B846F1}">
                            <asvg:svgBlip xmlns:asvg="http://schemas.microsoft.com/office/drawing/2016/SVG/main" r:embed="rId17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8369166" y="3717694"/>
                        <a:ext cx="678526" cy="640405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790" name="Graphic 3789">
                        <a:extLst>
                          <a:ext uri="{FF2B5EF4-FFF2-40B4-BE49-F238E27FC236}">
                            <a16:creationId xmlns:a16="http://schemas.microsoft.com/office/drawing/2014/main" id="{93A591B2-7D0C-5B79-DB19-6D6851CEBD57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101569" y="3618436"/>
                        <a:ext cx="678526" cy="640405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791" name="Graphic 3790">
                        <a:extLst>
                          <a:ext uri="{FF2B5EF4-FFF2-40B4-BE49-F238E27FC236}">
                            <a16:creationId xmlns:a16="http://schemas.microsoft.com/office/drawing/2014/main" id="{B062F6ED-65DA-567D-C2AE-08EA22E8B43F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210147" y="1661379"/>
                        <a:ext cx="678526" cy="640405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792" name="Graphic 3791">
                        <a:extLst>
                          <a:ext uri="{FF2B5EF4-FFF2-40B4-BE49-F238E27FC236}">
                            <a16:creationId xmlns:a16="http://schemas.microsoft.com/office/drawing/2014/main" id="{104EB229-C4FE-21E2-28C2-0E7295E64238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494708" y="2998503"/>
                        <a:ext cx="678526" cy="640405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793" name="Graphic 3792">
                        <a:extLst>
                          <a:ext uri="{FF2B5EF4-FFF2-40B4-BE49-F238E27FC236}">
                            <a16:creationId xmlns:a16="http://schemas.microsoft.com/office/drawing/2014/main" id="{7B612873-8540-4201-AEB4-60B5D2521F03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6">
                        <a:extLst>
                          <a:ext uri="{96DAC541-7B7A-43D3-8B79-37D633B846F1}">
                            <asvg:svgBlip xmlns:asvg="http://schemas.microsoft.com/office/drawing/2016/SVG/main" r:embed="rId17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10013970" y="2466260"/>
                        <a:ext cx="678526" cy="640405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794" name="Graphic 3793">
                        <a:extLst>
                          <a:ext uri="{FF2B5EF4-FFF2-40B4-BE49-F238E27FC236}">
                            <a16:creationId xmlns:a16="http://schemas.microsoft.com/office/drawing/2014/main" id="{073E716C-FB0D-FC82-8FD5-40BFB4122EF3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7638361" y="4055074"/>
                        <a:ext cx="678526" cy="640405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795" name="Graphic 3794">
                        <a:extLst>
                          <a:ext uri="{FF2B5EF4-FFF2-40B4-BE49-F238E27FC236}">
                            <a16:creationId xmlns:a16="http://schemas.microsoft.com/office/drawing/2014/main" id="{C07B25F8-A139-C407-2931-060E79B501F3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7134148" y="2157540"/>
                        <a:ext cx="678526" cy="640405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796" name="Graphic 3795">
                        <a:extLst>
                          <a:ext uri="{FF2B5EF4-FFF2-40B4-BE49-F238E27FC236}">
                            <a16:creationId xmlns:a16="http://schemas.microsoft.com/office/drawing/2014/main" id="{CDD506E8-8BBB-8A93-B790-416AA32570EA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6655611" y="2662499"/>
                        <a:ext cx="678525" cy="640407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797" name="Graphic 3796">
                        <a:extLst>
                          <a:ext uri="{FF2B5EF4-FFF2-40B4-BE49-F238E27FC236}">
                            <a16:creationId xmlns:a16="http://schemas.microsoft.com/office/drawing/2014/main" id="{24303E52-B7ED-BB4E-E611-EA71B32A0B02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7799052" y="1328513"/>
                        <a:ext cx="678526" cy="640405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798" name="Graphic 3797">
                        <a:extLst>
                          <a:ext uri="{FF2B5EF4-FFF2-40B4-BE49-F238E27FC236}">
                            <a16:creationId xmlns:a16="http://schemas.microsoft.com/office/drawing/2014/main" id="{B90303DF-11AF-01C2-6047-B6D454C4168B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4">
                        <a:extLst>
                          <a:ext uri="{96DAC541-7B7A-43D3-8B79-37D633B846F1}">
                            <asvg:svgBlip xmlns:asvg="http://schemas.microsoft.com/office/drawing/2016/SVG/main" r:embed="rId5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7054804" y="3529685"/>
                        <a:ext cx="678526" cy="640405"/>
                      </a:xfrm>
                      <a:prstGeom prst="rect">
                        <a:avLst/>
                      </a:prstGeom>
                    </p:spPr>
                  </p:pic>
                </p:grpSp>
              </p:grpSp>
              <p:pic>
                <p:nvPicPr>
                  <p:cNvPr id="3766" name="Graphic 3765">
                    <a:extLst>
                      <a:ext uri="{FF2B5EF4-FFF2-40B4-BE49-F238E27FC236}">
                        <a16:creationId xmlns:a16="http://schemas.microsoft.com/office/drawing/2014/main" id="{339502AD-84C4-97B5-8889-1DD38879A7C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693910" y="3890179"/>
                    <a:ext cx="249333" cy="204873"/>
                  </a:xfrm>
                  <a:prstGeom prst="rect">
                    <a:avLst/>
                  </a:prstGeom>
                </p:spPr>
              </p:pic>
              <p:pic>
                <p:nvPicPr>
                  <p:cNvPr id="3767" name="Graphic 3766">
                    <a:extLst>
                      <a:ext uri="{FF2B5EF4-FFF2-40B4-BE49-F238E27FC236}">
                        <a16:creationId xmlns:a16="http://schemas.microsoft.com/office/drawing/2014/main" id="{36C290AA-9F3C-4E02-9372-3DF6726CC16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24302" y="3542493"/>
                    <a:ext cx="249333" cy="204873"/>
                  </a:xfrm>
                  <a:prstGeom prst="rect">
                    <a:avLst/>
                  </a:prstGeom>
                </p:spPr>
              </p:pic>
              <p:pic>
                <p:nvPicPr>
                  <p:cNvPr id="3768" name="Graphic 3767">
                    <a:extLst>
                      <a:ext uri="{FF2B5EF4-FFF2-40B4-BE49-F238E27FC236}">
                        <a16:creationId xmlns:a16="http://schemas.microsoft.com/office/drawing/2014/main" id="{1236B9AC-270F-5329-CC7D-3B207E88F70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78465" y="2958847"/>
                    <a:ext cx="249333" cy="204873"/>
                  </a:xfrm>
                  <a:prstGeom prst="rect">
                    <a:avLst/>
                  </a:prstGeom>
                </p:spPr>
              </p:pic>
              <p:pic>
                <p:nvPicPr>
                  <p:cNvPr id="3769" name="Graphic 3768">
                    <a:extLst>
                      <a:ext uri="{FF2B5EF4-FFF2-40B4-BE49-F238E27FC236}">
                        <a16:creationId xmlns:a16="http://schemas.microsoft.com/office/drawing/2014/main" id="{64D23904-1980-F4E8-6A2B-6A1C84CDB07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956642" y="3838548"/>
                    <a:ext cx="249333" cy="204874"/>
                  </a:xfrm>
                  <a:prstGeom prst="rect">
                    <a:avLst/>
                  </a:prstGeom>
                </p:spPr>
              </p:pic>
              <p:pic>
                <p:nvPicPr>
                  <p:cNvPr id="3770" name="Graphic 3769">
                    <a:extLst>
                      <a:ext uri="{FF2B5EF4-FFF2-40B4-BE49-F238E27FC236}">
                        <a16:creationId xmlns:a16="http://schemas.microsoft.com/office/drawing/2014/main" id="{623686C3-E7CA-52DF-DE7B-11153BB8B98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210116" y="3813531"/>
                    <a:ext cx="249333" cy="204874"/>
                  </a:xfrm>
                  <a:prstGeom prst="rect">
                    <a:avLst/>
                  </a:prstGeom>
                </p:spPr>
              </p:pic>
              <p:pic>
                <p:nvPicPr>
                  <p:cNvPr id="3771" name="Graphic 3770">
                    <a:extLst>
                      <a:ext uri="{FF2B5EF4-FFF2-40B4-BE49-F238E27FC236}">
                        <a16:creationId xmlns:a16="http://schemas.microsoft.com/office/drawing/2014/main" id="{DD3F28FC-5239-A1B2-D582-83579DC54C8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009523" y="2782809"/>
                    <a:ext cx="249333" cy="204874"/>
                  </a:xfrm>
                  <a:prstGeom prst="rect">
                    <a:avLst/>
                  </a:prstGeom>
                </p:spPr>
              </p:pic>
              <p:pic>
                <p:nvPicPr>
                  <p:cNvPr id="3772" name="Graphic 3771">
                    <a:extLst>
                      <a:ext uri="{FF2B5EF4-FFF2-40B4-BE49-F238E27FC236}">
                        <a16:creationId xmlns:a16="http://schemas.microsoft.com/office/drawing/2014/main" id="{C7F9C936-323C-5DB9-5D6A-3307DC2D44A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62313" y="3142793"/>
                    <a:ext cx="249333" cy="204874"/>
                  </a:xfrm>
                  <a:prstGeom prst="rect">
                    <a:avLst/>
                  </a:prstGeom>
                </p:spPr>
              </p:pic>
              <p:pic>
                <p:nvPicPr>
                  <p:cNvPr id="3773" name="Graphic 3772">
                    <a:extLst>
                      <a:ext uri="{FF2B5EF4-FFF2-40B4-BE49-F238E27FC236}">
                        <a16:creationId xmlns:a16="http://schemas.microsoft.com/office/drawing/2014/main" id="{2641D27B-3ABF-BCA7-1FB0-185CEFE2797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16188" y="3551116"/>
                    <a:ext cx="205440" cy="168807"/>
                  </a:xfrm>
                  <a:prstGeom prst="rect">
                    <a:avLst/>
                  </a:prstGeom>
                </p:spPr>
              </p:pic>
              <p:pic>
                <p:nvPicPr>
                  <p:cNvPr id="3774" name="Graphic 3773">
                    <a:extLst>
                      <a:ext uri="{FF2B5EF4-FFF2-40B4-BE49-F238E27FC236}">
                        <a16:creationId xmlns:a16="http://schemas.microsoft.com/office/drawing/2014/main" id="{4668CC63-27AD-116F-02C4-5E9BF76D666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6">
                    <a:extLst>
                      <a:ext uri="{96DAC541-7B7A-43D3-8B79-37D633B846F1}">
                        <asvg:svgBlip xmlns:asvg="http://schemas.microsoft.com/office/drawing/2016/SVG/main" r:embed="rId1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244966" y="2744422"/>
                    <a:ext cx="249333" cy="204874"/>
                  </a:xfrm>
                  <a:prstGeom prst="rect">
                    <a:avLst/>
                  </a:prstGeom>
                </p:spPr>
              </p:pic>
              <p:pic>
                <p:nvPicPr>
                  <p:cNvPr id="3775" name="Graphic 3774">
                    <a:extLst>
                      <a:ext uri="{FF2B5EF4-FFF2-40B4-BE49-F238E27FC236}">
                        <a16:creationId xmlns:a16="http://schemas.microsoft.com/office/drawing/2014/main" id="{D608F332-8AD3-52DD-2E77-7517420207D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 rot="1800000">
                    <a:off x="5951506" y="4067096"/>
                    <a:ext cx="249333" cy="204874"/>
                  </a:xfrm>
                  <a:prstGeom prst="rect">
                    <a:avLst/>
                  </a:prstGeom>
                </p:spPr>
              </p:pic>
              <p:pic>
                <p:nvPicPr>
                  <p:cNvPr id="3776" name="Graphic 3775">
                    <a:extLst>
                      <a:ext uri="{FF2B5EF4-FFF2-40B4-BE49-F238E27FC236}">
                        <a16:creationId xmlns:a16="http://schemas.microsoft.com/office/drawing/2014/main" id="{A301DE84-89DC-C823-CC1A-5100103FEDE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6">
                    <a:extLst>
                      <a:ext uri="{96DAC541-7B7A-43D3-8B79-37D633B846F1}">
                        <asvg:svgBlip xmlns:asvg="http://schemas.microsoft.com/office/drawing/2016/SVG/main" r:embed="rId1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60423" y="3964815"/>
                    <a:ext cx="249333" cy="204873"/>
                  </a:xfrm>
                  <a:prstGeom prst="rect">
                    <a:avLst/>
                  </a:prstGeom>
                </p:spPr>
              </p:pic>
              <p:pic>
                <p:nvPicPr>
                  <p:cNvPr id="3777" name="Graphic 3776">
                    <a:extLst>
                      <a:ext uri="{FF2B5EF4-FFF2-40B4-BE49-F238E27FC236}">
                        <a16:creationId xmlns:a16="http://schemas.microsoft.com/office/drawing/2014/main" id="{565AA97B-642C-3D0E-0254-F08CA781425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 rot="900000">
                    <a:off x="5752213" y="2756909"/>
                    <a:ext cx="249333" cy="204874"/>
                  </a:xfrm>
                  <a:prstGeom prst="rect">
                    <a:avLst/>
                  </a:prstGeom>
                </p:spPr>
              </p:pic>
              <p:pic>
                <p:nvPicPr>
                  <p:cNvPr id="3778" name="Graphic 3777">
                    <a:extLst>
                      <a:ext uri="{FF2B5EF4-FFF2-40B4-BE49-F238E27FC236}">
                        <a16:creationId xmlns:a16="http://schemas.microsoft.com/office/drawing/2014/main" id="{444828E7-3122-74D7-C0EA-E8B2C527EF0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15327" y="2687708"/>
                    <a:ext cx="249333" cy="204874"/>
                  </a:xfrm>
                  <a:prstGeom prst="rect">
                    <a:avLst/>
                  </a:prstGeom>
                </p:spPr>
              </p:pic>
              <p:pic>
                <p:nvPicPr>
                  <p:cNvPr id="3779" name="Graphic 3778">
                    <a:extLst>
                      <a:ext uri="{FF2B5EF4-FFF2-40B4-BE49-F238E27FC236}">
                        <a16:creationId xmlns:a16="http://schemas.microsoft.com/office/drawing/2014/main" id="{8D352391-310E-635C-D831-A257AB4F744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8">
                    <a:extLst>
                      <a:ext uri="{96DAC541-7B7A-43D3-8B79-37D633B846F1}">
                        <asvg:svgBlip xmlns:asvg="http://schemas.microsoft.com/office/drawing/2016/SVG/main" r:embed="rId19"/>
                      </a:ext>
                    </a:extLst>
                  </a:blip>
                  <a:stretch>
                    <a:fillRect/>
                  </a:stretch>
                </p:blipFill>
                <p:spPr>
                  <a:xfrm rot="17100000">
                    <a:off x="4860673" y="3370999"/>
                    <a:ext cx="249332" cy="204873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3756" name="Graphic 3755">
                  <a:extLst>
                    <a:ext uri="{FF2B5EF4-FFF2-40B4-BE49-F238E27FC236}">
                      <a16:creationId xmlns:a16="http://schemas.microsoft.com/office/drawing/2014/main" id="{5E4E0B84-8955-6526-1778-FAC923CA0CF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367900" y="2220795"/>
                  <a:ext cx="153350" cy="120187"/>
                </a:xfrm>
                <a:prstGeom prst="rect">
                  <a:avLst/>
                </a:prstGeom>
              </p:spPr>
            </p:pic>
            <p:pic>
              <p:nvPicPr>
                <p:cNvPr id="3757" name="Graphic 3756">
                  <a:extLst>
                    <a:ext uri="{FF2B5EF4-FFF2-40B4-BE49-F238E27FC236}">
                      <a16:creationId xmlns:a16="http://schemas.microsoft.com/office/drawing/2014/main" id="{C8C42D68-5405-3290-E3D4-154AA21DDF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854762" y="2299145"/>
                  <a:ext cx="137864" cy="108050"/>
                </a:xfrm>
                <a:prstGeom prst="rect">
                  <a:avLst/>
                </a:prstGeom>
              </p:spPr>
            </p:pic>
            <p:pic>
              <p:nvPicPr>
                <p:cNvPr id="3758" name="Graphic 3757">
                  <a:extLst>
                    <a:ext uri="{FF2B5EF4-FFF2-40B4-BE49-F238E27FC236}">
                      <a16:creationId xmlns:a16="http://schemas.microsoft.com/office/drawing/2014/main" id="{4F47A978-34C0-B1F7-29DF-9DEEFA0C9F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 rot="4500000">
                  <a:off x="3318467" y="2720703"/>
                  <a:ext cx="153350" cy="120187"/>
                </a:xfrm>
                <a:prstGeom prst="rect">
                  <a:avLst/>
                </a:prstGeom>
              </p:spPr>
            </p:pic>
            <p:pic>
              <p:nvPicPr>
                <p:cNvPr id="3759" name="Graphic 3758">
                  <a:extLst>
                    <a:ext uri="{FF2B5EF4-FFF2-40B4-BE49-F238E27FC236}">
                      <a16:creationId xmlns:a16="http://schemas.microsoft.com/office/drawing/2014/main" id="{CAEC9176-E4A4-78A8-ECC4-05313A34758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 rot="7200000">
                  <a:off x="3148110" y="2658937"/>
                  <a:ext cx="153350" cy="120187"/>
                </a:xfrm>
                <a:prstGeom prst="rect">
                  <a:avLst/>
                </a:prstGeom>
              </p:spPr>
            </p:pic>
            <p:pic>
              <p:nvPicPr>
                <p:cNvPr id="3760" name="Graphic 3759">
                  <a:extLst>
                    <a:ext uri="{FF2B5EF4-FFF2-40B4-BE49-F238E27FC236}">
                      <a16:creationId xmlns:a16="http://schemas.microsoft.com/office/drawing/2014/main" id="{3568B418-5F5D-D50A-DF26-764C9E93DA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 rot="7200000">
                  <a:off x="2988353" y="2491555"/>
                  <a:ext cx="153350" cy="120187"/>
                </a:xfrm>
                <a:prstGeom prst="rect">
                  <a:avLst/>
                </a:prstGeom>
              </p:spPr>
            </p:pic>
            <p:pic>
              <p:nvPicPr>
                <p:cNvPr id="3761" name="Graphic 3760">
                  <a:extLst>
                    <a:ext uri="{FF2B5EF4-FFF2-40B4-BE49-F238E27FC236}">
                      <a16:creationId xmlns:a16="http://schemas.microsoft.com/office/drawing/2014/main" id="{EBB532B5-78DC-FAE4-9C99-99CCC93AAB8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  <a:stretch>
                  <a:fillRect/>
                </a:stretch>
              </p:blipFill>
              <p:spPr>
                <a:xfrm rot="1800000">
                  <a:off x="3058300" y="2618539"/>
                  <a:ext cx="102863" cy="80618"/>
                </a:xfrm>
                <a:prstGeom prst="rect">
                  <a:avLst/>
                </a:prstGeom>
              </p:spPr>
            </p:pic>
            <p:pic>
              <p:nvPicPr>
                <p:cNvPr id="3762" name="Graphic 3761">
                  <a:extLst>
                    <a:ext uri="{FF2B5EF4-FFF2-40B4-BE49-F238E27FC236}">
                      <a16:creationId xmlns:a16="http://schemas.microsoft.com/office/drawing/2014/main" id="{1D9F6DF9-A997-3D7D-9E56-9F7B8C48B4E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 rot="2700000">
                  <a:off x="2920755" y="2403018"/>
                  <a:ext cx="105240" cy="82481"/>
                </a:xfrm>
                <a:prstGeom prst="rect">
                  <a:avLst/>
                </a:prstGeom>
              </p:spPr>
            </p:pic>
            <p:pic>
              <p:nvPicPr>
                <p:cNvPr id="3763" name="Graphic 3762">
                  <a:extLst>
                    <a:ext uri="{FF2B5EF4-FFF2-40B4-BE49-F238E27FC236}">
                      <a16:creationId xmlns:a16="http://schemas.microsoft.com/office/drawing/2014/main" id="{C890BC73-DEF4-4445-04EA-49A51E08F42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 rot="6595814">
                  <a:off x="3023331" y="1988535"/>
                  <a:ext cx="153350" cy="120187"/>
                </a:xfrm>
                <a:prstGeom prst="rect">
                  <a:avLst/>
                </a:prstGeom>
              </p:spPr>
            </p:pic>
            <p:pic>
              <p:nvPicPr>
                <p:cNvPr id="3764" name="Graphic 3763">
                  <a:extLst>
                    <a:ext uri="{FF2B5EF4-FFF2-40B4-BE49-F238E27FC236}">
                      <a16:creationId xmlns:a16="http://schemas.microsoft.com/office/drawing/2014/main" id="{07A5763E-1723-BF9A-F591-5F7C8B1A9A1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61036" y="1828364"/>
                  <a:ext cx="130304" cy="102125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720" name="Group 3719">
              <a:extLst>
                <a:ext uri="{FF2B5EF4-FFF2-40B4-BE49-F238E27FC236}">
                  <a16:creationId xmlns:a16="http://schemas.microsoft.com/office/drawing/2014/main" id="{FE50927F-974C-A7D0-A51D-BCF98C4805A7}"/>
                </a:ext>
              </a:extLst>
            </p:cNvPr>
            <p:cNvGrpSpPr/>
            <p:nvPr/>
          </p:nvGrpSpPr>
          <p:grpSpPr>
            <a:xfrm>
              <a:off x="4835914" y="3537277"/>
              <a:ext cx="676050" cy="626832"/>
              <a:chOff x="3345879" y="5098302"/>
              <a:chExt cx="504497" cy="467768"/>
            </a:xfrm>
          </p:grpSpPr>
          <p:pic>
            <p:nvPicPr>
              <p:cNvPr id="3750" name="T-Cells infiltrate 4">
                <a:extLst>
                  <a:ext uri="{FF2B5EF4-FFF2-40B4-BE49-F238E27FC236}">
                    <a16:creationId xmlns:a16="http://schemas.microsoft.com/office/drawing/2014/main" id="{2DF0AF38-1AC6-1420-0A09-C098B88154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tretch>
                <a:fillRect/>
              </a:stretch>
            </p:blipFill>
            <p:spPr>
              <a:xfrm>
                <a:off x="3345879" y="5098302"/>
                <a:ext cx="101958" cy="95324"/>
              </a:xfrm>
              <a:prstGeom prst="rect">
                <a:avLst/>
              </a:prstGeom>
            </p:spPr>
          </p:pic>
          <p:pic>
            <p:nvPicPr>
              <p:cNvPr id="3751" name="T-Cells infiltrate 4">
                <a:extLst>
                  <a:ext uri="{FF2B5EF4-FFF2-40B4-BE49-F238E27FC236}">
                    <a16:creationId xmlns:a16="http://schemas.microsoft.com/office/drawing/2014/main" id="{5BAAC3C4-5EEA-4B93-9BAF-C41448DD6E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tretch>
                <a:fillRect/>
              </a:stretch>
            </p:blipFill>
            <p:spPr>
              <a:xfrm>
                <a:off x="3748418" y="5470746"/>
                <a:ext cx="101958" cy="95324"/>
              </a:xfrm>
              <a:prstGeom prst="rect">
                <a:avLst/>
              </a:prstGeom>
            </p:spPr>
          </p:pic>
          <p:pic>
            <p:nvPicPr>
              <p:cNvPr id="3752" name="T-Cells infiltrate 4">
                <a:extLst>
                  <a:ext uri="{FF2B5EF4-FFF2-40B4-BE49-F238E27FC236}">
                    <a16:creationId xmlns:a16="http://schemas.microsoft.com/office/drawing/2014/main" id="{01CF9BE7-A4F6-10A0-46E2-E52F73BA70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tretch>
                <a:fillRect/>
              </a:stretch>
            </p:blipFill>
            <p:spPr>
              <a:xfrm>
                <a:off x="3444026" y="5299181"/>
                <a:ext cx="101958" cy="95324"/>
              </a:xfrm>
              <a:prstGeom prst="rect">
                <a:avLst/>
              </a:prstGeom>
            </p:spPr>
          </p:pic>
        </p:grpSp>
        <p:pic>
          <p:nvPicPr>
            <p:cNvPr id="3721" name="T-Cells infiltrate 4">
              <a:extLst>
                <a:ext uri="{FF2B5EF4-FFF2-40B4-BE49-F238E27FC236}">
                  <a16:creationId xmlns:a16="http://schemas.microsoft.com/office/drawing/2014/main" id="{D431B9A7-0A87-C703-3033-8AB889DD66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5516356" y="3485284"/>
              <a:ext cx="136628" cy="127738"/>
            </a:xfrm>
            <a:prstGeom prst="rect">
              <a:avLst/>
            </a:prstGeom>
          </p:spPr>
        </p:pic>
        <p:grpSp>
          <p:nvGrpSpPr>
            <p:cNvPr id="3722" name="Graphic 1856">
              <a:extLst>
                <a:ext uri="{FF2B5EF4-FFF2-40B4-BE49-F238E27FC236}">
                  <a16:creationId xmlns:a16="http://schemas.microsoft.com/office/drawing/2014/main" id="{F2F93225-DF39-18A3-00B4-584B172DAA95}"/>
                </a:ext>
              </a:extLst>
            </p:cNvPr>
            <p:cNvGrpSpPr/>
            <p:nvPr/>
          </p:nvGrpSpPr>
          <p:grpSpPr>
            <a:xfrm>
              <a:off x="5117935" y="3147455"/>
              <a:ext cx="198584" cy="175297"/>
              <a:chOff x="5117935" y="3147455"/>
              <a:chExt cx="198584" cy="175297"/>
            </a:xfrm>
          </p:grpSpPr>
          <p:sp>
            <p:nvSpPr>
              <p:cNvPr id="3747" name="Freeform 16">
                <a:extLst>
                  <a:ext uri="{FF2B5EF4-FFF2-40B4-BE49-F238E27FC236}">
                    <a16:creationId xmlns:a16="http://schemas.microsoft.com/office/drawing/2014/main" id="{869D2519-BCE6-EE01-69DB-6F5E45A324FA}"/>
                  </a:ext>
                </a:extLst>
              </p:cNvPr>
              <p:cNvSpPr/>
              <p:nvPr/>
            </p:nvSpPr>
            <p:spPr>
              <a:xfrm>
                <a:off x="5117935" y="3147455"/>
                <a:ext cx="198584" cy="175297"/>
              </a:xfrm>
              <a:custGeom>
                <a:avLst/>
                <a:gdLst>
                  <a:gd name="connsiteX0" fmla="*/ 66833 w 198584"/>
                  <a:gd name="connsiteY0" fmla="*/ 8214 h 175297"/>
                  <a:gd name="connsiteX1" fmla="*/ 78057 w 198584"/>
                  <a:gd name="connsiteY1" fmla="*/ 2008 h 175297"/>
                  <a:gd name="connsiteX2" fmla="*/ 96050 w 198584"/>
                  <a:gd name="connsiteY2" fmla="*/ 200 h 175297"/>
                  <a:gd name="connsiteX3" fmla="*/ 154551 w 198584"/>
                  <a:gd name="connsiteY3" fmla="*/ 20441 h 175297"/>
                  <a:gd name="connsiteX4" fmla="*/ 183331 w 198584"/>
                  <a:gd name="connsiteY4" fmla="*/ 34836 h 175297"/>
                  <a:gd name="connsiteX5" fmla="*/ 195326 w 198584"/>
                  <a:gd name="connsiteY5" fmla="*/ 43465 h 175297"/>
                  <a:gd name="connsiteX6" fmla="*/ 198454 w 198584"/>
                  <a:gd name="connsiteY6" fmla="*/ 60716 h 175297"/>
                  <a:gd name="connsiteX7" fmla="*/ 195832 w 198584"/>
                  <a:gd name="connsiteY7" fmla="*/ 94632 h 175297"/>
                  <a:gd name="connsiteX8" fmla="*/ 187889 w 198584"/>
                  <a:gd name="connsiteY8" fmla="*/ 131419 h 175297"/>
                  <a:gd name="connsiteX9" fmla="*/ 162871 w 198584"/>
                  <a:gd name="connsiteY9" fmla="*/ 159945 h 175297"/>
                  <a:gd name="connsiteX10" fmla="*/ 134597 w 198584"/>
                  <a:gd name="connsiteY10" fmla="*/ 167359 h 175297"/>
                  <a:gd name="connsiteX11" fmla="*/ 100128 w 198584"/>
                  <a:gd name="connsiteY11" fmla="*/ 172621 h 175297"/>
                  <a:gd name="connsiteX12" fmla="*/ 50717 w 198584"/>
                  <a:gd name="connsiteY12" fmla="*/ 171565 h 175297"/>
                  <a:gd name="connsiteX13" fmla="*/ 20060 w 198584"/>
                  <a:gd name="connsiteY13" fmla="*/ 145710 h 175297"/>
                  <a:gd name="connsiteX14" fmla="*/ 157 w 198584"/>
                  <a:gd name="connsiteY14" fmla="*/ 101342 h 175297"/>
                  <a:gd name="connsiteX15" fmla="*/ 20960 w 198584"/>
                  <a:gd name="connsiteY15" fmla="*/ 54846 h 175297"/>
                  <a:gd name="connsiteX16" fmla="*/ 66833 w 198584"/>
                  <a:gd name="connsiteY16" fmla="*/ 8214 h 175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98584" h="175297">
                    <a:moveTo>
                      <a:pt x="66833" y="8214"/>
                    </a:moveTo>
                    <a:cubicBezTo>
                      <a:pt x="70255" y="5679"/>
                      <a:pt x="74031" y="3591"/>
                      <a:pt x="78057" y="2008"/>
                    </a:cubicBezTo>
                    <a:cubicBezTo>
                      <a:pt x="83729" y="-24"/>
                      <a:pt x="89975" y="-263"/>
                      <a:pt x="96050" y="200"/>
                    </a:cubicBezTo>
                    <a:cubicBezTo>
                      <a:pt x="116938" y="1800"/>
                      <a:pt x="136079" y="11213"/>
                      <a:pt x="154551" y="20441"/>
                    </a:cubicBezTo>
                    <a:lnTo>
                      <a:pt x="183331" y="34836"/>
                    </a:lnTo>
                    <a:cubicBezTo>
                      <a:pt x="187829" y="37084"/>
                      <a:pt x="192525" y="39491"/>
                      <a:pt x="195326" y="43465"/>
                    </a:cubicBezTo>
                    <a:cubicBezTo>
                      <a:pt x="198831" y="48416"/>
                      <a:pt x="198753" y="54790"/>
                      <a:pt x="198454" y="60716"/>
                    </a:cubicBezTo>
                    <a:cubicBezTo>
                      <a:pt x="197882" y="72040"/>
                      <a:pt x="197008" y="83345"/>
                      <a:pt x="195832" y="94632"/>
                    </a:cubicBezTo>
                    <a:cubicBezTo>
                      <a:pt x="194504" y="107116"/>
                      <a:pt x="192764" y="119719"/>
                      <a:pt x="187889" y="131419"/>
                    </a:cubicBezTo>
                    <a:cubicBezTo>
                      <a:pt x="183014" y="143119"/>
                      <a:pt x="174678" y="153955"/>
                      <a:pt x="162871" y="159945"/>
                    </a:cubicBezTo>
                    <a:cubicBezTo>
                      <a:pt x="154217" y="164336"/>
                      <a:pt x="144296" y="165879"/>
                      <a:pt x="134597" y="167359"/>
                    </a:cubicBezTo>
                    <a:lnTo>
                      <a:pt x="100128" y="172621"/>
                    </a:lnTo>
                    <a:cubicBezTo>
                      <a:pt x="83635" y="175140"/>
                      <a:pt x="66139" y="177539"/>
                      <a:pt x="50717" y="171565"/>
                    </a:cubicBezTo>
                    <a:cubicBezTo>
                      <a:pt x="37865" y="166583"/>
                      <a:pt x="28131" y="156371"/>
                      <a:pt x="20060" y="145710"/>
                    </a:cubicBezTo>
                    <a:cubicBezTo>
                      <a:pt x="10010" y="132467"/>
                      <a:pt x="1528" y="117560"/>
                      <a:pt x="157" y="101342"/>
                    </a:cubicBezTo>
                    <a:cubicBezTo>
                      <a:pt x="-1497" y="81636"/>
                      <a:pt x="10207" y="70000"/>
                      <a:pt x="20960" y="54846"/>
                    </a:cubicBezTo>
                    <a:cubicBezTo>
                      <a:pt x="33692" y="36900"/>
                      <a:pt x="48163" y="21129"/>
                      <a:pt x="66833" y="8214"/>
                    </a:cubicBezTo>
                    <a:close/>
                  </a:path>
                </a:pathLst>
              </a:custGeom>
              <a:solidFill>
                <a:schemeClr val="tx2"/>
              </a:solidFill>
              <a:ln w="5043" cap="flat">
                <a:solidFill>
                  <a:srgbClr val="58586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8" name="Freeform 17">
                <a:extLst>
                  <a:ext uri="{FF2B5EF4-FFF2-40B4-BE49-F238E27FC236}">
                    <a16:creationId xmlns:a16="http://schemas.microsoft.com/office/drawing/2014/main" id="{8FF85175-2E43-EE06-E535-4A63641F8970}"/>
                  </a:ext>
                </a:extLst>
              </p:cNvPr>
              <p:cNvSpPr/>
              <p:nvPr/>
            </p:nvSpPr>
            <p:spPr>
              <a:xfrm>
                <a:off x="5177905" y="3203452"/>
                <a:ext cx="84822" cy="87969"/>
              </a:xfrm>
              <a:custGeom>
                <a:avLst/>
                <a:gdLst>
                  <a:gd name="connsiteX0" fmla="*/ 84823 w 84822"/>
                  <a:gd name="connsiteY0" fmla="*/ 43985 h 87969"/>
                  <a:gd name="connsiteX1" fmla="*/ 42411 w 84822"/>
                  <a:gd name="connsiteY1" fmla="*/ 87970 h 87969"/>
                  <a:gd name="connsiteX2" fmla="*/ 0 w 84822"/>
                  <a:gd name="connsiteY2" fmla="*/ 43985 h 87969"/>
                  <a:gd name="connsiteX3" fmla="*/ 42411 w 84822"/>
                  <a:gd name="connsiteY3" fmla="*/ 0 h 87969"/>
                  <a:gd name="connsiteX4" fmla="*/ 84823 w 84822"/>
                  <a:gd name="connsiteY4" fmla="*/ 43985 h 87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822" h="87969">
                    <a:moveTo>
                      <a:pt x="84823" y="43985"/>
                    </a:moveTo>
                    <a:cubicBezTo>
                      <a:pt x="84823" y="68277"/>
                      <a:pt x="65834" y="87970"/>
                      <a:pt x="42411" y="87970"/>
                    </a:cubicBezTo>
                    <a:cubicBezTo>
                      <a:pt x="18988" y="87970"/>
                      <a:pt x="0" y="68277"/>
                      <a:pt x="0" y="43985"/>
                    </a:cubicBezTo>
                    <a:cubicBezTo>
                      <a:pt x="0" y="19693"/>
                      <a:pt x="18988" y="0"/>
                      <a:pt x="42411" y="0"/>
                    </a:cubicBezTo>
                    <a:cubicBezTo>
                      <a:pt x="65834" y="0"/>
                      <a:pt x="84823" y="19693"/>
                      <a:pt x="84823" y="43985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9" name="Freeform 18">
                <a:extLst>
                  <a:ext uri="{FF2B5EF4-FFF2-40B4-BE49-F238E27FC236}">
                    <a16:creationId xmlns:a16="http://schemas.microsoft.com/office/drawing/2014/main" id="{93E3EDC8-00ED-81EA-193B-536BE5C48965}"/>
                  </a:ext>
                </a:extLst>
              </p:cNvPr>
              <p:cNvSpPr/>
              <p:nvPr/>
            </p:nvSpPr>
            <p:spPr>
              <a:xfrm>
                <a:off x="5251598" y="3174942"/>
                <a:ext cx="49071" cy="76845"/>
              </a:xfrm>
              <a:custGeom>
                <a:avLst/>
                <a:gdLst>
                  <a:gd name="connsiteX0" fmla="*/ 37802 w 49071"/>
                  <a:gd name="connsiteY0" fmla="*/ 16146 h 76845"/>
                  <a:gd name="connsiteX1" fmla="*/ 47723 w 49071"/>
                  <a:gd name="connsiteY1" fmla="*/ 23640 h 76845"/>
                  <a:gd name="connsiteX2" fmla="*/ 48906 w 49071"/>
                  <a:gd name="connsiteY2" fmla="*/ 30653 h 76845"/>
                  <a:gd name="connsiteX3" fmla="*/ 44528 w 49071"/>
                  <a:gd name="connsiteY3" fmla="*/ 76846 h 76845"/>
                  <a:gd name="connsiteX4" fmla="*/ 39901 w 49071"/>
                  <a:gd name="connsiteY4" fmla="*/ 39562 h 76845"/>
                  <a:gd name="connsiteX5" fmla="*/ 21420 w 49071"/>
                  <a:gd name="connsiteY5" fmla="*/ 19137 h 76845"/>
                  <a:gd name="connsiteX6" fmla="*/ 0 w 49071"/>
                  <a:gd name="connsiteY6" fmla="*/ 0 h 76845"/>
                  <a:gd name="connsiteX7" fmla="*/ 37802 w 49071"/>
                  <a:gd name="connsiteY7" fmla="*/ 16146 h 76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071" h="76845">
                    <a:moveTo>
                      <a:pt x="37802" y="16146"/>
                    </a:moveTo>
                    <a:cubicBezTo>
                      <a:pt x="41717" y="17898"/>
                      <a:pt x="45924" y="19945"/>
                      <a:pt x="47723" y="23640"/>
                    </a:cubicBezTo>
                    <a:cubicBezTo>
                      <a:pt x="48777" y="25807"/>
                      <a:pt x="48854" y="28270"/>
                      <a:pt x="48906" y="30653"/>
                    </a:cubicBezTo>
                    <a:cubicBezTo>
                      <a:pt x="49249" y="46184"/>
                      <a:pt x="49540" y="62035"/>
                      <a:pt x="44528" y="76846"/>
                    </a:cubicBezTo>
                    <a:cubicBezTo>
                      <a:pt x="40244" y="64922"/>
                      <a:pt x="44528" y="51374"/>
                      <a:pt x="39901" y="39562"/>
                    </a:cubicBezTo>
                    <a:cubicBezTo>
                      <a:pt x="36508" y="30893"/>
                      <a:pt x="28934" y="24735"/>
                      <a:pt x="21420" y="19137"/>
                    </a:cubicBezTo>
                    <a:cubicBezTo>
                      <a:pt x="14831" y="14235"/>
                      <a:pt x="2570" y="7789"/>
                      <a:pt x="0" y="0"/>
                    </a:cubicBezTo>
                    <a:cubicBezTo>
                      <a:pt x="12732" y="2943"/>
                      <a:pt x="25909" y="10804"/>
                      <a:pt x="37802" y="161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23" name="Graphic 1847">
              <a:extLst>
                <a:ext uri="{FF2B5EF4-FFF2-40B4-BE49-F238E27FC236}">
                  <a16:creationId xmlns:a16="http://schemas.microsoft.com/office/drawing/2014/main" id="{4C13E3EA-7B88-D9BF-789B-6C7FB8B64EE1}"/>
                </a:ext>
              </a:extLst>
            </p:cNvPr>
            <p:cNvGrpSpPr/>
            <p:nvPr/>
          </p:nvGrpSpPr>
          <p:grpSpPr>
            <a:xfrm>
              <a:off x="4967130" y="3535012"/>
              <a:ext cx="198584" cy="175297"/>
              <a:chOff x="4967130" y="3535012"/>
              <a:chExt cx="198584" cy="175297"/>
            </a:xfrm>
          </p:grpSpPr>
          <p:sp>
            <p:nvSpPr>
              <p:cNvPr id="3744" name="Freeform 24">
                <a:extLst>
                  <a:ext uri="{FF2B5EF4-FFF2-40B4-BE49-F238E27FC236}">
                    <a16:creationId xmlns:a16="http://schemas.microsoft.com/office/drawing/2014/main" id="{B42E6C0D-0712-72BE-570C-FF1FB0EBDB0E}"/>
                  </a:ext>
                </a:extLst>
              </p:cNvPr>
              <p:cNvSpPr/>
              <p:nvPr/>
            </p:nvSpPr>
            <p:spPr>
              <a:xfrm>
                <a:off x="4967130" y="3535012"/>
                <a:ext cx="198584" cy="175297"/>
              </a:xfrm>
              <a:custGeom>
                <a:avLst/>
                <a:gdLst>
                  <a:gd name="connsiteX0" fmla="*/ 66833 w 198584"/>
                  <a:gd name="connsiteY0" fmla="*/ 8214 h 175297"/>
                  <a:gd name="connsiteX1" fmla="*/ 78057 w 198584"/>
                  <a:gd name="connsiteY1" fmla="*/ 2008 h 175297"/>
                  <a:gd name="connsiteX2" fmla="*/ 96050 w 198584"/>
                  <a:gd name="connsiteY2" fmla="*/ 200 h 175297"/>
                  <a:gd name="connsiteX3" fmla="*/ 154551 w 198584"/>
                  <a:gd name="connsiteY3" fmla="*/ 20441 h 175297"/>
                  <a:gd name="connsiteX4" fmla="*/ 183331 w 198584"/>
                  <a:gd name="connsiteY4" fmla="*/ 34836 h 175297"/>
                  <a:gd name="connsiteX5" fmla="*/ 195326 w 198584"/>
                  <a:gd name="connsiteY5" fmla="*/ 43465 h 175297"/>
                  <a:gd name="connsiteX6" fmla="*/ 198454 w 198584"/>
                  <a:gd name="connsiteY6" fmla="*/ 60716 h 175297"/>
                  <a:gd name="connsiteX7" fmla="*/ 195832 w 198584"/>
                  <a:gd name="connsiteY7" fmla="*/ 94632 h 175297"/>
                  <a:gd name="connsiteX8" fmla="*/ 187889 w 198584"/>
                  <a:gd name="connsiteY8" fmla="*/ 131419 h 175297"/>
                  <a:gd name="connsiteX9" fmla="*/ 162871 w 198584"/>
                  <a:gd name="connsiteY9" fmla="*/ 159945 h 175297"/>
                  <a:gd name="connsiteX10" fmla="*/ 134597 w 198584"/>
                  <a:gd name="connsiteY10" fmla="*/ 167359 h 175297"/>
                  <a:gd name="connsiteX11" fmla="*/ 100128 w 198584"/>
                  <a:gd name="connsiteY11" fmla="*/ 172621 h 175297"/>
                  <a:gd name="connsiteX12" fmla="*/ 50717 w 198584"/>
                  <a:gd name="connsiteY12" fmla="*/ 171565 h 175297"/>
                  <a:gd name="connsiteX13" fmla="*/ 20060 w 198584"/>
                  <a:gd name="connsiteY13" fmla="*/ 145710 h 175297"/>
                  <a:gd name="connsiteX14" fmla="*/ 157 w 198584"/>
                  <a:gd name="connsiteY14" fmla="*/ 101342 h 175297"/>
                  <a:gd name="connsiteX15" fmla="*/ 20960 w 198584"/>
                  <a:gd name="connsiteY15" fmla="*/ 54846 h 175297"/>
                  <a:gd name="connsiteX16" fmla="*/ 66833 w 198584"/>
                  <a:gd name="connsiteY16" fmla="*/ 8214 h 175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98584" h="175297">
                    <a:moveTo>
                      <a:pt x="66833" y="8214"/>
                    </a:moveTo>
                    <a:cubicBezTo>
                      <a:pt x="70255" y="5679"/>
                      <a:pt x="74031" y="3591"/>
                      <a:pt x="78057" y="2008"/>
                    </a:cubicBezTo>
                    <a:cubicBezTo>
                      <a:pt x="83729" y="-24"/>
                      <a:pt x="89975" y="-263"/>
                      <a:pt x="96050" y="200"/>
                    </a:cubicBezTo>
                    <a:cubicBezTo>
                      <a:pt x="116938" y="1800"/>
                      <a:pt x="136079" y="11213"/>
                      <a:pt x="154551" y="20441"/>
                    </a:cubicBezTo>
                    <a:lnTo>
                      <a:pt x="183331" y="34836"/>
                    </a:lnTo>
                    <a:cubicBezTo>
                      <a:pt x="187829" y="37084"/>
                      <a:pt x="192525" y="39491"/>
                      <a:pt x="195326" y="43465"/>
                    </a:cubicBezTo>
                    <a:cubicBezTo>
                      <a:pt x="198831" y="48416"/>
                      <a:pt x="198753" y="54790"/>
                      <a:pt x="198454" y="60716"/>
                    </a:cubicBezTo>
                    <a:cubicBezTo>
                      <a:pt x="197882" y="72040"/>
                      <a:pt x="197008" y="83345"/>
                      <a:pt x="195832" y="94632"/>
                    </a:cubicBezTo>
                    <a:cubicBezTo>
                      <a:pt x="194504" y="107116"/>
                      <a:pt x="192764" y="119719"/>
                      <a:pt x="187889" y="131419"/>
                    </a:cubicBezTo>
                    <a:cubicBezTo>
                      <a:pt x="183014" y="143119"/>
                      <a:pt x="174678" y="153955"/>
                      <a:pt x="162871" y="159945"/>
                    </a:cubicBezTo>
                    <a:cubicBezTo>
                      <a:pt x="154217" y="164336"/>
                      <a:pt x="144296" y="165879"/>
                      <a:pt x="134597" y="167359"/>
                    </a:cubicBezTo>
                    <a:lnTo>
                      <a:pt x="100128" y="172621"/>
                    </a:lnTo>
                    <a:cubicBezTo>
                      <a:pt x="83635" y="175140"/>
                      <a:pt x="66139" y="177539"/>
                      <a:pt x="50717" y="171565"/>
                    </a:cubicBezTo>
                    <a:cubicBezTo>
                      <a:pt x="37865" y="166583"/>
                      <a:pt x="28131" y="156371"/>
                      <a:pt x="20060" y="145710"/>
                    </a:cubicBezTo>
                    <a:cubicBezTo>
                      <a:pt x="10010" y="132467"/>
                      <a:pt x="1528" y="117560"/>
                      <a:pt x="157" y="101342"/>
                    </a:cubicBezTo>
                    <a:cubicBezTo>
                      <a:pt x="-1497" y="81636"/>
                      <a:pt x="10207" y="70000"/>
                      <a:pt x="20960" y="54846"/>
                    </a:cubicBezTo>
                    <a:cubicBezTo>
                      <a:pt x="33692" y="36900"/>
                      <a:pt x="48163" y="21129"/>
                      <a:pt x="66833" y="8214"/>
                    </a:cubicBezTo>
                    <a:close/>
                  </a:path>
                </a:pathLst>
              </a:custGeom>
              <a:solidFill>
                <a:schemeClr val="tx2"/>
              </a:solidFill>
              <a:ln w="5043" cap="flat">
                <a:solidFill>
                  <a:srgbClr val="58586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5" name="Freeform 25">
                <a:extLst>
                  <a:ext uri="{FF2B5EF4-FFF2-40B4-BE49-F238E27FC236}">
                    <a16:creationId xmlns:a16="http://schemas.microsoft.com/office/drawing/2014/main" id="{9EBB582D-ABD9-A2B7-30A8-644E054B5DC3}"/>
                  </a:ext>
                </a:extLst>
              </p:cNvPr>
              <p:cNvSpPr/>
              <p:nvPr/>
            </p:nvSpPr>
            <p:spPr>
              <a:xfrm>
                <a:off x="5027100" y="3591009"/>
                <a:ext cx="84822" cy="87969"/>
              </a:xfrm>
              <a:custGeom>
                <a:avLst/>
                <a:gdLst>
                  <a:gd name="connsiteX0" fmla="*/ 84823 w 84822"/>
                  <a:gd name="connsiteY0" fmla="*/ 43985 h 87969"/>
                  <a:gd name="connsiteX1" fmla="*/ 42411 w 84822"/>
                  <a:gd name="connsiteY1" fmla="*/ 87970 h 87969"/>
                  <a:gd name="connsiteX2" fmla="*/ 0 w 84822"/>
                  <a:gd name="connsiteY2" fmla="*/ 43985 h 87969"/>
                  <a:gd name="connsiteX3" fmla="*/ 42411 w 84822"/>
                  <a:gd name="connsiteY3" fmla="*/ 0 h 87969"/>
                  <a:gd name="connsiteX4" fmla="*/ 84823 w 84822"/>
                  <a:gd name="connsiteY4" fmla="*/ 43985 h 87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822" h="87969">
                    <a:moveTo>
                      <a:pt x="84823" y="43985"/>
                    </a:moveTo>
                    <a:cubicBezTo>
                      <a:pt x="84823" y="68277"/>
                      <a:pt x="65834" y="87970"/>
                      <a:pt x="42411" y="87970"/>
                    </a:cubicBezTo>
                    <a:cubicBezTo>
                      <a:pt x="18988" y="87970"/>
                      <a:pt x="0" y="68277"/>
                      <a:pt x="0" y="43985"/>
                    </a:cubicBezTo>
                    <a:cubicBezTo>
                      <a:pt x="0" y="19693"/>
                      <a:pt x="18988" y="0"/>
                      <a:pt x="42411" y="0"/>
                    </a:cubicBezTo>
                    <a:cubicBezTo>
                      <a:pt x="65834" y="0"/>
                      <a:pt x="84823" y="19693"/>
                      <a:pt x="84823" y="43985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6" name="Freeform 26">
                <a:extLst>
                  <a:ext uri="{FF2B5EF4-FFF2-40B4-BE49-F238E27FC236}">
                    <a16:creationId xmlns:a16="http://schemas.microsoft.com/office/drawing/2014/main" id="{5793C6F2-B1B7-24BF-C2B4-E31142B158C4}"/>
                  </a:ext>
                </a:extLst>
              </p:cNvPr>
              <p:cNvSpPr/>
              <p:nvPr/>
            </p:nvSpPr>
            <p:spPr>
              <a:xfrm>
                <a:off x="5100793" y="3562499"/>
                <a:ext cx="49071" cy="76845"/>
              </a:xfrm>
              <a:custGeom>
                <a:avLst/>
                <a:gdLst>
                  <a:gd name="connsiteX0" fmla="*/ 37802 w 49071"/>
                  <a:gd name="connsiteY0" fmla="*/ 16146 h 76845"/>
                  <a:gd name="connsiteX1" fmla="*/ 47723 w 49071"/>
                  <a:gd name="connsiteY1" fmla="*/ 23640 h 76845"/>
                  <a:gd name="connsiteX2" fmla="*/ 48906 w 49071"/>
                  <a:gd name="connsiteY2" fmla="*/ 30653 h 76845"/>
                  <a:gd name="connsiteX3" fmla="*/ 44528 w 49071"/>
                  <a:gd name="connsiteY3" fmla="*/ 76846 h 76845"/>
                  <a:gd name="connsiteX4" fmla="*/ 39901 w 49071"/>
                  <a:gd name="connsiteY4" fmla="*/ 39562 h 76845"/>
                  <a:gd name="connsiteX5" fmla="*/ 21420 w 49071"/>
                  <a:gd name="connsiteY5" fmla="*/ 19137 h 76845"/>
                  <a:gd name="connsiteX6" fmla="*/ 0 w 49071"/>
                  <a:gd name="connsiteY6" fmla="*/ 0 h 76845"/>
                  <a:gd name="connsiteX7" fmla="*/ 37802 w 49071"/>
                  <a:gd name="connsiteY7" fmla="*/ 16146 h 76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071" h="76845">
                    <a:moveTo>
                      <a:pt x="37802" y="16146"/>
                    </a:moveTo>
                    <a:cubicBezTo>
                      <a:pt x="41717" y="17898"/>
                      <a:pt x="45924" y="19945"/>
                      <a:pt x="47723" y="23640"/>
                    </a:cubicBezTo>
                    <a:cubicBezTo>
                      <a:pt x="48777" y="25807"/>
                      <a:pt x="48854" y="28270"/>
                      <a:pt x="48906" y="30653"/>
                    </a:cubicBezTo>
                    <a:cubicBezTo>
                      <a:pt x="49249" y="46184"/>
                      <a:pt x="49540" y="62035"/>
                      <a:pt x="44528" y="76846"/>
                    </a:cubicBezTo>
                    <a:cubicBezTo>
                      <a:pt x="40244" y="64922"/>
                      <a:pt x="44528" y="51374"/>
                      <a:pt x="39901" y="39562"/>
                    </a:cubicBezTo>
                    <a:cubicBezTo>
                      <a:pt x="36508" y="30893"/>
                      <a:pt x="28934" y="24735"/>
                      <a:pt x="21420" y="19137"/>
                    </a:cubicBezTo>
                    <a:cubicBezTo>
                      <a:pt x="14831" y="14235"/>
                      <a:pt x="2570" y="7789"/>
                      <a:pt x="0" y="0"/>
                    </a:cubicBezTo>
                    <a:cubicBezTo>
                      <a:pt x="12732" y="2943"/>
                      <a:pt x="25909" y="10804"/>
                      <a:pt x="37802" y="161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24" name="Graphic 1848">
              <a:extLst>
                <a:ext uri="{FF2B5EF4-FFF2-40B4-BE49-F238E27FC236}">
                  <a16:creationId xmlns:a16="http://schemas.microsoft.com/office/drawing/2014/main" id="{8A5FE684-86FA-F9CB-136A-EE2949709DD7}"/>
                </a:ext>
              </a:extLst>
            </p:cNvPr>
            <p:cNvGrpSpPr/>
            <p:nvPr/>
          </p:nvGrpSpPr>
          <p:grpSpPr>
            <a:xfrm>
              <a:off x="5395008" y="3561302"/>
              <a:ext cx="198584" cy="175297"/>
              <a:chOff x="5395008" y="3561302"/>
              <a:chExt cx="198584" cy="175297"/>
            </a:xfrm>
          </p:grpSpPr>
          <p:sp>
            <p:nvSpPr>
              <p:cNvPr id="3741" name="Freeform 28">
                <a:extLst>
                  <a:ext uri="{FF2B5EF4-FFF2-40B4-BE49-F238E27FC236}">
                    <a16:creationId xmlns:a16="http://schemas.microsoft.com/office/drawing/2014/main" id="{5C849838-6B63-113C-E014-987F952B6B3F}"/>
                  </a:ext>
                </a:extLst>
              </p:cNvPr>
              <p:cNvSpPr/>
              <p:nvPr/>
            </p:nvSpPr>
            <p:spPr>
              <a:xfrm>
                <a:off x="5395008" y="3561302"/>
                <a:ext cx="198584" cy="175297"/>
              </a:xfrm>
              <a:custGeom>
                <a:avLst/>
                <a:gdLst>
                  <a:gd name="connsiteX0" fmla="*/ 66833 w 198584"/>
                  <a:gd name="connsiteY0" fmla="*/ 8214 h 175297"/>
                  <a:gd name="connsiteX1" fmla="*/ 78057 w 198584"/>
                  <a:gd name="connsiteY1" fmla="*/ 2008 h 175297"/>
                  <a:gd name="connsiteX2" fmla="*/ 96050 w 198584"/>
                  <a:gd name="connsiteY2" fmla="*/ 200 h 175297"/>
                  <a:gd name="connsiteX3" fmla="*/ 154551 w 198584"/>
                  <a:gd name="connsiteY3" fmla="*/ 20441 h 175297"/>
                  <a:gd name="connsiteX4" fmla="*/ 183331 w 198584"/>
                  <a:gd name="connsiteY4" fmla="*/ 34836 h 175297"/>
                  <a:gd name="connsiteX5" fmla="*/ 195326 w 198584"/>
                  <a:gd name="connsiteY5" fmla="*/ 43465 h 175297"/>
                  <a:gd name="connsiteX6" fmla="*/ 198454 w 198584"/>
                  <a:gd name="connsiteY6" fmla="*/ 60716 h 175297"/>
                  <a:gd name="connsiteX7" fmla="*/ 195832 w 198584"/>
                  <a:gd name="connsiteY7" fmla="*/ 94632 h 175297"/>
                  <a:gd name="connsiteX8" fmla="*/ 187889 w 198584"/>
                  <a:gd name="connsiteY8" fmla="*/ 131419 h 175297"/>
                  <a:gd name="connsiteX9" fmla="*/ 162871 w 198584"/>
                  <a:gd name="connsiteY9" fmla="*/ 159945 h 175297"/>
                  <a:gd name="connsiteX10" fmla="*/ 134597 w 198584"/>
                  <a:gd name="connsiteY10" fmla="*/ 167359 h 175297"/>
                  <a:gd name="connsiteX11" fmla="*/ 100128 w 198584"/>
                  <a:gd name="connsiteY11" fmla="*/ 172621 h 175297"/>
                  <a:gd name="connsiteX12" fmla="*/ 50717 w 198584"/>
                  <a:gd name="connsiteY12" fmla="*/ 171565 h 175297"/>
                  <a:gd name="connsiteX13" fmla="*/ 20060 w 198584"/>
                  <a:gd name="connsiteY13" fmla="*/ 145710 h 175297"/>
                  <a:gd name="connsiteX14" fmla="*/ 157 w 198584"/>
                  <a:gd name="connsiteY14" fmla="*/ 101342 h 175297"/>
                  <a:gd name="connsiteX15" fmla="*/ 20960 w 198584"/>
                  <a:gd name="connsiteY15" fmla="*/ 54846 h 175297"/>
                  <a:gd name="connsiteX16" fmla="*/ 66833 w 198584"/>
                  <a:gd name="connsiteY16" fmla="*/ 8214 h 175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98584" h="175297">
                    <a:moveTo>
                      <a:pt x="66833" y="8214"/>
                    </a:moveTo>
                    <a:cubicBezTo>
                      <a:pt x="70255" y="5679"/>
                      <a:pt x="74031" y="3591"/>
                      <a:pt x="78057" y="2008"/>
                    </a:cubicBezTo>
                    <a:cubicBezTo>
                      <a:pt x="83729" y="-24"/>
                      <a:pt x="89975" y="-263"/>
                      <a:pt x="96050" y="200"/>
                    </a:cubicBezTo>
                    <a:cubicBezTo>
                      <a:pt x="116938" y="1800"/>
                      <a:pt x="136079" y="11213"/>
                      <a:pt x="154551" y="20441"/>
                    </a:cubicBezTo>
                    <a:lnTo>
                      <a:pt x="183331" y="34836"/>
                    </a:lnTo>
                    <a:cubicBezTo>
                      <a:pt x="187829" y="37084"/>
                      <a:pt x="192525" y="39491"/>
                      <a:pt x="195326" y="43465"/>
                    </a:cubicBezTo>
                    <a:cubicBezTo>
                      <a:pt x="198831" y="48416"/>
                      <a:pt x="198753" y="54790"/>
                      <a:pt x="198454" y="60716"/>
                    </a:cubicBezTo>
                    <a:cubicBezTo>
                      <a:pt x="197882" y="72040"/>
                      <a:pt x="197008" y="83345"/>
                      <a:pt x="195832" y="94632"/>
                    </a:cubicBezTo>
                    <a:cubicBezTo>
                      <a:pt x="194504" y="107116"/>
                      <a:pt x="192764" y="119719"/>
                      <a:pt x="187889" y="131419"/>
                    </a:cubicBezTo>
                    <a:cubicBezTo>
                      <a:pt x="183014" y="143119"/>
                      <a:pt x="174678" y="153955"/>
                      <a:pt x="162871" y="159945"/>
                    </a:cubicBezTo>
                    <a:cubicBezTo>
                      <a:pt x="154217" y="164336"/>
                      <a:pt x="144296" y="165879"/>
                      <a:pt x="134597" y="167359"/>
                    </a:cubicBezTo>
                    <a:lnTo>
                      <a:pt x="100128" y="172621"/>
                    </a:lnTo>
                    <a:cubicBezTo>
                      <a:pt x="83635" y="175140"/>
                      <a:pt x="66139" y="177539"/>
                      <a:pt x="50717" y="171565"/>
                    </a:cubicBezTo>
                    <a:cubicBezTo>
                      <a:pt x="37865" y="166583"/>
                      <a:pt x="28131" y="156371"/>
                      <a:pt x="20060" y="145710"/>
                    </a:cubicBezTo>
                    <a:cubicBezTo>
                      <a:pt x="10010" y="132467"/>
                      <a:pt x="1528" y="117560"/>
                      <a:pt x="157" y="101342"/>
                    </a:cubicBezTo>
                    <a:cubicBezTo>
                      <a:pt x="-1497" y="81636"/>
                      <a:pt x="10207" y="70000"/>
                      <a:pt x="20960" y="54846"/>
                    </a:cubicBezTo>
                    <a:cubicBezTo>
                      <a:pt x="33692" y="36900"/>
                      <a:pt x="48163" y="21129"/>
                      <a:pt x="66833" y="8214"/>
                    </a:cubicBezTo>
                    <a:close/>
                  </a:path>
                </a:pathLst>
              </a:custGeom>
              <a:solidFill>
                <a:schemeClr val="tx2"/>
              </a:solidFill>
              <a:ln w="5043" cap="flat">
                <a:solidFill>
                  <a:srgbClr val="58586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2" name="Freeform 29">
                <a:extLst>
                  <a:ext uri="{FF2B5EF4-FFF2-40B4-BE49-F238E27FC236}">
                    <a16:creationId xmlns:a16="http://schemas.microsoft.com/office/drawing/2014/main" id="{2CF3868A-5631-5FB1-9788-C23B261E775D}"/>
                  </a:ext>
                </a:extLst>
              </p:cNvPr>
              <p:cNvSpPr/>
              <p:nvPr/>
            </p:nvSpPr>
            <p:spPr>
              <a:xfrm>
                <a:off x="5454978" y="3617299"/>
                <a:ext cx="84822" cy="87969"/>
              </a:xfrm>
              <a:custGeom>
                <a:avLst/>
                <a:gdLst>
                  <a:gd name="connsiteX0" fmla="*/ 84823 w 84822"/>
                  <a:gd name="connsiteY0" fmla="*/ 43985 h 87969"/>
                  <a:gd name="connsiteX1" fmla="*/ 42411 w 84822"/>
                  <a:gd name="connsiteY1" fmla="*/ 87970 h 87969"/>
                  <a:gd name="connsiteX2" fmla="*/ 0 w 84822"/>
                  <a:gd name="connsiteY2" fmla="*/ 43985 h 87969"/>
                  <a:gd name="connsiteX3" fmla="*/ 42411 w 84822"/>
                  <a:gd name="connsiteY3" fmla="*/ 0 h 87969"/>
                  <a:gd name="connsiteX4" fmla="*/ 84823 w 84822"/>
                  <a:gd name="connsiteY4" fmla="*/ 43985 h 87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822" h="87969">
                    <a:moveTo>
                      <a:pt x="84823" y="43985"/>
                    </a:moveTo>
                    <a:cubicBezTo>
                      <a:pt x="84823" y="68277"/>
                      <a:pt x="65834" y="87970"/>
                      <a:pt x="42411" y="87970"/>
                    </a:cubicBezTo>
                    <a:cubicBezTo>
                      <a:pt x="18988" y="87970"/>
                      <a:pt x="0" y="68277"/>
                      <a:pt x="0" y="43985"/>
                    </a:cubicBezTo>
                    <a:cubicBezTo>
                      <a:pt x="0" y="19693"/>
                      <a:pt x="18988" y="0"/>
                      <a:pt x="42411" y="0"/>
                    </a:cubicBezTo>
                    <a:cubicBezTo>
                      <a:pt x="65834" y="0"/>
                      <a:pt x="84823" y="19693"/>
                      <a:pt x="84823" y="43985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3" name="Freeform 30">
                <a:extLst>
                  <a:ext uri="{FF2B5EF4-FFF2-40B4-BE49-F238E27FC236}">
                    <a16:creationId xmlns:a16="http://schemas.microsoft.com/office/drawing/2014/main" id="{7A8106F4-55C7-8FDA-D1F6-195D7D1AB562}"/>
                  </a:ext>
                </a:extLst>
              </p:cNvPr>
              <p:cNvSpPr/>
              <p:nvPr/>
            </p:nvSpPr>
            <p:spPr>
              <a:xfrm>
                <a:off x="5528671" y="3588789"/>
                <a:ext cx="49071" cy="76845"/>
              </a:xfrm>
              <a:custGeom>
                <a:avLst/>
                <a:gdLst>
                  <a:gd name="connsiteX0" fmla="*/ 37802 w 49071"/>
                  <a:gd name="connsiteY0" fmla="*/ 16146 h 76845"/>
                  <a:gd name="connsiteX1" fmla="*/ 47723 w 49071"/>
                  <a:gd name="connsiteY1" fmla="*/ 23640 h 76845"/>
                  <a:gd name="connsiteX2" fmla="*/ 48906 w 49071"/>
                  <a:gd name="connsiteY2" fmla="*/ 30653 h 76845"/>
                  <a:gd name="connsiteX3" fmla="*/ 44528 w 49071"/>
                  <a:gd name="connsiteY3" fmla="*/ 76846 h 76845"/>
                  <a:gd name="connsiteX4" fmla="*/ 39901 w 49071"/>
                  <a:gd name="connsiteY4" fmla="*/ 39562 h 76845"/>
                  <a:gd name="connsiteX5" fmla="*/ 21420 w 49071"/>
                  <a:gd name="connsiteY5" fmla="*/ 19137 h 76845"/>
                  <a:gd name="connsiteX6" fmla="*/ 0 w 49071"/>
                  <a:gd name="connsiteY6" fmla="*/ 0 h 76845"/>
                  <a:gd name="connsiteX7" fmla="*/ 37802 w 49071"/>
                  <a:gd name="connsiteY7" fmla="*/ 16146 h 76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071" h="76845">
                    <a:moveTo>
                      <a:pt x="37802" y="16146"/>
                    </a:moveTo>
                    <a:cubicBezTo>
                      <a:pt x="41717" y="17898"/>
                      <a:pt x="45924" y="19945"/>
                      <a:pt x="47723" y="23640"/>
                    </a:cubicBezTo>
                    <a:cubicBezTo>
                      <a:pt x="48777" y="25807"/>
                      <a:pt x="48854" y="28270"/>
                      <a:pt x="48906" y="30653"/>
                    </a:cubicBezTo>
                    <a:cubicBezTo>
                      <a:pt x="49249" y="46184"/>
                      <a:pt x="49540" y="62035"/>
                      <a:pt x="44528" y="76846"/>
                    </a:cubicBezTo>
                    <a:cubicBezTo>
                      <a:pt x="40244" y="64922"/>
                      <a:pt x="44528" y="51374"/>
                      <a:pt x="39901" y="39562"/>
                    </a:cubicBezTo>
                    <a:cubicBezTo>
                      <a:pt x="36508" y="30893"/>
                      <a:pt x="28934" y="24735"/>
                      <a:pt x="21420" y="19137"/>
                    </a:cubicBezTo>
                    <a:cubicBezTo>
                      <a:pt x="14831" y="14235"/>
                      <a:pt x="2570" y="7789"/>
                      <a:pt x="0" y="0"/>
                    </a:cubicBezTo>
                    <a:cubicBezTo>
                      <a:pt x="12732" y="2943"/>
                      <a:pt x="25909" y="10804"/>
                      <a:pt x="37802" y="161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25" name="Graphic 1852">
              <a:extLst>
                <a:ext uri="{FF2B5EF4-FFF2-40B4-BE49-F238E27FC236}">
                  <a16:creationId xmlns:a16="http://schemas.microsoft.com/office/drawing/2014/main" id="{CCEC27F9-DED7-C719-C52E-35673AC1FD55}"/>
                </a:ext>
              </a:extLst>
            </p:cNvPr>
            <p:cNvGrpSpPr/>
            <p:nvPr/>
          </p:nvGrpSpPr>
          <p:grpSpPr>
            <a:xfrm rot="900000">
              <a:off x="5748098" y="3725418"/>
              <a:ext cx="172045" cy="151870"/>
              <a:chOff x="5748098" y="3725418"/>
              <a:chExt cx="172045" cy="151870"/>
            </a:xfrm>
          </p:grpSpPr>
          <p:sp>
            <p:nvSpPr>
              <p:cNvPr id="3738" name="Freeform 32">
                <a:extLst>
                  <a:ext uri="{FF2B5EF4-FFF2-40B4-BE49-F238E27FC236}">
                    <a16:creationId xmlns:a16="http://schemas.microsoft.com/office/drawing/2014/main" id="{07EE0149-9E43-7230-FD95-5F5077AA8C71}"/>
                  </a:ext>
                </a:extLst>
              </p:cNvPr>
              <p:cNvSpPr/>
              <p:nvPr/>
            </p:nvSpPr>
            <p:spPr>
              <a:xfrm>
                <a:off x="5748098" y="3725418"/>
                <a:ext cx="172045" cy="151870"/>
              </a:xfrm>
              <a:custGeom>
                <a:avLst/>
                <a:gdLst>
                  <a:gd name="connsiteX0" fmla="*/ 57901 w 172045"/>
                  <a:gd name="connsiteY0" fmla="*/ 7116 h 151870"/>
                  <a:gd name="connsiteX1" fmla="*/ 67625 w 172045"/>
                  <a:gd name="connsiteY1" fmla="*/ 1739 h 151870"/>
                  <a:gd name="connsiteX2" fmla="*/ 83213 w 172045"/>
                  <a:gd name="connsiteY2" fmla="*/ 174 h 151870"/>
                  <a:gd name="connsiteX3" fmla="*/ 133897 w 172045"/>
                  <a:gd name="connsiteY3" fmla="*/ 17710 h 151870"/>
                  <a:gd name="connsiteX4" fmla="*/ 158830 w 172045"/>
                  <a:gd name="connsiteY4" fmla="*/ 30181 h 151870"/>
                  <a:gd name="connsiteX5" fmla="*/ 169222 w 172045"/>
                  <a:gd name="connsiteY5" fmla="*/ 37657 h 151870"/>
                  <a:gd name="connsiteX6" fmla="*/ 171932 w 172045"/>
                  <a:gd name="connsiteY6" fmla="*/ 52602 h 151870"/>
                  <a:gd name="connsiteX7" fmla="*/ 169660 w 172045"/>
                  <a:gd name="connsiteY7" fmla="*/ 81985 h 151870"/>
                  <a:gd name="connsiteX8" fmla="*/ 162779 w 172045"/>
                  <a:gd name="connsiteY8" fmla="*/ 113856 h 151870"/>
                  <a:gd name="connsiteX9" fmla="*/ 141104 w 172045"/>
                  <a:gd name="connsiteY9" fmla="*/ 138570 h 151870"/>
                  <a:gd name="connsiteX10" fmla="*/ 116609 w 172045"/>
                  <a:gd name="connsiteY10" fmla="*/ 144993 h 151870"/>
                  <a:gd name="connsiteX11" fmla="*/ 86747 w 172045"/>
                  <a:gd name="connsiteY11" fmla="*/ 149552 h 151870"/>
                  <a:gd name="connsiteX12" fmla="*/ 43939 w 172045"/>
                  <a:gd name="connsiteY12" fmla="*/ 148637 h 151870"/>
                  <a:gd name="connsiteX13" fmla="*/ 17380 w 172045"/>
                  <a:gd name="connsiteY13" fmla="*/ 126237 h 151870"/>
                  <a:gd name="connsiteX14" fmla="*/ 136 w 172045"/>
                  <a:gd name="connsiteY14" fmla="*/ 87798 h 151870"/>
                  <a:gd name="connsiteX15" fmla="*/ 18159 w 172045"/>
                  <a:gd name="connsiteY15" fmla="*/ 47516 h 151870"/>
                  <a:gd name="connsiteX16" fmla="*/ 57901 w 172045"/>
                  <a:gd name="connsiteY16" fmla="*/ 7116 h 151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72045" h="151870">
                    <a:moveTo>
                      <a:pt x="57901" y="7116"/>
                    </a:moveTo>
                    <a:cubicBezTo>
                      <a:pt x="60866" y="4920"/>
                      <a:pt x="64137" y="3111"/>
                      <a:pt x="67625" y="1739"/>
                    </a:cubicBezTo>
                    <a:cubicBezTo>
                      <a:pt x="72539" y="-20"/>
                      <a:pt x="77950" y="-228"/>
                      <a:pt x="83213" y="174"/>
                    </a:cubicBezTo>
                    <a:cubicBezTo>
                      <a:pt x="101310" y="1559"/>
                      <a:pt x="117893" y="9714"/>
                      <a:pt x="133897" y="17710"/>
                    </a:cubicBezTo>
                    <a:lnTo>
                      <a:pt x="158830" y="30181"/>
                    </a:lnTo>
                    <a:cubicBezTo>
                      <a:pt x="162727" y="32128"/>
                      <a:pt x="166795" y="34213"/>
                      <a:pt x="169222" y="37657"/>
                    </a:cubicBezTo>
                    <a:cubicBezTo>
                      <a:pt x="172258" y="41945"/>
                      <a:pt x="172192" y="47467"/>
                      <a:pt x="171932" y="52602"/>
                    </a:cubicBezTo>
                    <a:cubicBezTo>
                      <a:pt x="171437" y="62412"/>
                      <a:pt x="170679" y="72207"/>
                      <a:pt x="169660" y="81985"/>
                    </a:cubicBezTo>
                    <a:cubicBezTo>
                      <a:pt x="168510" y="92801"/>
                      <a:pt x="167003" y="103720"/>
                      <a:pt x="162779" y="113856"/>
                    </a:cubicBezTo>
                    <a:cubicBezTo>
                      <a:pt x="158556" y="123993"/>
                      <a:pt x="151333" y="133381"/>
                      <a:pt x="141104" y="138570"/>
                    </a:cubicBezTo>
                    <a:cubicBezTo>
                      <a:pt x="133607" y="142374"/>
                      <a:pt x="125012" y="143711"/>
                      <a:pt x="116609" y="144993"/>
                    </a:cubicBezTo>
                    <a:lnTo>
                      <a:pt x="86747" y="149552"/>
                    </a:lnTo>
                    <a:cubicBezTo>
                      <a:pt x="72457" y="151734"/>
                      <a:pt x="57300" y="153813"/>
                      <a:pt x="43939" y="148637"/>
                    </a:cubicBezTo>
                    <a:cubicBezTo>
                      <a:pt x="32804" y="144321"/>
                      <a:pt x="24372" y="135473"/>
                      <a:pt x="17380" y="126237"/>
                    </a:cubicBezTo>
                    <a:cubicBezTo>
                      <a:pt x="8672" y="114764"/>
                      <a:pt x="1324" y="101849"/>
                      <a:pt x="136" y="87798"/>
                    </a:cubicBezTo>
                    <a:cubicBezTo>
                      <a:pt x="-1297" y="70726"/>
                      <a:pt x="8843" y="60645"/>
                      <a:pt x="18159" y="47516"/>
                    </a:cubicBezTo>
                    <a:cubicBezTo>
                      <a:pt x="29189" y="31968"/>
                      <a:pt x="41727" y="18305"/>
                      <a:pt x="57901" y="7116"/>
                    </a:cubicBezTo>
                    <a:close/>
                  </a:path>
                </a:pathLst>
              </a:custGeom>
              <a:solidFill>
                <a:schemeClr val="tx2"/>
              </a:solidFill>
              <a:ln w="4322" cap="flat">
                <a:solidFill>
                  <a:srgbClr val="58586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39" name="Freeform 33">
                <a:extLst>
                  <a:ext uri="{FF2B5EF4-FFF2-40B4-BE49-F238E27FC236}">
                    <a16:creationId xmlns:a16="http://schemas.microsoft.com/office/drawing/2014/main" id="{94B88BED-F206-23B4-91E9-8152F12AB0C0}"/>
                  </a:ext>
                </a:extLst>
              </p:cNvPr>
              <p:cNvSpPr/>
              <p:nvPr/>
            </p:nvSpPr>
            <p:spPr>
              <a:xfrm>
                <a:off x="5800053" y="3773931"/>
                <a:ext cx="73486" cy="76213"/>
              </a:xfrm>
              <a:custGeom>
                <a:avLst/>
                <a:gdLst>
                  <a:gd name="connsiteX0" fmla="*/ 73487 w 73486"/>
                  <a:gd name="connsiteY0" fmla="*/ 38107 h 76213"/>
                  <a:gd name="connsiteX1" fmla="*/ 36743 w 73486"/>
                  <a:gd name="connsiteY1" fmla="*/ 76213 h 76213"/>
                  <a:gd name="connsiteX2" fmla="*/ 0 w 73486"/>
                  <a:gd name="connsiteY2" fmla="*/ 38107 h 76213"/>
                  <a:gd name="connsiteX3" fmla="*/ 36743 w 73486"/>
                  <a:gd name="connsiteY3" fmla="*/ 0 h 76213"/>
                  <a:gd name="connsiteX4" fmla="*/ 73487 w 73486"/>
                  <a:gd name="connsiteY4" fmla="*/ 38107 h 76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486" h="76213">
                    <a:moveTo>
                      <a:pt x="73487" y="38107"/>
                    </a:moveTo>
                    <a:cubicBezTo>
                      <a:pt x="73487" y="59152"/>
                      <a:pt x="57036" y="76213"/>
                      <a:pt x="36743" y="76213"/>
                    </a:cubicBezTo>
                    <a:cubicBezTo>
                      <a:pt x="16451" y="76213"/>
                      <a:pt x="0" y="59152"/>
                      <a:pt x="0" y="38107"/>
                    </a:cubicBezTo>
                    <a:cubicBezTo>
                      <a:pt x="0" y="17061"/>
                      <a:pt x="16451" y="0"/>
                      <a:pt x="36743" y="0"/>
                    </a:cubicBezTo>
                    <a:cubicBezTo>
                      <a:pt x="57036" y="0"/>
                      <a:pt x="73487" y="17061"/>
                      <a:pt x="73487" y="38107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7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0" name="Freeform 37">
                <a:extLst>
                  <a:ext uri="{FF2B5EF4-FFF2-40B4-BE49-F238E27FC236}">
                    <a16:creationId xmlns:a16="http://schemas.microsoft.com/office/drawing/2014/main" id="{2A6D202A-397F-AFC7-36A2-EBCDACAD1F70}"/>
                  </a:ext>
                </a:extLst>
              </p:cNvPr>
              <p:cNvSpPr/>
              <p:nvPr/>
            </p:nvSpPr>
            <p:spPr>
              <a:xfrm>
                <a:off x="5863898" y="3749231"/>
                <a:ext cx="42513" cy="66575"/>
              </a:xfrm>
              <a:custGeom>
                <a:avLst/>
                <a:gdLst>
                  <a:gd name="connsiteX0" fmla="*/ 32750 w 42513"/>
                  <a:gd name="connsiteY0" fmla="*/ 13989 h 66575"/>
                  <a:gd name="connsiteX1" fmla="*/ 41346 w 42513"/>
                  <a:gd name="connsiteY1" fmla="*/ 20481 h 66575"/>
                  <a:gd name="connsiteX2" fmla="*/ 42370 w 42513"/>
                  <a:gd name="connsiteY2" fmla="*/ 26557 h 66575"/>
                  <a:gd name="connsiteX3" fmla="*/ 38577 w 42513"/>
                  <a:gd name="connsiteY3" fmla="*/ 66576 h 66575"/>
                  <a:gd name="connsiteX4" fmla="*/ 34568 w 42513"/>
                  <a:gd name="connsiteY4" fmla="*/ 34275 h 66575"/>
                  <a:gd name="connsiteX5" fmla="*/ 18557 w 42513"/>
                  <a:gd name="connsiteY5" fmla="*/ 16580 h 66575"/>
                  <a:gd name="connsiteX6" fmla="*/ 0 w 42513"/>
                  <a:gd name="connsiteY6" fmla="*/ 0 h 66575"/>
                  <a:gd name="connsiteX7" fmla="*/ 32750 w 42513"/>
                  <a:gd name="connsiteY7" fmla="*/ 13989 h 66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513" h="66575">
                    <a:moveTo>
                      <a:pt x="32750" y="13989"/>
                    </a:moveTo>
                    <a:cubicBezTo>
                      <a:pt x="36142" y="15506"/>
                      <a:pt x="39787" y="17280"/>
                      <a:pt x="41346" y="20481"/>
                    </a:cubicBezTo>
                    <a:cubicBezTo>
                      <a:pt x="42259" y="22358"/>
                      <a:pt x="42325" y="24492"/>
                      <a:pt x="42370" y="26557"/>
                    </a:cubicBezTo>
                    <a:cubicBezTo>
                      <a:pt x="42667" y="40012"/>
                      <a:pt x="42919" y="53744"/>
                      <a:pt x="38577" y="66576"/>
                    </a:cubicBezTo>
                    <a:cubicBezTo>
                      <a:pt x="34865" y="56245"/>
                      <a:pt x="38577" y="44509"/>
                      <a:pt x="34568" y="34275"/>
                    </a:cubicBezTo>
                    <a:cubicBezTo>
                      <a:pt x="31629" y="26765"/>
                      <a:pt x="25067" y="21430"/>
                      <a:pt x="18557" y="16580"/>
                    </a:cubicBezTo>
                    <a:cubicBezTo>
                      <a:pt x="12849" y="12333"/>
                      <a:pt x="2227" y="6748"/>
                      <a:pt x="0" y="0"/>
                    </a:cubicBezTo>
                    <a:cubicBezTo>
                      <a:pt x="11030" y="2550"/>
                      <a:pt x="22447" y="9360"/>
                      <a:pt x="32750" y="13989"/>
                    </a:cubicBezTo>
                    <a:close/>
                  </a:path>
                </a:pathLst>
              </a:custGeom>
              <a:solidFill>
                <a:srgbClr val="FFFFFF"/>
              </a:solidFill>
              <a:ln w="7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26" name="Graphic 1850">
              <a:extLst>
                <a:ext uri="{FF2B5EF4-FFF2-40B4-BE49-F238E27FC236}">
                  <a16:creationId xmlns:a16="http://schemas.microsoft.com/office/drawing/2014/main" id="{635AF76B-8627-BDD6-67AD-C69DC58EFFF0}"/>
                </a:ext>
              </a:extLst>
            </p:cNvPr>
            <p:cNvGrpSpPr/>
            <p:nvPr/>
          </p:nvGrpSpPr>
          <p:grpSpPr>
            <a:xfrm>
              <a:off x="5676441" y="4052996"/>
              <a:ext cx="137284" cy="121185"/>
              <a:chOff x="5676441" y="4052996"/>
              <a:chExt cx="137284" cy="121185"/>
            </a:xfrm>
          </p:grpSpPr>
          <p:sp>
            <p:nvSpPr>
              <p:cNvPr id="3735" name="Freeform 39">
                <a:extLst>
                  <a:ext uri="{FF2B5EF4-FFF2-40B4-BE49-F238E27FC236}">
                    <a16:creationId xmlns:a16="http://schemas.microsoft.com/office/drawing/2014/main" id="{03178DA9-8210-9803-FE08-E7D70F7992A8}"/>
                  </a:ext>
                </a:extLst>
              </p:cNvPr>
              <p:cNvSpPr/>
              <p:nvPr/>
            </p:nvSpPr>
            <p:spPr>
              <a:xfrm>
                <a:off x="5676441" y="4052996"/>
                <a:ext cx="137284" cy="121185"/>
              </a:xfrm>
              <a:custGeom>
                <a:avLst/>
                <a:gdLst>
                  <a:gd name="connsiteX0" fmla="*/ 46203 w 137284"/>
                  <a:gd name="connsiteY0" fmla="*/ 5678 h 121185"/>
                  <a:gd name="connsiteX1" fmla="*/ 53962 w 137284"/>
                  <a:gd name="connsiteY1" fmla="*/ 1388 h 121185"/>
                  <a:gd name="connsiteX2" fmla="*/ 66401 w 137284"/>
                  <a:gd name="connsiteY2" fmla="*/ 139 h 121185"/>
                  <a:gd name="connsiteX3" fmla="*/ 106844 w 137284"/>
                  <a:gd name="connsiteY3" fmla="*/ 14131 h 121185"/>
                  <a:gd name="connsiteX4" fmla="*/ 126740 w 137284"/>
                  <a:gd name="connsiteY4" fmla="*/ 24083 h 121185"/>
                  <a:gd name="connsiteX5" fmla="*/ 135032 w 137284"/>
                  <a:gd name="connsiteY5" fmla="*/ 30048 h 121185"/>
                  <a:gd name="connsiteX6" fmla="*/ 137194 w 137284"/>
                  <a:gd name="connsiteY6" fmla="*/ 41974 h 121185"/>
                  <a:gd name="connsiteX7" fmla="*/ 135382 w 137284"/>
                  <a:gd name="connsiteY7" fmla="*/ 65421 h 121185"/>
                  <a:gd name="connsiteX8" fmla="*/ 129891 w 137284"/>
                  <a:gd name="connsiteY8" fmla="*/ 90852 h 121185"/>
                  <a:gd name="connsiteX9" fmla="*/ 112595 w 137284"/>
                  <a:gd name="connsiteY9" fmla="*/ 110573 h 121185"/>
                  <a:gd name="connsiteX10" fmla="*/ 93049 w 137284"/>
                  <a:gd name="connsiteY10" fmla="*/ 115698 h 121185"/>
                  <a:gd name="connsiteX11" fmla="*/ 69220 w 137284"/>
                  <a:gd name="connsiteY11" fmla="*/ 119336 h 121185"/>
                  <a:gd name="connsiteX12" fmla="*/ 35061 w 137284"/>
                  <a:gd name="connsiteY12" fmla="*/ 118606 h 121185"/>
                  <a:gd name="connsiteX13" fmla="*/ 13868 w 137284"/>
                  <a:gd name="connsiteY13" fmla="*/ 100732 h 121185"/>
                  <a:gd name="connsiteX14" fmla="*/ 109 w 137284"/>
                  <a:gd name="connsiteY14" fmla="*/ 70059 h 121185"/>
                  <a:gd name="connsiteX15" fmla="*/ 14490 w 137284"/>
                  <a:gd name="connsiteY15" fmla="*/ 37916 h 121185"/>
                  <a:gd name="connsiteX16" fmla="*/ 46203 w 137284"/>
                  <a:gd name="connsiteY16" fmla="*/ 5678 h 121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7284" h="121185">
                    <a:moveTo>
                      <a:pt x="46203" y="5678"/>
                    </a:moveTo>
                    <a:cubicBezTo>
                      <a:pt x="48568" y="3926"/>
                      <a:pt x="51179" y="2483"/>
                      <a:pt x="53962" y="1388"/>
                    </a:cubicBezTo>
                    <a:cubicBezTo>
                      <a:pt x="57883" y="-16"/>
                      <a:pt x="62201" y="-182"/>
                      <a:pt x="66401" y="139"/>
                    </a:cubicBezTo>
                    <a:cubicBezTo>
                      <a:pt x="80841" y="1244"/>
                      <a:pt x="94073" y="7751"/>
                      <a:pt x="106844" y="14131"/>
                    </a:cubicBezTo>
                    <a:lnTo>
                      <a:pt x="126740" y="24083"/>
                    </a:lnTo>
                    <a:cubicBezTo>
                      <a:pt x="129849" y="25637"/>
                      <a:pt x="133095" y="27301"/>
                      <a:pt x="135032" y="30048"/>
                    </a:cubicBezTo>
                    <a:cubicBezTo>
                      <a:pt x="137455" y="33471"/>
                      <a:pt x="137401" y="37877"/>
                      <a:pt x="137194" y="41974"/>
                    </a:cubicBezTo>
                    <a:cubicBezTo>
                      <a:pt x="136799" y="49802"/>
                      <a:pt x="136195" y="57618"/>
                      <a:pt x="135382" y="65421"/>
                    </a:cubicBezTo>
                    <a:cubicBezTo>
                      <a:pt x="134463" y="74051"/>
                      <a:pt x="133261" y="82764"/>
                      <a:pt x="129891" y="90852"/>
                    </a:cubicBezTo>
                    <a:cubicBezTo>
                      <a:pt x="126521" y="98941"/>
                      <a:pt x="120757" y="106432"/>
                      <a:pt x="112595" y="110573"/>
                    </a:cubicBezTo>
                    <a:cubicBezTo>
                      <a:pt x="106613" y="113608"/>
                      <a:pt x="99754" y="114675"/>
                      <a:pt x="93049" y="115698"/>
                    </a:cubicBezTo>
                    <a:lnTo>
                      <a:pt x="69220" y="119336"/>
                    </a:lnTo>
                    <a:cubicBezTo>
                      <a:pt x="57818" y="121077"/>
                      <a:pt x="45723" y="122736"/>
                      <a:pt x="35061" y="118606"/>
                    </a:cubicBezTo>
                    <a:cubicBezTo>
                      <a:pt x="26176" y="115162"/>
                      <a:pt x="19448" y="108101"/>
                      <a:pt x="13868" y="100732"/>
                    </a:cubicBezTo>
                    <a:cubicBezTo>
                      <a:pt x="6920" y="91576"/>
                      <a:pt x="1056" y="81271"/>
                      <a:pt x="109" y="70059"/>
                    </a:cubicBezTo>
                    <a:cubicBezTo>
                      <a:pt x="-1035" y="56437"/>
                      <a:pt x="7056" y="48392"/>
                      <a:pt x="14490" y="37916"/>
                    </a:cubicBezTo>
                    <a:cubicBezTo>
                      <a:pt x="23292" y="25509"/>
                      <a:pt x="33296" y="14607"/>
                      <a:pt x="46203" y="5678"/>
                    </a:cubicBezTo>
                    <a:close/>
                  </a:path>
                </a:pathLst>
              </a:custGeom>
              <a:solidFill>
                <a:schemeClr val="tx2"/>
              </a:solidFill>
              <a:ln w="3362" cap="flat">
                <a:solidFill>
                  <a:srgbClr val="58586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36" name="Freeform 41">
                <a:extLst>
                  <a:ext uri="{FF2B5EF4-FFF2-40B4-BE49-F238E27FC236}">
                    <a16:creationId xmlns:a16="http://schemas.microsoft.com/office/drawing/2014/main" id="{8AA4CE1E-895C-76A5-5D91-326D0F1591C3}"/>
                  </a:ext>
                </a:extLst>
              </p:cNvPr>
              <p:cNvSpPr/>
              <p:nvPr/>
            </p:nvSpPr>
            <p:spPr>
              <a:xfrm>
                <a:off x="5717900" y="4091707"/>
                <a:ext cx="58639" cy="60814"/>
              </a:xfrm>
              <a:custGeom>
                <a:avLst/>
                <a:gdLst>
                  <a:gd name="connsiteX0" fmla="*/ 58639 w 58639"/>
                  <a:gd name="connsiteY0" fmla="*/ 30407 h 60814"/>
                  <a:gd name="connsiteX1" fmla="*/ 29320 w 58639"/>
                  <a:gd name="connsiteY1" fmla="*/ 60815 h 60814"/>
                  <a:gd name="connsiteX2" fmla="*/ 0 w 58639"/>
                  <a:gd name="connsiteY2" fmla="*/ 30407 h 60814"/>
                  <a:gd name="connsiteX3" fmla="*/ 29320 w 58639"/>
                  <a:gd name="connsiteY3" fmla="*/ 0 h 60814"/>
                  <a:gd name="connsiteX4" fmla="*/ 58639 w 58639"/>
                  <a:gd name="connsiteY4" fmla="*/ 30407 h 60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639" h="60814">
                    <a:moveTo>
                      <a:pt x="58639" y="30407"/>
                    </a:moveTo>
                    <a:cubicBezTo>
                      <a:pt x="58639" y="47201"/>
                      <a:pt x="45512" y="60815"/>
                      <a:pt x="29320" y="60815"/>
                    </a:cubicBezTo>
                    <a:cubicBezTo>
                      <a:pt x="13127" y="60815"/>
                      <a:pt x="0" y="47201"/>
                      <a:pt x="0" y="30407"/>
                    </a:cubicBezTo>
                    <a:cubicBezTo>
                      <a:pt x="0" y="13614"/>
                      <a:pt x="13127" y="0"/>
                      <a:pt x="29320" y="0"/>
                    </a:cubicBezTo>
                    <a:cubicBezTo>
                      <a:pt x="45512" y="0"/>
                      <a:pt x="58639" y="13614"/>
                      <a:pt x="58639" y="30407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5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37" name="Freeform 42">
                <a:extLst>
                  <a:ext uri="{FF2B5EF4-FFF2-40B4-BE49-F238E27FC236}">
                    <a16:creationId xmlns:a16="http://schemas.microsoft.com/office/drawing/2014/main" id="{619AF1F1-3FD8-A05B-9C31-5E1FD178E2D2}"/>
                  </a:ext>
                </a:extLst>
              </p:cNvPr>
              <p:cNvSpPr/>
              <p:nvPr/>
            </p:nvSpPr>
            <p:spPr>
              <a:xfrm>
                <a:off x="5768845" y="4071998"/>
                <a:ext cx="33923" cy="53124"/>
              </a:xfrm>
              <a:custGeom>
                <a:avLst/>
                <a:gdLst>
                  <a:gd name="connsiteX0" fmla="*/ 26133 w 33923"/>
                  <a:gd name="connsiteY0" fmla="*/ 11162 h 53124"/>
                  <a:gd name="connsiteX1" fmla="*/ 32992 w 33923"/>
                  <a:gd name="connsiteY1" fmla="*/ 16343 h 53124"/>
                  <a:gd name="connsiteX2" fmla="*/ 33809 w 33923"/>
                  <a:gd name="connsiteY2" fmla="*/ 21191 h 53124"/>
                  <a:gd name="connsiteX3" fmla="*/ 30783 w 33923"/>
                  <a:gd name="connsiteY3" fmla="*/ 53125 h 53124"/>
                  <a:gd name="connsiteX4" fmla="*/ 27584 w 33923"/>
                  <a:gd name="connsiteY4" fmla="*/ 27350 h 53124"/>
                  <a:gd name="connsiteX5" fmla="*/ 14808 w 33923"/>
                  <a:gd name="connsiteY5" fmla="*/ 13230 h 53124"/>
                  <a:gd name="connsiteX6" fmla="*/ 0 w 33923"/>
                  <a:gd name="connsiteY6" fmla="*/ 0 h 53124"/>
                  <a:gd name="connsiteX7" fmla="*/ 26133 w 33923"/>
                  <a:gd name="connsiteY7" fmla="*/ 11162 h 53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923" h="53124">
                    <a:moveTo>
                      <a:pt x="26133" y="11162"/>
                    </a:moveTo>
                    <a:cubicBezTo>
                      <a:pt x="28840" y="12373"/>
                      <a:pt x="31748" y="13788"/>
                      <a:pt x="32992" y="16343"/>
                    </a:cubicBezTo>
                    <a:cubicBezTo>
                      <a:pt x="33720" y="17841"/>
                      <a:pt x="33774" y="19544"/>
                      <a:pt x="33809" y="21191"/>
                    </a:cubicBezTo>
                    <a:cubicBezTo>
                      <a:pt x="34046" y="31928"/>
                      <a:pt x="34248" y="42886"/>
                      <a:pt x="30783" y="53125"/>
                    </a:cubicBezTo>
                    <a:cubicBezTo>
                      <a:pt x="27821" y="44881"/>
                      <a:pt x="30783" y="35516"/>
                      <a:pt x="27584" y="27350"/>
                    </a:cubicBezTo>
                    <a:cubicBezTo>
                      <a:pt x="25239" y="21357"/>
                      <a:pt x="20002" y="17100"/>
                      <a:pt x="14808" y="13230"/>
                    </a:cubicBezTo>
                    <a:cubicBezTo>
                      <a:pt x="10253" y="9841"/>
                      <a:pt x="1777" y="5385"/>
                      <a:pt x="0" y="0"/>
                    </a:cubicBezTo>
                    <a:cubicBezTo>
                      <a:pt x="8802" y="2035"/>
                      <a:pt x="17912" y="7469"/>
                      <a:pt x="26133" y="11162"/>
                    </a:cubicBezTo>
                    <a:close/>
                  </a:path>
                </a:pathLst>
              </a:custGeom>
              <a:solidFill>
                <a:srgbClr val="FFFFFF"/>
              </a:solidFill>
              <a:ln w="5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27" name="Graphic 1853">
              <a:extLst>
                <a:ext uri="{FF2B5EF4-FFF2-40B4-BE49-F238E27FC236}">
                  <a16:creationId xmlns:a16="http://schemas.microsoft.com/office/drawing/2014/main" id="{3CA52344-CD74-ED1F-326E-F1970BD323B6}"/>
                </a:ext>
              </a:extLst>
            </p:cNvPr>
            <p:cNvGrpSpPr/>
            <p:nvPr/>
          </p:nvGrpSpPr>
          <p:grpSpPr>
            <a:xfrm rot="4500000">
              <a:off x="5303671" y="4139642"/>
              <a:ext cx="198584" cy="175297"/>
              <a:chOff x="5303671" y="4139642"/>
              <a:chExt cx="198584" cy="175297"/>
            </a:xfrm>
          </p:grpSpPr>
          <p:sp>
            <p:nvSpPr>
              <p:cNvPr id="3732" name="Freeform 45">
                <a:extLst>
                  <a:ext uri="{FF2B5EF4-FFF2-40B4-BE49-F238E27FC236}">
                    <a16:creationId xmlns:a16="http://schemas.microsoft.com/office/drawing/2014/main" id="{5D163E2E-0F8C-49EC-CB49-FC874B2DC13F}"/>
                  </a:ext>
                </a:extLst>
              </p:cNvPr>
              <p:cNvSpPr/>
              <p:nvPr/>
            </p:nvSpPr>
            <p:spPr>
              <a:xfrm>
                <a:off x="5303671" y="4139642"/>
                <a:ext cx="198584" cy="175297"/>
              </a:xfrm>
              <a:custGeom>
                <a:avLst/>
                <a:gdLst>
                  <a:gd name="connsiteX0" fmla="*/ 66833 w 198584"/>
                  <a:gd name="connsiteY0" fmla="*/ 8214 h 175297"/>
                  <a:gd name="connsiteX1" fmla="*/ 78057 w 198584"/>
                  <a:gd name="connsiteY1" fmla="*/ 2008 h 175297"/>
                  <a:gd name="connsiteX2" fmla="*/ 96050 w 198584"/>
                  <a:gd name="connsiteY2" fmla="*/ 200 h 175297"/>
                  <a:gd name="connsiteX3" fmla="*/ 154551 w 198584"/>
                  <a:gd name="connsiteY3" fmla="*/ 20441 h 175297"/>
                  <a:gd name="connsiteX4" fmla="*/ 183331 w 198584"/>
                  <a:gd name="connsiteY4" fmla="*/ 34836 h 175297"/>
                  <a:gd name="connsiteX5" fmla="*/ 195326 w 198584"/>
                  <a:gd name="connsiteY5" fmla="*/ 43465 h 175297"/>
                  <a:gd name="connsiteX6" fmla="*/ 198454 w 198584"/>
                  <a:gd name="connsiteY6" fmla="*/ 60716 h 175297"/>
                  <a:gd name="connsiteX7" fmla="*/ 195832 w 198584"/>
                  <a:gd name="connsiteY7" fmla="*/ 94632 h 175297"/>
                  <a:gd name="connsiteX8" fmla="*/ 187889 w 198584"/>
                  <a:gd name="connsiteY8" fmla="*/ 131419 h 175297"/>
                  <a:gd name="connsiteX9" fmla="*/ 162871 w 198584"/>
                  <a:gd name="connsiteY9" fmla="*/ 159945 h 175297"/>
                  <a:gd name="connsiteX10" fmla="*/ 134597 w 198584"/>
                  <a:gd name="connsiteY10" fmla="*/ 167359 h 175297"/>
                  <a:gd name="connsiteX11" fmla="*/ 100128 w 198584"/>
                  <a:gd name="connsiteY11" fmla="*/ 172621 h 175297"/>
                  <a:gd name="connsiteX12" fmla="*/ 50717 w 198584"/>
                  <a:gd name="connsiteY12" fmla="*/ 171565 h 175297"/>
                  <a:gd name="connsiteX13" fmla="*/ 20060 w 198584"/>
                  <a:gd name="connsiteY13" fmla="*/ 145710 h 175297"/>
                  <a:gd name="connsiteX14" fmla="*/ 157 w 198584"/>
                  <a:gd name="connsiteY14" fmla="*/ 101342 h 175297"/>
                  <a:gd name="connsiteX15" fmla="*/ 20960 w 198584"/>
                  <a:gd name="connsiteY15" fmla="*/ 54846 h 175297"/>
                  <a:gd name="connsiteX16" fmla="*/ 66833 w 198584"/>
                  <a:gd name="connsiteY16" fmla="*/ 8214 h 175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98584" h="175297">
                    <a:moveTo>
                      <a:pt x="66833" y="8214"/>
                    </a:moveTo>
                    <a:cubicBezTo>
                      <a:pt x="70255" y="5679"/>
                      <a:pt x="74031" y="3591"/>
                      <a:pt x="78057" y="2008"/>
                    </a:cubicBezTo>
                    <a:cubicBezTo>
                      <a:pt x="83729" y="-24"/>
                      <a:pt x="89975" y="-263"/>
                      <a:pt x="96050" y="200"/>
                    </a:cubicBezTo>
                    <a:cubicBezTo>
                      <a:pt x="116938" y="1800"/>
                      <a:pt x="136079" y="11213"/>
                      <a:pt x="154551" y="20441"/>
                    </a:cubicBezTo>
                    <a:lnTo>
                      <a:pt x="183331" y="34836"/>
                    </a:lnTo>
                    <a:cubicBezTo>
                      <a:pt x="187829" y="37084"/>
                      <a:pt x="192525" y="39491"/>
                      <a:pt x="195326" y="43465"/>
                    </a:cubicBezTo>
                    <a:cubicBezTo>
                      <a:pt x="198831" y="48416"/>
                      <a:pt x="198753" y="54790"/>
                      <a:pt x="198454" y="60716"/>
                    </a:cubicBezTo>
                    <a:cubicBezTo>
                      <a:pt x="197882" y="72040"/>
                      <a:pt x="197008" y="83345"/>
                      <a:pt x="195832" y="94632"/>
                    </a:cubicBezTo>
                    <a:cubicBezTo>
                      <a:pt x="194504" y="107116"/>
                      <a:pt x="192764" y="119719"/>
                      <a:pt x="187889" y="131419"/>
                    </a:cubicBezTo>
                    <a:cubicBezTo>
                      <a:pt x="183014" y="143119"/>
                      <a:pt x="174678" y="153955"/>
                      <a:pt x="162871" y="159945"/>
                    </a:cubicBezTo>
                    <a:cubicBezTo>
                      <a:pt x="154217" y="164336"/>
                      <a:pt x="144296" y="165879"/>
                      <a:pt x="134597" y="167359"/>
                    </a:cubicBezTo>
                    <a:lnTo>
                      <a:pt x="100128" y="172621"/>
                    </a:lnTo>
                    <a:cubicBezTo>
                      <a:pt x="83635" y="175140"/>
                      <a:pt x="66139" y="177539"/>
                      <a:pt x="50717" y="171565"/>
                    </a:cubicBezTo>
                    <a:cubicBezTo>
                      <a:pt x="37865" y="166583"/>
                      <a:pt x="28131" y="156371"/>
                      <a:pt x="20060" y="145710"/>
                    </a:cubicBezTo>
                    <a:cubicBezTo>
                      <a:pt x="10010" y="132467"/>
                      <a:pt x="1528" y="117560"/>
                      <a:pt x="157" y="101342"/>
                    </a:cubicBezTo>
                    <a:cubicBezTo>
                      <a:pt x="-1497" y="81636"/>
                      <a:pt x="10207" y="70000"/>
                      <a:pt x="20960" y="54846"/>
                    </a:cubicBezTo>
                    <a:cubicBezTo>
                      <a:pt x="33692" y="36900"/>
                      <a:pt x="48163" y="21129"/>
                      <a:pt x="66833" y="8214"/>
                    </a:cubicBezTo>
                    <a:close/>
                  </a:path>
                </a:pathLst>
              </a:custGeom>
              <a:solidFill>
                <a:schemeClr val="tx2"/>
              </a:solidFill>
              <a:ln w="5043" cap="flat">
                <a:solidFill>
                  <a:srgbClr val="58586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33" name="Freeform 46">
                <a:extLst>
                  <a:ext uri="{FF2B5EF4-FFF2-40B4-BE49-F238E27FC236}">
                    <a16:creationId xmlns:a16="http://schemas.microsoft.com/office/drawing/2014/main" id="{1EA31B35-A83F-5E78-2C06-3F3AEF1988BF}"/>
                  </a:ext>
                </a:extLst>
              </p:cNvPr>
              <p:cNvSpPr/>
              <p:nvPr/>
            </p:nvSpPr>
            <p:spPr>
              <a:xfrm>
                <a:off x="5363641" y="4195639"/>
                <a:ext cx="84822" cy="87969"/>
              </a:xfrm>
              <a:custGeom>
                <a:avLst/>
                <a:gdLst>
                  <a:gd name="connsiteX0" fmla="*/ 84823 w 84822"/>
                  <a:gd name="connsiteY0" fmla="*/ 43985 h 87969"/>
                  <a:gd name="connsiteX1" fmla="*/ 42411 w 84822"/>
                  <a:gd name="connsiteY1" fmla="*/ 87970 h 87969"/>
                  <a:gd name="connsiteX2" fmla="*/ 0 w 84822"/>
                  <a:gd name="connsiteY2" fmla="*/ 43985 h 87969"/>
                  <a:gd name="connsiteX3" fmla="*/ 42411 w 84822"/>
                  <a:gd name="connsiteY3" fmla="*/ 0 h 87969"/>
                  <a:gd name="connsiteX4" fmla="*/ 84823 w 84822"/>
                  <a:gd name="connsiteY4" fmla="*/ 43985 h 87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822" h="87969">
                    <a:moveTo>
                      <a:pt x="84823" y="43985"/>
                    </a:moveTo>
                    <a:cubicBezTo>
                      <a:pt x="84823" y="68277"/>
                      <a:pt x="65834" y="87970"/>
                      <a:pt x="42411" y="87970"/>
                    </a:cubicBezTo>
                    <a:cubicBezTo>
                      <a:pt x="18988" y="87970"/>
                      <a:pt x="0" y="68277"/>
                      <a:pt x="0" y="43985"/>
                    </a:cubicBezTo>
                    <a:cubicBezTo>
                      <a:pt x="0" y="19693"/>
                      <a:pt x="18988" y="0"/>
                      <a:pt x="42411" y="0"/>
                    </a:cubicBezTo>
                    <a:cubicBezTo>
                      <a:pt x="65834" y="0"/>
                      <a:pt x="84823" y="19693"/>
                      <a:pt x="84823" y="43985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34" name="Freeform 48">
                <a:extLst>
                  <a:ext uri="{FF2B5EF4-FFF2-40B4-BE49-F238E27FC236}">
                    <a16:creationId xmlns:a16="http://schemas.microsoft.com/office/drawing/2014/main" id="{DC87E59B-1BA5-3DFB-AF39-E0E34E404CB0}"/>
                  </a:ext>
                </a:extLst>
              </p:cNvPr>
              <p:cNvSpPr/>
              <p:nvPr/>
            </p:nvSpPr>
            <p:spPr>
              <a:xfrm>
                <a:off x="5437334" y="4167129"/>
                <a:ext cx="49071" cy="76845"/>
              </a:xfrm>
              <a:custGeom>
                <a:avLst/>
                <a:gdLst>
                  <a:gd name="connsiteX0" fmla="*/ 37802 w 49071"/>
                  <a:gd name="connsiteY0" fmla="*/ 16146 h 76845"/>
                  <a:gd name="connsiteX1" fmla="*/ 47723 w 49071"/>
                  <a:gd name="connsiteY1" fmla="*/ 23640 h 76845"/>
                  <a:gd name="connsiteX2" fmla="*/ 48906 w 49071"/>
                  <a:gd name="connsiteY2" fmla="*/ 30653 h 76845"/>
                  <a:gd name="connsiteX3" fmla="*/ 44528 w 49071"/>
                  <a:gd name="connsiteY3" fmla="*/ 76846 h 76845"/>
                  <a:gd name="connsiteX4" fmla="*/ 39901 w 49071"/>
                  <a:gd name="connsiteY4" fmla="*/ 39562 h 76845"/>
                  <a:gd name="connsiteX5" fmla="*/ 21420 w 49071"/>
                  <a:gd name="connsiteY5" fmla="*/ 19137 h 76845"/>
                  <a:gd name="connsiteX6" fmla="*/ 0 w 49071"/>
                  <a:gd name="connsiteY6" fmla="*/ 0 h 76845"/>
                  <a:gd name="connsiteX7" fmla="*/ 37802 w 49071"/>
                  <a:gd name="connsiteY7" fmla="*/ 16146 h 76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071" h="76845">
                    <a:moveTo>
                      <a:pt x="37802" y="16146"/>
                    </a:moveTo>
                    <a:cubicBezTo>
                      <a:pt x="41717" y="17898"/>
                      <a:pt x="45924" y="19945"/>
                      <a:pt x="47723" y="23640"/>
                    </a:cubicBezTo>
                    <a:cubicBezTo>
                      <a:pt x="48777" y="25807"/>
                      <a:pt x="48854" y="28270"/>
                      <a:pt x="48906" y="30653"/>
                    </a:cubicBezTo>
                    <a:cubicBezTo>
                      <a:pt x="49249" y="46184"/>
                      <a:pt x="49540" y="62035"/>
                      <a:pt x="44528" y="76846"/>
                    </a:cubicBezTo>
                    <a:cubicBezTo>
                      <a:pt x="40244" y="64922"/>
                      <a:pt x="44528" y="51374"/>
                      <a:pt x="39901" y="39562"/>
                    </a:cubicBezTo>
                    <a:cubicBezTo>
                      <a:pt x="36508" y="30893"/>
                      <a:pt x="28934" y="24735"/>
                      <a:pt x="21420" y="19137"/>
                    </a:cubicBezTo>
                    <a:cubicBezTo>
                      <a:pt x="14831" y="14235"/>
                      <a:pt x="2570" y="7789"/>
                      <a:pt x="0" y="0"/>
                    </a:cubicBezTo>
                    <a:cubicBezTo>
                      <a:pt x="12732" y="2943"/>
                      <a:pt x="25909" y="10804"/>
                      <a:pt x="37802" y="161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28" name="Graphic 1851">
              <a:extLst>
                <a:ext uri="{FF2B5EF4-FFF2-40B4-BE49-F238E27FC236}">
                  <a16:creationId xmlns:a16="http://schemas.microsoft.com/office/drawing/2014/main" id="{5ACAA35C-6BD7-D814-E87D-9959FB4110FF}"/>
                </a:ext>
              </a:extLst>
            </p:cNvPr>
            <p:cNvGrpSpPr/>
            <p:nvPr/>
          </p:nvGrpSpPr>
          <p:grpSpPr>
            <a:xfrm>
              <a:off x="4866841" y="3883052"/>
              <a:ext cx="198584" cy="175297"/>
              <a:chOff x="4866841" y="3883052"/>
              <a:chExt cx="198584" cy="175297"/>
            </a:xfrm>
          </p:grpSpPr>
          <p:sp>
            <p:nvSpPr>
              <p:cNvPr id="3729" name="Freeform 50">
                <a:extLst>
                  <a:ext uri="{FF2B5EF4-FFF2-40B4-BE49-F238E27FC236}">
                    <a16:creationId xmlns:a16="http://schemas.microsoft.com/office/drawing/2014/main" id="{5D29315A-3D3C-4D37-249C-51A67F52CCC3}"/>
                  </a:ext>
                </a:extLst>
              </p:cNvPr>
              <p:cNvSpPr/>
              <p:nvPr/>
            </p:nvSpPr>
            <p:spPr>
              <a:xfrm>
                <a:off x="4866841" y="3883052"/>
                <a:ext cx="198584" cy="175297"/>
              </a:xfrm>
              <a:custGeom>
                <a:avLst/>
                <a:gdLst>
                  <a:gd name="connsiteX0" fmla="*/ 66833 w 198584"/>
                  <a:gd name="connsiteY0" fmla="*/ 8214 h 175297"/>
                  <a:gd name="connsiteX1" fmla="*/ 78057 w 198584"/>
                  <a:gd name="connsiteY1" fmla="*/ 2008 h 175297"/>
                  <a:gd name="connsiteX2" fmla="*/ 96050 w 198584"/>
                  <a:gd name="connsiteY2" fmla="*/ 200 h 175297"/>
                  <a:gd name="connsiteX3" fmla="*/ 154551 w 198584"/>
                  <a:gd name="connsiteY3" fmla="*/ 20441 h 175297"/>
                  <a:gd name="connsiteX4" fmla="*/ 183331 w 198584"/>
                  <a:gd name="connsiteY4" fmla="*/ 34836 h 175297"/>
                  <a:gd name="connsiteX5" fmla="*/ 195326 w 198584"/>
                  <a:gd name="connsiteY5" fmla="*/ 43465 h 175297"/>
                  <a:gd name="connsiteX6" fmla="*/ 198454 w 198584"/>
                  <a:gd name="connsiteY6" fmla="*/ 60716 h 175297"/>
                  <a:gd name="connsiteX7" fmla="*/ 195832 w 198584"/>
                  <a:gd name="connsiteY7" fmla="*/ 94632 h 175297"/>
                  <a:gd name="connsiteX8" fmla="*/ 187889 w 198584"/>
                  <a:gd name="connsiteY8" fmla="*/ 131419 h 175297"/>
                  <a:gd name="connsiteX9" fmla="*/ 162871 w 198584"/>
                  <a:gd name="connsiteY9" fmla="*/ 159945 h 175297"/>
                  <a:gd name="connsiteX10" fmla="*/ 134597 w 198584"/>
                  <a:gd name="connsiteY10" fmla="*/ 167359 h 175297"/>
                  <a:gd name="connsiteX11" fmla="*/ 100128 w 198584"/>
                  <a:gd name="connsiteY11" fmla="*/ 172621 h 175297"/>
                  <a:gd name="connsiteX12" fmla="*/ 50717 w 198584"/>
                  <a:gd name="connsiteY12" fmla="*/ 171565 h 175297"/>
                  <a:gd name="connsiteX13" fmla="*/ 20060 w 198584"/>
                  <a:gd name="connsiteY13" fmla="*/ 145710 h 175297"/>
                  <a:gd name="connsiteX14" fmla="*/ 157 w 198584"/>
                  <a:gd name="connsiteY14" fmla="*/ 101342 h 175297"/>
                  <a:gd name="connsiteX15" fmla="*/ 20960 w 198584"/>
                  <a:gd name="connsiteY15" fmla="*/ 54846 h 175297"/>
                  <a:gd name="connsiteX16" fmla="*/ 66833 w 198584"/>
                  <a:gd name="connsiteY16" fmla="*/ 8214 h 175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98584" h="175297">
                    <a:moveTo>
                      <a:pt x="66833" y="8214"/>
                    </a:moveTo>
                    <a:cubicBezTo>
                      <a:pt x="70255" y="5679"/>
                      <a:pt x="74031" y="3591"/>
                      <a:pt x="78057" y="2008"/>
                    </a:cubicBezTo>
                    <a:cubicBezTo>
                      <a:pt x="83729" y="-24"/>
                      <a:pt x="89975" y="-263"/>
                      <a:pt x="96050" y="200"/>
                    </a:cubicBezTo>
                    <a:cubicBezTo>
                      <a:pt x="116938" y="1800"/>
                      <a:pt x="136079" y="11213"/>
                      <a:pt x="154551" y="20441"/>
                    </a:cubicBezTo>
                    <a:lnTo>
                      <a:pt x="183331" y="34836"/>
                    </a:lnTo>
                    <a:cubicBezTo>
                      <a:pt x="187829" y="37084"/>
                      <a:pt x="192525" y="39491"/>
                      <a:pt x="195326" y="43465"/>
                    </a:cubicBezTo>
                    <a:cubicBezTo>
                      <a:pt x="198831" y="48416"/>
                      <a:pt x="198753" y="54790"/>
                      <a:pt x="198454" y="60716"/>
                    </a:cubicBezTo>
                    <a:cubicBezTo>
                      <a:pt x="197882" y="72040"/>
                      <a:pt x="197008" y="83345"/>
                      <a:pt x="195832" y="94632"/>
                    </a:cubicBezTo>
                    <a:cubicBezTo>
                      <a:pt x="194504" y="107116"/>
                      <a:pt x="192764" y="119719"/>
                      <a:pt x="187889" y="131419"/>
                    </a:cubicBezTo>
                    <a:cubicBezTo>
                      <a:pt x="183014" y="143119"/>
                      <a:pt x="174678" y="153955"/>
                      <a:pt x="162871" y="159945"/>
                    </a:cubicBezTo>
                    <a:cubicBezTo>
                      <a:pt x="154217" y="164336"/>
                      <a:pt x="144296" y="165879"/>
                      <a:pt x="134597" y="167359"/>
                    </a:cubicBezTo>
                    <a:lnTo>
                      <a:pt x="100128" y="172621"/>
                    </a:lnTo>
                    <a:cubicBezTo>
                      <a:pt x="83635" y="175140"/>
                      <a:pt x="66139" y="177539"/>
                      <a:pt x="50717" y="171565"/>
                    </a:cubicBezTo>
                    <a:cubicBezTo>
                      <a:pt x="37865" y="166583"/>
                      <a:pt x="28131" y="156371"/>
                      <a:pt x="20060" y="145710"/>
                    </a:cubicBezTo>
                    <a:cubicBezTo>
                      <a:pt x="10010" y="132467"/>
                      <a:pt x="1528" y="117560"/>
                      <a:pt x="157" y="101342"/>
                    </a:cubicBezTo>
                    <a:cubicBezTo>
                      <a:pt x="-1497" y="81636"/>
                      <a:pt x="10207" y="70000"/>
                      <a:pt x="20960" y="54846"/>
                    </a:cubicBezTo>
                    <a:cubicBezTo>
                      <a:pt x="33692" y="36900"/>
                      <a:pt x="48163" y="21129"/>
                      <a:pt x="66833" y="8214"/>
                    </a:cubicBezTo>
                    <a:close/>
                  </a:path>
                </a:pathLst>
              </a:custGeom>
              <a:solidFill>
                <a:schemeClr val="tx2"/>
              </a:solidFill>
              <a:ln w="5043" cap="flat">
                <a:solidFill>
                  <a:srgbClr val="58586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30" name="Freeform 51">
                <a:extLst>
                  <a:ext uri="{FF2B5EF4-FFF2-40B4-BE49-F238E27FC236}">
                    <a16:creationId xmlns:a16="http://schemas.microsoft.com/office/drawing/2014/main" id="{A3201CAC-3654-CA65-166B-77A38A197598}"/>
                  </a:ext>
                </a:extLst>
              </p:cNvPr>
              <p:cNvSpPr/>
              <p:nvPr/>
            </p:nvSpPr>
            <p:spPr>
              <a:xfrm>
                <a:off x="4926811" y="3939049"/>
                <a:ext cx="84822" cy="87969"/>
              </a:xfrm>
              <a:custGeom>
                <a:avLst/>
                <a:gdLst>
                  <a:gd name="connsiteX0" fmla="*/ 84823 w 84822"/>
                  <a:gd name="connsiteY0" fmla="*/ 43985 h 87969"/>
                  <a:gd name="connsiteX1" fmla="*/ 42411 w 84822"/>
                  <a:gd name="connsiteY1" fmla="*/ 87970 h 87969"/>
                  <a:gd name="connsiteX2" fmla="*/ 0 w 84822"/>
                  <a:gd name="connsiteY2" fmla="*/ 43985 h 87969"/>
                  <a:gd name="connsiteX3" fmla="*/ 42411 w 84822"/>
                  <a:gd name="connsiteY3" fmla="*/ 0 h 87969"/>
                  <a:gd name="connsiteX4" fmla="*/ 84823 w 84822"/>
                  <a:gd name="connsiteY4" fmla="*/ 43985 h 87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822" h="87969">
                    <a:moveTo>
                      <a:pt x="84823" y="43985"/>
                    </a:moveTo>
                    <a:cubicBezTo>
                      <a:pt x="84823" y="68277"/>
                      <a:pt x="65834" y="87970"/>
                      <a:pt x="42411" y="87970"/>
                    </a:cubicBezTo>
                    <a:cubicBezTo>
                      <a:pt x="18988" y="87970"/>
                      <a:pt x="0" y="68277"/>
                      <a:pt x="0" y="43985"/>
                    </a:cubicBezTo>
                    <a:cubicBezTo>
                      <a:pt x="0" y="19693"/>
                      <a:pt x="18988" y="0"/>
                      <a:pt x="42411" y="0"/>
                    </a:cubicBezTo>
                    <a:cubicBezTo>
                      <a:pt x="65834" y="0"/>
                      <a:pt x="84823" y="19693"/>
                      <a:pt x="84823" y="43985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31" name="Freeform 52">
                <a:extLst>
                  <a:ext uri="{FF2B5EF4-FFF2-40B4-BE49-F238E27FC236}">
                    <a16:creationId xmlns:a16="http://schemas.microsoft.com/office/drawing/2014/main" id="{69965541-11BD-6ED3-7349-4DDCB6E6D17D}"/>
                  </a:ext>
                </a:extLst>
              </p:cNvPr>
              <p:cNvSpPr/>
              <p:nvPr/>
            </p:nvSpPr>
            <p:spPr>
              <a:xfrm>
                <a:off x="5000504" y="3910539"/>
                <a:ext cx="49071" cy="76845"/>
              </a:xfrm>
              <a:custGeom>
                <a:avLst/>
                <a:gdLst>
                  <a:gd name="connsiteX0" fmla="*/ 37802 w 49071"/>
                  <a:gd name="connsiteY0" fmla="*/ 16146 h 76845"/>
                  <a:gd name="connsiteX1" fmla="*/ 47723 w 49071"/>
                  <a:gd name="connsiteY1" fmla="*/ 23640 h 76845"/>
                  <a:gd name="connsiteX2" fmla="*/ 48906 w 49071"/>
                  <a:gd name="connsiteY2" fmla="*/ 30653 h 76845"/>
                  <a:gd name="connsiteX3" fmla="*/ 44528 w 49071"/>
                  <a:gd name="connsiteY3" fmla="*/ 76846 h 76845"/>
                  <a:gd name="connsiteX4" fmla="*/ 39901 w 49071"/>
                  <a:gd name="connsiteY4" fmla="*/ 39562 h 76845"/>
                  <a:gd name="connsiteX5" fmla="*/ 21420 w 49071"/>
                  <a:gd name="connsiteY5" fmla="*/ 19137 h 76845"/>
                  <a:gd name="connsiteX6" fmla="*/ 0 w 49071"/>
                  <a:gd name="connsiteY6" fmla="*/ 0 h 76845"/>
                  <a:gd name="connsiteX7" fmla="*/ 37802 w 49071"/>
                  <a:gd name="connsiteY7" fmla="*/ 16146 h 76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071" h="76845">
                    <a:moveTo>
                      <a:pt x="37802" y="16146"/>
                    </a:moveTo>
                    <a:cubicBezTo>
                      <a:pt x="41717" y="17898"/>
                      <a:pt x="45924" y="19945"/>
                      <a:pt x="47723" y="23640"/>
                    </a:cubicBezTo>
                    <a:cubicBezTo>
                      <a:pt x="48777" y="25807"/>
                      <a:pt x="48854" y="28270"/>
                      <a:pt x="48906" y="30653"/>
                    </a:cubicBezTo>
                    <a:cubicBezTo>
                      <a:pt x="49249" y="46184"/>
                      <a:pt x="49540" y="62035"/>
                      <a:pt x="44528" y="76846"/>
                    </a:cubicBezTo>
                    <a:cubicBezTo>
                      <a:pt x="40244" y="64922"/>
                      <a:pt x="44528" y="51374"/>
                      <a:pt x="39901" y="39562"/>
                    </a:cubicBezTo>
                    <a:cubicBezTo>
                      <a:pt x="36508" y="30893"/>
                      <a:pt x="28934" y="24735"/>
                      <a:pt x="21420" y="19137"/>
                    </a:cubicBezTo>
                    <a:cubicBezTo>
                      <a:pt x="14831" y="14235"/>
                      <a:pt x="2570" y="7789"/>
                      <a:pt x="0" y="0"/>
                    </a:cubicBezTo>
                    <a:cubicBezTo>
                      <a:pt x="12732" y="2943"/>
                      <a:pt x="25909" y="10804"/>
                      <a:pt x="37802" y="161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3864" name="Group 3863">
            <a:extLst>
              <a:ext uri="{FF2B5EF4-FFF2-40B4-BE49-F238E27FC236}">
                <a16:creationId xmlns:a16="http://schemas.microsoft.com/office/drawing/2014/main" id="{6DF1E81B-3B56-3703-3CEA-2399A61DE34D}"/>
              </a:ext>
            </a:extLst>
          </p:cNvPr>
          <p:cNvGrpSpPr/>
          <p:nvPr/>
        </p:nvGrpSpPr>
        <p:grpSpPr>
          <a:xfrm>
            <a:off x="4461240" y="1490891"/>
            <a:ext cx="4264545" cy="2112192"/>
            <a:chOff x="5686067" y="2291189"/>
            <a:chExt cx="5594202" cy="2816255"/>
          </a:xfrm>
        </p:grpSpPr>
        <p:grpSp>
          <p:nvGrpSpPr>
            <p:cNvPr id="3865" name="Group 3864">
              <a:extLst>
                <a:ext uri="{FF2B5EF4-FFF2-40B4-BE49-F238E27FC236}">
                  <a16:creationId xmlns:a16="http://schemas.microsoft.com/office/drawing/2014/main" id="{C31EFF6E-347C-C44D-CE11-A874204EEFA6}"/>
                </a:ext>
              </a:extLst>
            </p:cNvPr>
            <p:cNvGrpSpPr/>
            <p:nvPr/>
          </p:nvGrpSpPr>
          <p:grpSpPr>
            <a:xfrm>
              <a:off x="5686067" y="2291189"/>
              <a:ext cx="5594202" cy="2816255"/>
              <a:chOff x="5686067" y="2291189"/>
              <a:chExt cx="5594202" cy="2816255"/>
            </a:xfrm>
          </p:grpSpPr>
          <p:grpSp>
            <p:nvGrpSpPr>
              <p:cNvPr id="3875" name="Group 3874">
                <a:extLst>
                  <a:ext uri="{FF2B5EF4-FFF2-40B4-BE49-F238E27FC236}">
                    <a16:creationId xmlns:a16="http://schemas.microsoft.com/office/drawing/2014/main" id="{A282CEAC-9561-4231-5C0A-BFF8023C961E}"/>
                  </a:ext>
                </a:extLst>
              </p:cNvPr>
              <p:cNvGrpSpPr/>
              <p:nvPr/>
            </p:nvGrpSpPr>
            <p:grpSpPr>
              <a:xfrm>
                <a:off x="5686067" y="2291189"/>
                <a:ext cx="5594202" cy="2816255"/>
                <a:chOff x="5686067" y="2291189"/>
                <a:chExt cx="5594202" cy="2816255"/>
              </a:xfrm>
            </p:grpSpPr>
            <p:sp>
              <p:nvSpPr>
                <p:cNvPr id="3888" name="Freeform 1859">
                  <a:extLst>
                    <a:ext uri="{FF2B5EF4-FFF2-40B4-BE49-F238E27FC236}">
                      <a16:creationId xmlns:a16="http://schemas.microsoft.com/office/drawing/2014/main" id="{95AC607A-6C0D-B1EF-CCF2-A562F6683BB8}"/>
                    </a:ext>
                  </a:extLst>
                </p:cNvPr>
                <p:cNvSpPr/>
                <p:nvPr/>
              </p:nvSpPr>
              <p:spPr>
                <a:xfrm>
                  <a:off x="5686067" y="3224347"/>
                  <a:ext cx="2946890" cy="1093831"/>
                </a:xfrm>
                <a:custGeom>
                  <a:avLst/>
                  <a:gdLst>
                    <a:gd name="connsiteX0" fmla="*/ 0 w 2336800"/>
                    <a:gd name="connsiteY0" fmla="*/ 474133 h 1210733"/>
                    <a:gd name="connsiteX1" fmla="*/ 2336800 w 2336800"/>
                    <a:gd name="connsiteY1" fmla="*/ 0 h 1210733"/>
                    <a:gd name="connsiteX2" fmla="*/ 2336800 w 2336800"/>
                    <a:gd name="connsiteY2" fmla="*/ 1210733 h 1210733"/>
                    <a:gd name="connsiteX3" fmla="*/ 0 w 2336800"/>
                    <a:gd name="connsiteY3" fmla="*/ 474133 h 1210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36800" h="1210733">
                      <a:moveTo>
                        <a:pt x="0" y="474133"/>
                      </a:moveTo>
                      <a:lnTo>
                        <a:pt x="2336800" y="0"/>
                      </a:lnTo>
                      <a:lnTo>
                        <a:pt x="2336800" y="1210733"/>
                      </a:lnTo>
                      <a:lnTo>
                        <a:pt x="0" y="474133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accent5">
                        <a:lumMod val="20000"/>
                        <a:lumOff val="80000"/>
                        <a:alpha val="50000"/>
                      </a:schemeClr>
                    </a:gs>
                    <a:gs pos="100000">
                      <a:srgbClr val="D1D7EE"/>
                    </a:gs>
                    <a:gs pos="66000">
                      <a:srgbClr val="D1D7EE">
                        <a:alpha val="25000"/>
                      </a:srgb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766">
                    <a:defRPr/>
                  </a:pPr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89" name="Rectangle 3888">
                  <a:extLst>
                    <a:ext uri="{FF2B5EF4-FFF2-40B4-BE49-F238E27FC236}">
                      <a16:creationId xmlns:a16="http://schemas.microsoft.com/office/drawing/2014/main" id="{5FBF34DE-CF66-901A-47A2-317101CD597B}"/>
                    </a:ext>
                  </a:extLst>
                </p:cNvPr>
                <p:cNvSpPr/>
                <p:nvPr/>
              </p:nvSpPr>
              <p:spPr>
                <a:xfrm>
                  <a:off x="7399183" y="4491891"/>
                  <a:ext cx="3758724" cy="61555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685766">
                    <a:defRPr/>
                  </a:pPr>
                  <a:r>
                    <a:rPr lang="de" sz="800">
                      <a:solidFill>
                        <a:srgbClr val="404040"/>
                      </a:solidFill>
                      <a:ea typeface="Arial"/>
                      <a:cs typeface="Arial"/>
                    </a:rPr>
                    <a:t>Eine anhaltende Schädigung der Betazellen führt</a:t>
                  </a:r>
                  <a:br>
                    <a:rPr sz="800"/>
                  </a:br>
                  <a:r>
                    <a:rPr lang="de" sz="800">
                      <a:solidFill>
                        <a:srgbClr val="404040"/>
                      </a:solidFill>
                      <a:ea typeface="Arial"/>
                      <a:cs typeface="Arial"/>
                    </a:rPr>
                    <a:t>zu einer verringerten Insulinproduktion und</a:t>
                  </a:r>
                  <a:br>
                    <a:rPr sz="800"/>
                  </a:br>
                  <a:r>
                    <a:rPr lang="de" sz="800">
                      <a:solidFill>
                        <a:srgbClr val="404040"/>
                      </a:solidFill>
                      <a:ea typeface="Arial"/>
                      <a:cs typeface="Arial"/>
                    </a:rPr>
                    <a:t>schließlich zu Stadium 3 T1D.</a:t>
                  </a:r>
                  <a:r>
                    <a:rPr lang="de" sz="800" baseline="30000">
                      <a:solidFill>
                        <a:srgbClr val="404040"/>
                      </a:solidFill>
                      <a:ea typeface="Arial"/>
                      <a:cs typeface="Arial"/>
                    </a:rPr>
                    <a:t>1,</a:t>
                  </a:r>
                  <a:r>
                    <a:rPr lang="de" sz="800">
                      <a:solidFill>
                        <a:srgbClr val="404040"/>
                      </a:solidFill>
                      <a:ea typeface="Arial"/>
                      <a:cs typeface="Arial"/>
                    </a:rPr>
                    <a:t>*</a:t>
                  </a:r>
                  <a:endParaRPr lang="en-US" sz="800" baseline="30000">
                    <a:solidFill>
                      <a:srgbClr val="000000">
                        <a:lumMod val="75000"/>
                        <a:lumOff val="25000"/>
                      </a:srgbClr>
                    </a:solidFill>
                    <a:ea typeface="Calibri" panose="020F050202020403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890" name="Rectangle 3889">
                  <a:extLst>
                    <a:ext uri="{FF2B5EF4-FFF2-40B4-BE49-F238E27FC236}">
                      <a16:creationId xmlns:a16="http://schemas.microsoft.com/office/drawing/2014/main" id="{C0C0818D-F326-E70C-633D-C8925D58BD21}"/>
                    </a:ext>
                  </a:extLst>
                </p:cNvPr>
                <p:cNvSpPr/>
                <p:nvPr/>
              </p:nvSpPr>
              <p:spPr>
                <a:xfrm>
                  <a:off x="7803180" y="2291189"/>
                  <a:ext cx="3217121" cy="57451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685766">
                    <a:defRPr/>
                  </a:pPr>
                  <a:r>
                    <a:rPr lang="de" sz="1100" b="1">
                      <a:solidFill>
                        <a:srgbClr val="7030A0"/>
                      </a:solidFill>
                      <a:ea typeface="Arial"/>
                      <a:cs typeface="Arial"/>
                    </a:rPr>
                    <a:t>BETAZELLE IST</a:t>
                  </a:r>
                  <a:r>
                    <a:rPr lang="de" sz="1100" b="1" baseline="30000">
                      <a:solidFill>
                        <a:srgbClr val="7030A0"/>
                      </a:solidFill>
                      <a:ea typeface="Arial"/>
                      <a:cs typeface="Arial"/>
                    </a:rPr>
                    <a:t> </a:t>
                  </a:r>
                  <a:r>
                    <a:rPr lang="de" sz="1100" b="1">
                      <a:solidFill>
                        <a:srgbClr val="7030A0"/>
                      </a:solidFill>
                      <a:ea typeface="Arial"/>
                      <a:cs typeface="Arial"/>
                    </a:rPr>
                    <a:t>BESCHÄDIGT</a:t>
                  </a:r>
                </a:p>
              </p:txBody>
            </p:sp>
            <p:grpSp>
              <p:nvGrpSpPr>
                <p:cNvPr id="3891" name="Group 3890">
                  <a:extLst>
                    <a:ext uri="{FF2B5EF4-FFF2-40B4-BE49-F238E27FC236}">
                      <a16:creationId xmlns:a16="http://schemas.microsoft.com/office/drawing/2014/main" id="{EE1D93AE-9A81-7EC4-28A2-20359CBA51FC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8069152" y="3156748"/>
                  <a:ext cx="3211117" cy="1348073"/>
                  <a:chOff x="6572934" y="1687564"/>
                  <a:chExt cx="3397266" cy="1426221"/>
                </a:xfrm>
              </p:grpSpPr>
              <p:pic>
                <p:nvPicPr>
                  <p:cNvPr id="3892" name="Graphic 3891">
                    <a:extLst>
                      <a:ext uri="{FF2B5EF4-FFF2-40B4-BE49-F238E27FC236}">
                        <a16:creationId xmlns:a16="http://schemas.microsoft.com/office/drawing/2014/main" id="{4C2BD8F8-8B80-7023-ED47-B6B1668323F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572934" y="1687564"/>
                    <a:ext cx="1673758" cy="1317234"/>
                  </a:xfrm>
                  <a:prstGeom prst="rect">
                    <a:avLst/>
                  </a:prstGeom>
                </p:spPr>
              </p:pic>
              <p:grpSp>
                <p:nvGrpSpPr>
                  <p:cNvPr id="3893" name="Group 3892">
                    <a:extLst>
                      <a:ext uri="{FF2B5EF4-FFF2-40B4-BE49-F238E27FC236}">
                        <a16:creationId xmlns:a16="http://schemas.microsoft.com/office/drawing/2014/main" id="{C27FC9C0-C14E-00DF-B6F8-191803F044E5}"/>
                      </a:ext>
                    </a:extLst>
                  </p:cNvPr>
                  <p:cNvGrpSpPr/>
                  <p:nvPr/>
                </p:nvGrpSpPr>
                <p:grpSpPr>
                  <a:xfrm>
                    <a:off x="6681311" y="2100358"/>
                    <a:ext cx="3288889" cy="1013427"/>
                    <a:chOff x="5525133" y="2125508"/>
                    <a:chExt cx="3288889" cy="1013427"/>
                  </a:xfrm>
                </p:grpSpPr>
                <p:grpSp>
                  <p:nvGrpSpPr>
                    <p:cNvPr id="3895" name="Group 3894">
                      <a:extLst>
                        <a:ext uri="{FF2B5EF4-FFF2-40B4-BE49-F238E27FC236}">
                          <a16:creationId xmlns:a16="http://schemas.microsoft.com/office/drawing/2014/main" id="{DB1CC299-2B76-4F68-178C-423C02D4F41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525133" y="2125508"/>
                      <a:ext cx="3288889" cy="853962"/>
                      <a:chOff x="7851709" y="2019225"/>
                      <a:chExt cx="3288889" cy="853962"/>
                    </a:xfrm>
                  </p:grpSpPr>
                  <p:sp>
                    <p:nvSpPr>
                      <p:cNvPr id="3898" name="Rectangle 3897">
                        <a:extLst>
                          <a:ext uri="{FF2B5EF4-FFF2-40B4-BE49-F238E27FC236}">
                            <a16:creationId xmlns:a16="http://schemas.microsoft.com/office/drawing/2014/main" id="{152132D9-DECB-E8AE-9C89-39F6E72A672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458093" y="2019225"/>
                        <a:ext cx="1682505" cy="477573"/>
                      </a:xfrm>
                      <a:prstGeom prst="rect">
                        <a:avLst/>
                      </a:prstGeom>
                    </p:spPr>
                    <p:txBody>
                      <a:bodyPr wrap="square">
                        <a:spAutoFit/>
                      </a:bodyPr>
                      <a:lstStyle/>
                      <a:p>
                        <a:pPr defTabSz="685766">
                          <a:defRPr/>
                        </a:pPr>
                        <a:r>
                          <a:rPr lang="de" sz="800">
                            <a:solidFill>
                              <a:srgbClr val="404040"/>
                            </a:solidFill>
                            <a:ea typeface="Arial"/>
                            <a:cs typeface="Arial"/>
                          </a:rPr>
                          <a:t>Verringerte </a:t>
                        </a:r>
                        <a:br>
                          <a:rPr sz="800"/>
                        </a:br>
                        <a:r>
                          <a:rPr lang="de" sz="800">
                            <a:solidFill>
                              <a:srgbClr val="404040"/>
                            </a:solidFill>
                            <a:ea typeface="Arial"/>
                            <a:cs typeface="Arial"/>
                          </a:rPr>
                          <a:t>Insulinproduktion</a:t>
                        </a:r>
                      </a:p>
                    </p:txBody>
                  </p:sp>
                  <p:grpSp>
                    <p:nvGrpSpPr>
                      <p:cNvPr id="3899" name="Group 3898">
                        <a:extLst>
                          <a:ext uri="{FF2B5EF4-FFF2-40B4-BE49-F238E27FC236}">
                            <a16:creationId xmlns:a16="http://schemas.microsoft.com/office/drawing/2014/main" id="{5CA70052-CA02-C819-9D5D-4462D69BF8BE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7851709" y="2288299"/>
                        <a:ext cx="1378904" cy="584888"/>
                        <a:chOff x="7851709" y="2288299"/>
                        <a:chExt cx="1378904" cy="584888"/>
                      </a:xfrm>
                    </p:grpSpPr>
                    <p:pic>
                      <p:nvPicPr>
                        <p:cNvPr id="3900" name="Graphic 3899">
                          <a:extLst>
                            <a:ext uri="{FF2B5EF4-FFF2-40B4-BE49-F238E27FC236}">
                              <a16:creationId xmlns:a16="http://schemas.microsoft.com/office/drawing/2014/main" id="{2071B74D-E8D2-158D-9DA5-20FCC01D7727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26">
                          <a:extLst>
                            <a:ext uri="{96DAC541-7B7A-43D3-8B79-37D633B846F1}">
                              <asvg:svgBlip xmlns:asvg="http://schemas.microsoft.com/office/drawing/2016/SVG/main" r:embed="rId27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 rot="1470927">
                          <a:off x="7959625" y="2446590"/>
                          <a:ext cx="335598" cy="210399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901" name="Graphic 3900">
                          <a:extLst>
                            <a:ext uri="{FF2B5EF4-FFF2-40B4-BE49-F238E27FC236}">
                              <a16:creationId xmlns:a16="http://schemas.microsoft.com/office/drawing/2014/main" id="{BA0F8225-00E0-19B2-7918-60914488AD0A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26">
                          <a:extLst>
                            <a:ext uri="{96DAC541-7B7A-43D3-8B79-37D633B846F1}">
                              <asvg:svgBlip xmlns:asvg="http://schemas.microsoft.com/office/drawing/2016/SVG/main" r:embed="rId27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 rot="1470927">
                          <a:off x="8895015" y="2466074"/>
                          <a:ext cx="335598" cy="210399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902" name="Graphic 3901">
                          <a:extLst>
                            <a:ext uri="{FF2B5EF4-FFF2-40B4-BE49-F238E27FC236}">
                              <a16:creationId xmlns:a16="http://schemas.microsoft.com/office/drawing/2014/main" id="{B5ED0A12-69AA-C057-6E84-039A9F667C15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26">
                          <a:extLst>
                            <a:ext uri="{96DAC541-7B7A-43D3-8B79-37D633B846F1}">
                              <asvg:svgBlip xmlns:asvg="http://schemas.microsoft.com/office/drawing/2016/SVG/main" r:embed="rId27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 rot="10800000">
                          <a:off x="8186456" y="2662788"/>
                          <a:ext cx="335598" cy="210399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903" name="Graphic 3902">
                          <a:extLst>
                            <a:ext uri="{FF2B5EF4-FFF2-40B4-BE49-F238E27FC236}">
                              <a16:creationId xmlns:a16="http://schemas.microsoft.com/office/drawing/2014/main" id="{3C6A1CBE-AD92-0560-DC0E-579EA9FC03AD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26">
                          <a:extLst>
                            <a:ext uri="{96DAC541-7B7A-43D3-8B79-37D633B846F1}">
                              <asvg:svgBlip xmlns:asvg="http://schemas.microsoft.com/office/drawing/2016/SVG/main" r:embed="rId27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 rot="12629067">
                          <a:off x="7851709" y="2288299"/>
                          <a:ext cx="333333" cy="208979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  <p:pic>
                  <p:nvPicPr>
                    <p:cNvPr id="3896" name="Graphic 899">
                      <a:extLst>
                        <a:ext uri="{FF2B5EF4-FFF2-40B4-BE49-F238E27FC236}">
                          <a16:creationId xmlns:a16="http://schemas.microsoft.com/office/drawing/2014/main" id="{3E7331FC-D63D-93C3-44FC-52A49985908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1470927">
                      <a:off x="7453735" y="2841457"/>
                      <a:ext cx="386963" cy="297478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97" name="Graphic 900">
                      <a:extLst>
                        <a:ext uri="{FF2B5EF4-FFF2-40B4-BE49-F238E27FC236}">
                          <a16:creationId xmlns:a16="http://schemas.microsoft.com/office/drawing/2014/main" id="{ECB94506-717C-3595-A48C-EA502FAA1E7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1470927">
                      <a:off x="7127862" y="2653727"/>
                      <a:ext cx="386963" cy="297478"/>
                    </a:xfrm>
                    <a:prstGeom prst="rect">
                      <a:avLst/>
                    </a:prstGeom>
                  </p:spPr>
                </p:pic>
              </p:grpSp>
              <p:pic>
                <p:nvPicPr>
                  <p:cNvPr id="3894" name="Graphic 3893">
                    <a:extLst>
                      <a:ext uri="{FF2B5EF4-FFF2-40B4-BE49-F238E27FC236}">
                        <a16:creationId xmlns:a16="http://schemas.microsoft.com/office/drawing/2014/main" id="{A7473C8A-F728-1581-54D6-EEC88E037E6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6">
                    <a:extLst>
                      <a:ext uri="{96DAC541-7B7A-43D3-8B79-37D633B846F1}">
                        <asvg:svgBlip xmlns:asvg="http://schemas.microsoft.com/office/drawing/2016/SVG/main" r:embed="rId27"/>
                      </a:ext>
                    </a:extLst>
                  </a:blip>
                  <a:stretch>
                    <a:fillRect/>
                  </a:stretch>
                </p:blipFill>
                <p:spPr>
                  <a:xfrm rot="10800000">
                    <a:off x="7324846" y="2744285"/>
                    <a:ext cx="335598" cy="210399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3876" name="Group 3875">
                <a:extLst>
                  <a:ext uri="{FF2B5EF4-FFF2-40B4-BE49-F238E27FC236}">
                    <a16:creationId xmlns:a16="http://schemas.microsoft.com/office/drawing/2014/main" id="{FE064849-B6E5-F3DB-32AE-6318E32833AB}"/>
                  </a:ext>
                </a:extLst>
              </p:cNvPr>
              <p:cNvGrpSpPr/>
              <p:nvPr/>
            </p:nvGrpSpPr>
            <p:grpSpPr>
              <a:xfrm>
                <a:off x="8078851" y="2874972"/>
                <a:ext cx="2391043" cy="1518100"/>
                <a:chOff x="8078851" y="2874972"/>
                <a:chExt cx="2391043" cy="1518100"/>
              </a:xfrm>
            </p:grpSpPr>
            <p:grpSp>
              <p:nvGrpSpPr>
                <p:cNvPr id="3877" name="Group 3876">
                  <a:extLst>
                    <a:ext uri="{FF2B5EF4-FFF2-40B4-BE49-F238E27FC236}">
                      <a16:creationId xmlns:a16="http://schemas.microsoft.com/office/drawing/2014/main" id="{DC820293-950B-04DB-B6EA-D7E70088DDCD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8078851" y="3171669"/>
                  <a:ext cx="1666701" cy="1221403"/>
                  <a:chOff x="8114440" y="3662840"/>
                  <a:chExt cx="1730512" cy="1268169"/>
                </a:xfrm>
              </p:grpSpPr>
              <p:grpSp>
                <p:nvGrpSpPr>
                  <p:cNvPr id="3880" name="Group 3879">
                    <a:extLst>
                      <a:ext uri="{FF2B5EF4-FFF2-40B4-BE49-F238E27FC236}">
                        <a16:creationId xmlns:a16="http://schemas.microsoft.com/office/drawing/2014/main" id="{73D748A8-63B2-BB0E-CDDE-BCF801E18C07}"/>
                      </a:ext>
                    </a:extLst>
                  </p:cNvPr>
                  <p:cNvGrpSpPr/>
                  <p:nvPr/>
                </p:nvGrpSpPr>
                <p:grpSpPr>
                  <a:xfrm>
                    <a:off x="8275560" y="4435449"/>
                    <a:ext cx="1569392" cy="396232"/>
                    <a:chOff x="7937076" y="2465589"/>
                    <a:chExt cx="1569391" cy="396232"/>
                  </a:xfrm>
                </p:grpSpPr>
                <p:pic>
                  <p:nvPicPr>
                    <p:cNvPr id="3885" name="Graphic 1931">
                      <a:extLst>
                        <a:ext uri="{FF2B5EF4-FFF2-40B4-BE49-F238E27FC236}">
                          <a16:creationId xmlns:a16="http://schemas.microsoft.com/office/drawing/2014/main" id="{F4D2B6DE-05D4-524F-7A59-6892728E5A4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1470927">
                      <a:off x="7937076" y="2480824"/>
                      <a:ext cx="379763" cy="29194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86" name="Graphic 1932">
                      <a:extLst>
                        <a:ext uri="{FF2B5EF4-FFF2-40B4-BE49-F238E27FC236}">
                          <a16:creationId xmlns:a16="http://schemas.microsoft.com/office/drawing/2014/main" id="{AF8A2BB0-8CA9-5C09-54EB-766729D3111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7070215">
                      <a:off x="8893636" y="2509500"/>
                      <a:ext cx="379765" cy="291944"/>
                    </a:xfrm>
                    <a:prstGeom prst="rect">
                      <a:avLst/>
                    </a:prstGeom>
                  </p:spPr>
                </p:pic>
                <p:cxnSp>
                  <p:nvCxnSpPr>
                    <p:cNvPr id="3887" name="Straight Arrow Connector 3886">
                      <a:extLst>
                        <a:ext uri="{FF2B5EF4-FFF2-40B4-BE49-F238E27FC236}">
                          <a16:creationId xmlns:a16="http://schemas.microsoft.com/office/drawing/2014/main" id="{BAD34305-49FF-FEC3-B097-B60C282EDB10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9115916" y="2699180"/>
                      <a:ext cx="390551" cy="162641"/>
                    </a:xfrm>
                    <a:prstGeom prst="straightConnector1">
                      <a:avLst/>
                    </a:prstGeom>
                    <a:ln w="28575">
                      <a:solidFill>
                        <a:srgbClr val="7967BE"/>
                      </a:solidFill>
                      <a:prstDash val="sysDash"/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3881" name="Graphic 1922">
                    <a:extLst>
                      <a:ext uri="{FF2B5EF4-FFF2-40B4-BE49-F238E27FC236}">
                        <a16:creationId xmlns:a16="http://schemas.microsoft.com/office/drawing/2014/main" id="{95184C0B-8A96-0293-659C-4E109CD98742}"/>
                      </a:ext>
                    </a:extLst>
                  </p:cNvPr>
                  <p:cNvGrpSpPr/>
                  <p:nvPr/>
                </p:nvGrpSpPr>
                <p:grpSpPr>
                  <a:xfrm>
                    <a:off x="8114440" y="3662840"/>
                    <a:ext cx="1617458" cy="1268169"/>
                    <a:chOff x="8114440" y="3662840"/>
                    <a:chExt cx="1617458" cy="1268169"/>
                  </a:xfrm>
                </p:grpSpPr>
                <p:sp>
                  <p:nvSpPr>
                    <p:cNvPr id="3882" name="Freeform 54">
                      <a:extLst>
                        <a:ext uri="{FF2B5EF4-FFF2-40B4-BE49-F238E27FC236}">
                          <a16:creationId xmlns:a16="http://schemas.microsoft.com/office/drawing/2014/main" id="{7FC53FD9-9A17-132E-A632-C69DCB73AF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114440" y="3662840"/>
                      <a:ext cx="1617458" cy="1268169"/>
                    </a:xfrm>
                    <a:custGeom>
                      <a:avLst/>
                      <a:gdLst>
                        <a:gd name="connsiteX0" fmla="*/ 544349 w 1617458"/>
                        <a:gd name="connsiteY0" fmla="*/ 59421 h 1268169"/>
                        <a:gd name="connsiteX1" fmla="*/ 635768 w 1617458"/>
                        <a:gd name="connsiteY1" fmla="*/ 14525 h 1268169"/>
                        <a:gd name="connsiteX2" fmla="*/ 782317 w 1617458"/>
                        <a:gd name="connsiteY2" fmla="*/ 1450 h 1268169"/>
                        <a:gd name="connsiteX3" fmla="*/ 1258811 w 1617458"/>
                        <a:gd name="connsiteY3" fmla="*/ 147881 h 1268169"/>
                        <a:gd name="connsiteX4" fmla="*/ 1493220 w 1617458"/>
                        <a:gd name="connsiteY4" fmla="*/ 252020 h 1268169"/>
                        <a:gd name="connsiteX5" fmla="*/ 1590920 w 1617458"/>
                        <a:gd name="connsiteY5" fmla="*/ 314446 h 1268169"/>
                        <a:gd name="connsiteX6" fmla="*/ 1616391 w 1617458"/>
                        <a:gd name="connsiteY6" fmla="*/ 439239 h 1268169"/>
                        <a:gd name="connsiteX7" fmla="*/ 1595037 w 1617458"/>
                        <a:gd name="connsiteY7" fmla="*/ 684603 h 1268169"/>
                        <a:gd name="connsiteX8" fmla="*/ 1530346 w 1617458"/>
                        <a:gd name="connsiteY8" fmla="*/ 950737 h 1268169"/>
                        <a:gd name="connsiteX9" fmla="*/ 1326573 w 1617458"/>
                        <a:gd name="connsiteY9" fmla="*/ 1157106 h 1268169"/>
                        <a:gd name="connsiteX10" fmla="*/ 1096281 w 1617458"/>
                        <a:gd name="connsiteY10" fmla="*/ 1210737 h 1268169"/>
                        <a:gd name="connsiteX11" fmla="*/ 815535 w 1617458"/>
                        <a:gd name="connsiteY11" fmla="*/ 1248806 h 1268169"/>
                        <a:gd name="connsiteX12" fmla="*/ 413083 w 1617458"/>
                        <a:gd name="connsiteY12" fmla="*/ 1241169 h 1268169"/>
                        <a:gd name="connsiteX13" fmla="*/ 163391 w 1617458"/>
                        <a:gd name="connsiteY13" fmla="*/ 1054124 h 1268169"/>
                        <a:gd name="connsiteX14" fmla="*/ 1280 w 1617458"/>
                        <a:gd name="connsiteY14" fmla="*/ 733143 h 1268169"/>
                        <a:gd name="connsiteX15" fmla="*/ 170718 w 1617458"/>
                        <a:gd name="connsiteY15" fmla="*/ 396774 h 1268169"/>
                        <a:gd name="connsiteX16" fmla="*/ 544349 w 1617458"/>
                        <a:gd name="connsiteY16" fmla="*/ 59421 h 1268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</a:cxnLst>
                      <a:rect l="l" t="t" r="r" b="b"/>
                      <a:pathLst>
                        <a:path w="1617458" h="1268169">
                          <a:moveTo>
                            <a:pt x="544349" y="59421"/>
                          </a:moveTo>
                          <a:cubicBezTo>
                            <a:pt x="572222" y="41083"/>
                            <a:pt x="602978" y="25980"/>
                            <a:pt x="635768" y="14525"/>
                          </a:cubicBezTo>
                          <a:cubicBezTo>
                            <a:pt x="681966" y="-170"/>
                            <a:pt x="732839" y="-1906"/>
                            <a:pt x="782317" y="1450"/>
                          </a:cubicBezTo>
                          <a:cubicBezTo>
                            <a:pt x="952454" y="13021"/>
                            <a:pt x="1108354" y="81116"/>
                            <a:pt x="1258811" y="147881"/>
                          </a:cubicBezTo>
                          <a:lnTo>
                            <a:pt x="1493220" y="252020"/>
                          </a:lnTo>
                          <a:cubicBezTo>
                            <a:pt x="1529858" y="268278"/>
                            <a:pt x="1568100" y="285692"/>
                            <a:pt x="1590920" y="314446"/>
                          </a:cubicBezTo>
                          <a:cubicBezTo>
                            <a:pt x="1619462" y="350258"/>
                            <a:pt x="1618834" y="396369"/>
                            <a:pt x="1616391" y="439239"/>
                          </a:cubicBezTo>
                          <a:cubicBezTo>
                            <a:pt x="1611737" y="521162"/>
                            <a:pt x="1604619" y="602952"/>
                            <a:pt x="1595037" y="684603"/>
                          </a:cubicBezTo>
                          <a:cubicBezTo>
                            <a:pt x="1584220" y="774915"/>
                            <a:pt x="1570054" y="866094"/>
                            <a:pt x="1530346" y="950737"/>
                          </a:cubicBezTo>
                          <a:cubicBezTo>
                            <a:pt x="1490638" y="1035379"/>
                            <a:pt x="1422737" y="1113772"/>
                            <a:pt x="1326573" y="1157106"/>
                          </a:cubicBezTo>
                          <a:cubicBezTo>
                            <a:pt x="1256090" y="1188868"/>
                            <a:pt x="1175278" y="1200034"/>
                            <a:pt x="1096281" y="1210737"/>
                          </a:cubicBezTo>
                          <a:lnTo>
                            <a:pt x="815535" y="1248806"/>
                          </a:lnTo>
                          <a:cubicBezTo>
                            <a:pt x="681198" y="1267030"/>
                            <a:pt x="538697" y="1284387"/>
                            <a:pt x="413083" y="1241169"/>
                          </a:cubicBezTo>
                          <a:cubicBezTo>
                            <a:pt x="308405" y="1205125"/>
                            <a:pt x="229129" y="1131244"/>
                            <a:pt x="163391" y="1054124"/>
                          </a:cubicBezTo>
                          <a:cubicBezTo>
                            <a:pt x="81533" y="958316"/>
                            <a:pt x="12445" y="850474"/>
                            <a:pt x="1280" y="733143"/>
                          </a:cubicBezTo>
                          <a:cubicBezTo>
                            <a:pt x="-12189" y="590588"/>
                            <a:pt x="83138" y="506409"/>
                            <a:pt x="170718" y="396774"/>
                          </a:cubicBezTo>
                          <a:cubicBezTo>
                            <a:pt x="274419" y="266947"/>
                            <a:pt x="392287" y="152857"/>
                            <a:pt x="544349" y="59421"/>
                          </a:cubicBezTo>
                          <a:close/>
                        </a:path>
                      </a:pathLst>
                    </a:custGeom>
                    <a:solidFill>
                      <a:schemeClr val="tx2"/>
                    </a:solidFill>
                    <a:ln w="40101" cap="flat">
                      <a:solidFill>
                        <a:srgbClr val="585863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defTabSz="685766">
                        <a:defRPr/>
                      </a:pPr>
                      <a:endParaRPr lang="en-US" sz="120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3883" name="Freeform 55">
                      <a:extLst>
                        <a:ext uri="{FF2B5EF4-FFF2-40B4-BE49-F238E27FC236}">
                          <a16:creationId xmlns:a16="http://schemas.microsoft.com/office/drawing/2014/main" id="{55530764-863C-B570-FD52-1914B21696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602891" y="4067945"/>
                      <a:ext cx="690874" cy="636406"/>
                    </a:xfrm>
                    <a:custGeom>
                      <a:avLst/>
                      <a:gdLst>
                        <a:gd name="connsiteX0" fmla="*/ 690875 w 690874"/>
                        <a:gd name="connsiteY0" fmla="*/ 318203 h 636406"/>
                        <a:gd name="connsiteX1" fmla="*/ 345437 w 690874"/>
                        <a:gd name="connsiteY1" fmla="*/ 636406 h 636406"/>
                        <a:gd name="connsiteX2" fmla="*/ 0 w 690874"/>
                        <a:gd name="connsiteY2" fmla="*/ 318203 h 636406"/>
                        <a:gd name="connsiteX3" fmla="*/ 345437 w 690874"/>
                        <a:gd name="connsiteY3" fmla="*/ 0 h 636406"/>
                        <a:gd name="connsiteX4" fmla="*/ 690875 w 690874"/>
                        <a:gd name="connsiteY4" fmla="*/ 318203 h 6364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90874" h="636406">
                          <a:moveTo>
                            <a:pt x="690875" y="318203"/>
                          </a:moveTo>
                          <a:cubicBezTo>
                            <a:pt x="690875" y="493942"/>
                            <a:pt x="536217" y="636406"/>
                            <a:pt x="345437" y="636406"/>
                          </a:cubicBezTo>
                          <a:cubicBezTo>
                            <a:pt x="154658" y="636406"/>
                            <a:pt x="0" y="493942"/>
                            <a:pt x="0" y="318203"/>
                          </a:cubicBezTo>
                          <a:cubicBezTo>
                            <a:pt x="0" y="142464"/>
                            <a:pt x="154658" y="0"/>
                            <a:pt x="345437" y="0"/>
                          </a:cubicBezTo>
                          <a:cubicBezTo>
                            <a:pt x="536217" y="0"/>
                            <a:pt x="690875" y="142464"/>
                            <a:pt x="690875" y="318203"/>
                          </a:cubicBezTo>
                          <a:close/>
                        </a:path>
                      </a:pathLst>
                    </a:custGeom>
                    <a:solidFill>
                      <a:srgbClr val="E3E7F7">
                        <a:alpha val="48000"/>
                      </a:srgbClr>
                    </a:solidFill>
                    <a:ln w="6684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defTabSz="685766">
                        <a:defRPr/>
                      </a:pPr>
                      <a:endParaRPr lang="en-US" sz="120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3884" name="Freeform 56">
                      <a:extLst>
                        <a:ext uri="{FF2B5EF4-FFF2-40B4-BE49-F238E27FC236}">
                          <a16:creationId xmlns:a16="http://schemas.microsoft.com/office/drawing/2014/main" id="{45F6A1E6-4317-D08E-332C-CF6D6EC89E7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203114" y="3861691"/>
                      <a:ext cx="399681" cy="555929"/>
                    </a:xfrm>
                    <a:custGeom>
                      <a:avLst/>
                      <a:gdLst>
                        <a:gd name="connsiteX0" fmla="*/ 307893 w 399681"/>
                        <a:gd name="connsiteY0" fmla="*/ 116809 h 555929"/>
                        <a:gd name="connsiteX1" fmla="*/ 388704 w 399681"/>
                        <a:gd name="connsiteY1" fmla="*/ 171020 h 555929"/>
                        <a:gd name="connsiteX2" fmla="*/ 398335 w 399681"/>
                        <a:gd name="connsiteY2" fmla="*/ 221759 h 555929"/>
                        <a:gd name="connsiteX3" fmla="*/ 362674 w 399681"/>
                        <a:gd name="connsiteY3" fmla="*/ 555930 h 555929"/>
                        <a:gd name="connsiteX4" fmla="*/ 324990 w 399681"/>
                        <a:gd name="connsiteY4" fmla="*/ 286209 h 555929"/>
                        <a:gd name="connsiteX5" fmla="*/ 174463 w 399681"/>
                        <a:gd name="connsiteY5" fmla="*/ 138447 h 555929"/>
                        <a:gd name="connsiteX6" fmla="*/ 0 w 399681"/>
                        <a:gd name="connsiteY6" fmla="*/ 0 h 555929"/>
                        <a:gd name="connsiteX7" fmla="*/ 307893 w 399681"/>
                        <a:gd name="connsiteY7" fmla="*/ 116809 h 55592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399681" h="555929">
                          <a:moveTo>
                            <a:pt x="307893" y="116809"/>
                          </a:moveTo>
                          <a:cubicBezTo>
                            <a:pt x="339785" y="129480"/>
                            <a:pt x="374049" y="144291"/>
                            <a:pt x="388704" y="171020"/>
                          </a:cubicBezTo>
                          <a:cubicBezTo>
                            <a:pt x="397288" y="186698"/>
                            <a:pt x="397916" y="204518"/>
                            <a:pt x="398335" y="221759"/>
                          </a:cubicBezTo>
                          <a:cubicBezTo>
                            <a:pt x="401126" y="334113"/>
                            <a:pt x="403499" y="448782"/>
                            <a:pt x="362674" y="555930"/>
                          </a:cubicBezTo>
                          <a:cubicBezTo>
                            <a:pt x="327782" y="469668"/>
                            <a:pt x="362674" y="371661"/>
                            <a:pt x="324990" y="286209"/>
                          </a:cubicBezTo>
                          <a:cubicBezTo>
                            <a:pt x="297355" y="223494"/>
                            <a:pt x="235665" y="178946"/>
                            <a:pt x="174463" y="138447"/>
                          </a:cubicBezTo>
                          <a:cubicBezTo>
                            <a:pt x="120798" y="102982"/>
                            <a:pt x="20936" y="56351"/>
                            <a:pt x="0" y="0"/>
                          </a:cubicBezTo>
                          <a:cubicBezTo>
                            <a:pt x="103701" y="21291"/>
                            <a:pt x="211031" y="78162"/>
                            <a:pt x="307893" y="116809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684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defTabSz="685766">
                        <a:defRPr/>
                      </a:pPr>
                      <a:endParaRPr lang="en-US" sz="1200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3878" name="Rectangle 3877">
                  <a:extLst>
                    <a:ext uri="{FF2B5EF4-FFF2-40B4-BE49-F238E27FC236}">
                      <a16:creationId xmlns:a16="http://schemas.microsoft.com/office/drawing/2014/main" id="{69B089BC-65DE-9070-E34C-3546A15C0C70}"/>
                    </a:ext>
                  </a:extLst>
                </p:cNvPr>
                <p:cNvSpPr/>
                <p:nvPr/>
              </p:nvSpPr>
              <p:spPr>
                <a:xfrm>
                  <a:off x="9460554" y="3154537"/>
                  <a:ext cx="1009340" cy="28725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685766">
                    <a:defRPr/>
                  </a:pPr>
                  <a:r>
                    <a:rPr lang="de" sz="800">
                      <a:solidFill>
                        <a:srgbClr val="404040"/>
                      </a:solidFill>
                      <a:ea typeface="Arial"/>
                      <a:cs typeface="Arial"/>
                    </a:rPr>
                    <a:t>Glukose</a:t>
                  </a:r>
                </a:p>
              </p:txBody>
            </p:sp>
            <p:pic>
              <p:nvPicPr>
                <p:cNvPr id="3879" name="Graphic 3878">
                  <a:extLst>
                    <a:ext uri="{FF2B5EF4-FFF2-40B4-BE49-F238E27FC236}">
                      <a16:creationId xmlns:a16="http://schemas.microsoft.com/office/drawing/2014/main" id="{6F481662-E9EF-E28B-3FD0-9A914670DD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0"/>
                    </a:ext>
                  </a:extLst>
                </a:blip>
                <a:srcRect l="8637" r="11138" b="21020"/>
                <a:stretch>
                  <a:fillRect/>
                </a:stretch>
              </p:blipFill>
              <p:spPr>
                <a:xfrm>
                  <a:off x="9391487" y="2874972"/>
                  <a:ext cx="312860" cy="308007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866" name="Group 3865">
              <a:extLst>
                <a:ext uri="{FF2B5EF4-FFF2-40B4-BE49-F238E27FC236}">
                  <a16:creationId xmlns:a16="http://schemas.microsoft.com/office/drawing/2014/main" id="{767CAD55-4383-7E57-DFA5-3B2D2304714C}"/>
                </a:ext>
              </a:extLst>
            </p:cNvPr>
            <p:cNvGrpSpPr/>
            <p:nvPr/>
          </p:nvGrpSpPr>
          <p:grpSpPr>
            <a:xfrm rot="1234692">
              <a:off x="9183011" y="3027893"/>
              <a:ext cx="161954" cy="373458"/>
              <a:chOff x="8428049" y="1628270"/>
              <a:chExt cx="216569" cy="499399"/>
            </a:xfrm>
          </p:grpSpPr>
          <p:grpSp>
            <p:nvGrpSpPr>
              <p:cNvPr id="3871" name="Group 3870">
                <a:extLst>
                  <a:ext uri="{FF2B5EF4-FFF2-40B4-BE49-F238E27FC236}">
                    <a16:creationId xmlns:a16="http://schemas.microsoft.com/office/drawing/2014/main" id="{E3D4753A-8753-9FAE-1ADD-5758C7A61416}"/>
                  </a:ext>
                </a:extLst>
              </p:cNvPr>
              <p:cNvGrpSpPr/>
              <p:nvPr/>
            </p:nvGrpSpPr>
            <p:grpSpPr>
              <a:xfrm>
                <a:off x="8487297" y="1827898"/>
                <a:ext cx="102707" cy="299771"/>
                <a:chOff x="8164565" y="1192696"/>
                <a:chExt cx="102707" cy="299771"/>
              </a:xfrm>
            </p:grpSpPr>
            <p:sp>
              <p:nvSpPr>
                <p:cNvPr id="3873" name="Oval 3872">
                  <a:extLst>
                    <a:ext uri="{FF2B5EF4-FFF2-40B4-BE49-F238E27FC236}">
                      <a16:creationId xmlns:a16="http://schemas.microsoft.com/office/drawing/2014/main" id="{46308CF6-0F3A-58DB-3C52-94AA7C48DEBB}"/>
                    </a:ext>
                  </a:extLst>
                </p:cNvPr>
                <p:cNvSpPr/>
                <p:nvPr/>
              </p:nvSpPr>
              <p:spPr>
                <a:xfrm>
                  <a:off x="8164565" y="1192696"/>
                  <a:ext cx="45719" cy="299771"/>
                </a:xfrm>
                <a:prstGeom prst="ellipse">
                  <a:avLst/>
                </a:prstGeom>
                <a:solidFill>
                  <a:srgbClr val="5969B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766">
                    <a:defRPr/>
                  </a:pPr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74" name="Oval 3873">
                  <a:extLst>
                    <a:ext uri="{FF2B5EF4-FFF2-40B4-BE49-F238E27FC236}">
                      <a16:creationId xmlns:a16="http://schemas.microsoft.com/office/drawing/2014/main" id="{26313E8D-8EEB-75E8-22FE-0D77A14B5168}"/>
                    </a:ext>
                  </a:extLst>
                </p:cNvPr>
                <p:cNvSpPr/>
                <p:nvPr/>
              </p:nvSpPr>
              <p:spPr>
                <a:xfrm>
                  <a:off x="8221553" y="1192696"/>
                  <a:ext cx="45719" cy="299771"/>
                </a:xfrm>
                <a:prstGeom prst="ellipse">
                  <a:avLst/>
                </a:prstGeom>
                <a:solidFill>
                  <a:srgbClr val="5969B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766">
                    <a:defRPr/>
                  </a:pPr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3872" name="Block Arc 3871">
                <a:extLst>
                  <a:ext uri="{FF2B5EF4-FFF2-40B4-BE49-F238E27FC236}">
                    <a16:creationId xmlns:a16="http://schemas.microsoft.com/office/drawing/2014/main" id="{BE0F08E8-268E-F29C-C044-71B7695CA3F6}"/>
                  </a:ext>
                </a:extLst>
              </p:cNvPr>
              <p:cNvSpPr/>
              <p:nvPr/>
            </p:nvSpPr>
            <p:spPr>
              <a:xfrm rot="10800000">
                <a:off x="8428049" y="1628270"/>
                <a:ext cx="216569" cy="216569"/>
              </a:xfrm>
              <a:prstGeom prst="blockArc">
                <a:avLst>
                  <a:gd name="adj1" fmla="val 10800000"/>
                  <a:gd name="adj2" fmla="val 151435"/>
                  <a:gd name="adj3" fmla="val 13811"/>
                </a:avLst>
              </a:prstGeom>
              <a:solidFill>
                <a:srgbClr val="5969B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66"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867" name="Arc 3866">
              <a:extLst>
                <a:ext uri="{FF2B5EF4-FFF2-40B4-BE49-F238E27FC236}">
                  <a16:creationId xmlns:a16="http://schemas.microsoft.com/office/drawing/2014/main" id="{69E3A8D1-5D13-BBBB-3448-434611576A7D}"/>
                </a:ext>
              </a:extLst>
            </p:cNvPr>
            <p:cNvSpPr/>
            <p:nvPr/>
          </p:nvSpPr>
          <p:spPr>
            <a:xfrm>
              <a:off x="9073220" y="2933962"/>
              <a:ext cx="224687" cy="340831"/>
            </a:xfrm>
            <a:prstGeom prst="arc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766">
                <a:defRPr/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pic>
          <p:nvPicPr>
            <p:cNvPr id="3868" name="Graphic 3867">
              <a:extLst>
                <a:ext uri="{FF2B5EF4-FFF2-40B4-BE49-F238E27FC236}">
                  <a16:creationId xmlns:a16="http://schemas.microsoft.com/office/drawing/2014/main" id="{4D10987F-79A9-0FB1-BE9F-797FD03D2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rcRect l="8637" r="11138" b="21020"/>
            <a:stretch>
              <a:fillRect/>
            </a:stretch>
          </p:blipFill>
          <p:spPr>
            <a:xfrm>
              <a:off x="8890663" y="2712157"/>
              <a:ext cx="312860" cy="308007"/>
            </a:xfrm>
            <a:prstGeom prst="rect">
              <a:avLst/>
            </a:prstGeom>
          </p:spPr>
        </p:pic>
        <p:pic>
          <p:nvPicPr>
            <p:cNvPr id="3869" name="Graphic 3868">
              <a:extLst>
                <a:ext uri="{FF2B5EF4-FFF2-40B4-BE49-F238E27FC236}">
                  <a16:creationId xmlns:a16="http://schemas.microsoft.com/office/drawing/2014/main" id="{9A9015AE-9BD6-1DF5-7C89-BCD5E62973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rcRect l="8637" r="11138" b="21020"/>
            <a:stretch>
              <a:fillRect/>
            </a:stretch>
          </p:blipFill>
          <p:spPr>
            <a:xfrm>
              <a:off x="9256548" y="2707885"/>
              <a:ext cx="208547" cy="205312"/>
            </a:xfrm>
            <a:prstGeom prst="rect">
              <a:avLst/>
            </a:prstGeom>
          </p:spPr>
        </p:pic>
        <p:pic>
          <p:nvPicPr>
            <p:cNvPr id="3870" name="Graphic 3869">
              <a:extLst>
                <a:ext uri="{FF2B5EF4-FFF2-40B4-BE49-F238E27FC236}">
                  <a16:creationId xmlns:a16="http://schemas.microsoft.com/office/drawing/2014/main" id="{0918F2E7-3B85-F3F8-EADA-52755995DF9E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rcRect l="8637" r="11138" b="21020"/>
            <a:stretch>
              <a:fillRect/>
            </a:stretch>
          </p:blipFill>
          <p:spPr>
            <a:xfrm>
              <a:off x="9578037" y="2684396"/>
              <a:ext cx="259712" cy="255684"/>
            </a:xfrm>
            <a:prstGeom prst="rect">
              <a:avLst/>
            </a:prstGeom>
          </p:spPr>
        </p:pic>
      </p:grpSp>
      <p:grpSp>
        <p:nvGrpSpPr>
          <p:cNvPr id="3929" name="Group 3928">
            <a:extLst>
              <a:ext uri="{FF2B5EF4-FFF2-40B4-BE49-F238E27FC236}">
                <a16:creationId xmlns:a16="http://schemas.microsoft.com/office/drawing/2014/main" id="{9FAC7989-84A4-D78F-DAAA-DC10F933724B}"/>
              </a:ext>
            </a:extLst>
          </p:cNvPr>
          <p:cNvGrpSpPr/>
          <p:nvPr/>
        </p:nvGrpSpPr>
        <p:grpSpPr>
          <a:xfrm>
            <a:off x="472015" y="3860118"/>
            <a:ext cx="1948511" cy="431267"/>
            <a:chOff x="513330" y="4851870"/>
            <a:chExt cx="2598012" cy="575021"/>
          </a:xfrm>
        </p:grpSpPr>
        <p:grpSp>
          <p:nvGrpSpPr>
            <p:cNvPr id="3930" name="Group 3929">
              <a:extLst>
                <a:ext uri="{FF2B5EF4-FFF2-40B4-BE49-F238E27FC236}">
                  <a16:creationId xmlns:a16="http://schemas.microsoft.com/office/drawing/2014/main" id="{D3581F70-268C-B3E1-61C3-9BBE9083E7E3}"/>
                </a:ext>
              </a:extLst>
            </p:cNvPr>
            <p:cNvGrpSpPr/>
            <p:nvPr/>
          </p:nvGrpSpPr>
          <p:grpSpPr>
            <a:xfrm>
              <a:off x="538730" y="4851870"/>
              <a:ext cx="2343183" cy="266739"/>
              <a:chOff x="8186296" y="5570627"/>
              <a:chExt cx="2343183" cy="266739"/>
            </a:xfrm>
          </p:grpSpPr>
          <p:pic>
            <p:nvPicPr>
              <p:cNvPr id="3934" name="Graphic 3933">
                <a:extLst>
                  <a:ext uri="{FF2B5EF4-FFF2-40B4-BE49-F238E27FC236}">
                    <a16:creationId xmlns:a16="http://schemas.microsoft.com/office/drawing/2014/main" id="{0AF69A76-97E5-3595-AE1F-AABC45CBCE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8186296" y="5588163"/>
                <a:ext cx="208356" cy="225431"/>
              </a:xfrm>
              <a:prstGeom prst="rect">
                <a:avLst/>
              </a:prstGeom>
            </p:spPr>
          </p:pic>
          <p:sp>
            <p:nvSpPr>
              <p:cNvPr id="3935" name="TextBox 3934">
                <a:extLst>
                  <a:ext uri="{FF2B5EF4-FFF2-40B4-BE49-F238E27FC236}">
                    <a16:creationId xmlns:a16="http://schemas.microsoft.com/office/drawing/2014/main" id="{318F4DF1-42B3-0096-9C6E-AEDBFD0E5E8D}"/>
                  </a:ext>
                </a:extLst>
              </p:cNvPr>
              <p:cNvSpPr txBox="1"/>
              <p:nvPr/>
            </p:nvSpPr>
            <p:spPr>
              <a:xfrm>
                <a:off x="8391716" y="5570627"/>
                <a:ext cx="2137763" cy="26673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766">
                  <a:defRPr/>
                </a:pPr>
                <a:r>
                  <a:rPr lang="de" sz="700">
                    <a:solidFill>
                      <a:srgbClr val="404040"/>
                    </a:solidFill>
                    <a:ea typeface="Arial"/>
                    <a:cs typeface="Arial"/>
                  </a:rPr>
                  <a:t>Insulin-produzierende Betazelle</a:t>
                </a:r>
              </a:p>
            </p:txBody>
          </p:sp>
        </p:grpSp>
        <p:grpSp>
          <p:nvGrpSpPr>
            <p:cNvPr id="3931" name="Group 3930">
              <a:extLst>
                <a:ext uri="{FF2B5EF4-FFF2-40B4-BE49-F238E27FC236}">
                  <a16:creationId xmlns:a16="http://schemas.microsoft.com/office/drawing/2014/main" id="{AF817644-9E8A-241D-0F4C-A292BEFCF40B}"/>
                </a:ext>
              </a:extLst>
            </p:cNvPr>
            <p:cNvGrpSpPr/>
            <p:nvPr/>
          </p:nvGrpSpPr>
          <p:grpSpPr>
            <a:xfrm>
              <a:off x="513330" y="5160152"/>
              <a:ext cx="2598012" cy="266739"/>
              <a:chOff x="8167652" y="5853509"/>
              <a:chExt cx="2598012" cy="266739"/>
            </a:xfrm>
          </p:grpSpPr>
          <p:sp>
            <p:nvSpPr>
              <p:cNvPr id="3932" name="TextBox 3931">
                <a:extLst>
                  <a:ext uri="{FF2B5EF4-FFF2-40B4-BE49-F238E27FC236}">
                    <a16:creationId xmlns:a16="http://schemas.microsoft.com/office/drawing/2014/main" id="{FCD50B59-44B3-4900-2CD9-31247621F4AB}"/>
                  </a:ext>
                </a:extLst>
              </p:cNvPr>
              <p:cNvSpPr txBox="1"/>
              <p:nvPr/>
            </p:nvSpPr>
            <p:spPr>
              <a:xfrm>
                <a:off x="8401344" y="5853509"/>
                <a:ext cx="2364320" cy="26673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766">
                  <a:defRPr/>
                </a:pPr>
                <a:r>
                  <a:rPr lang="de" sz="700">
                    <a:solidFill>
                      <a:srgbClr val="404040"/>
                    </a:solidFill>
                    <a:ea typeface="Arial"/>
                    <a:cs typeface="Arial"/>
                  </a:rPr>
                  <a:t>Glukagon-produzierende Alphazelle</a:t>
                </a:r>
              </a:p>
            </p:txBody>
          </p:sp>
          <p:pic>
            <p:nvPicPr>
              <p:cNvPr id="3933" name="Graphic 3932">
                <a:extLst>
                  <a:ext uri="{FF2B5EF4-FFF2-40B4-BE49-F238E27FC236}">
                    <a16:creationId xmlns:a16="http://schemas.microsoft.com/office/drawing/2014/main" id="{E2D47300-86CC-FF52-AF63-14F2AF1D86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>
                <a:extLst>
                  <a:ext uri="{96DAC541-7B7A-43D3-8B79-37D633B846F1}">
                    <asvg:svgBlip xmlns:asvg="http://schemas.microsoft.com/office/drawing/2016/SVG/main" r:embed="rId32"/>
                  </a:ext>
                </a:extLst>
              </a:blip>
              <a:stretch>
                <a:fillRect/>
              </a:stretch>
            </p:blipFill>
            <p:spPr>
              <a:xfrm>
                <a:off x="8167652" y="5893864"/>
                <a:ext cx="245643" cy="193572"/>
              </a:xfrm>
              <a:prstGeom prst="rect">
                <a:avLst/>
              </a:prstGeom>
            </p:spPr>
          </p:pic>
        </p:grpSp>
      </p:grpSp>
      <p:grpSp>
        <p:nvGrpSpPr>
          <p:cNvPr id="3936" name="Group 3935">
            <a:extLst>
              <a:ext uri="{FF2B5EF4-FFF2-40B4-BE49-F238E27FC236}">
                <a16:creationId xmlns:a16="http://schemas.microsoft.com/office/drawing/2014/main" id="{996EE26B-BE3E-131F-C34F-B3E51DB9D8C4}"/>
              </a:ext>
            </a:extLst>
          </p:cNvPr>
          <p:cNvGrpSpPr/>
          <p:nvPr/>
        </p:nvGrpSpPr>
        <p:grpSpPr>
          <a:xfrm>
            <a:off x="2517407" y="3861653"/>
            <a:ext cx="2444816" cy="427933"/>
            <a:chOff x="3199529" y="5512958"/>
            <a:chExt cx="3259752" cy="570574"/>
          </a:xfrm>
        </p:grpSpPr>
        <p:grpSp>
          <p:nvGrpSpPr>
            <p:cNvPr id="3937" name="Group 3936">
              <a:extLst>
                <a:ext uri="{FF2B5EF4-FFF2-40B4-BE49-F238E27FC236}">
                  <a16:creationId xmlns:a16="http://schemas.microsoft.com/office/drawing/2014/main" id="{CFC031AA-B38D-C320-3275-6102B9AB9991}"/>
                </a:ext>
              </a:extLst>
            </p:cNvPr>
            <p:cNvGrpSpPr/>
            <p:nvPr/>
          </p:nvGrpSpPr>
          <p:grpSpPr>
            <a:xfrm>
              <a:off x="4930416" y="5512958"/>
              <a:ext cx="1528865" cy="569368"/>
              <a:chOff x="538825" y="6082602"/>
              <a:chExt cx="1528865" cy="569368"/>
            </a:xfrm>
          </p:grpSpPr>
          <p:sp>
            <p:nvSpPr>
              <p:cNvPr id="3947" name="TextBox 3946">
                <a:extLst>
                  <a:ext uri="{FF2B5EF4-FFF2-40B4-BE49-F238E27FC236}">
                    <a16:creationId xmlns:a16="http://schemas.microsoft.com/office/drawing/2014/main" id="{15A7A5D2-7246-F024-5E3B-853BCFE7D154}"/>
                  </a:ext>
                </a:extLst>
              </p:cNvPr>
              <p:cNvSpPr txBox="1"/>
              <p:nvPr/>
            </p:nvSpPr>
            <p:spPr>
              <a:xfrm>
                <a:off x="844706" y="6082602"/>
                <a:ext cx="1222984" cy="26673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766">
                  <a:defRPr/>
                </a:pPr>
                <a:r>
                  <a:rPr lang="de" sz="700">
                    <a:solidFill>
                      <a:srgbClr val="404040"/>
                    </a:solidFill>
                    <a:ea typeface="Arial"/>
                    <a:cs typeface="Arial"/>
                  </a:rPr>
                  <a:t>Betazell-Antigen</a:t>
                </a:r>
              </a:p>
            </p:txBody>
          </p:sp>
          <p:sp>
            <p:nvSpPr>
              <p:cNvPr id="3948" name="TextBox 3947">
                <a:extLst>
                  <a:ext uri="{FF2B5EF4-FFF2-40B4-BE49-F238E27FC236}">
                    <a16:creationId xmlns:a16="http://schemas.microsoft.com/office/drawing/2014/main" id="{63B5ED28-B0B0-65D5-C9D2-F5DC82F3593F}"/>
                  </a:ext>
                </a:extLst>
              </p:cNvPr>
              <p:cNvSpPr txBox="1"/>
              <p:nvPr/>
            </p:nvSpPr>
            <p:spPr>
              <a:xfrm>
                <a:off x="844705" y="6385231"/>
                <a:ext cx="1139627" cy="26673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766">
                  <a:defRPr/>
                </a:pPr>
                <a:r>
                  <a:rPr lang="de" sz="700">
                    <a:solidFill>
                      <a:srgbClr val="404040"/>
                    </a:solidFill>
                    <a:ea typeface="Arial"/>
                    <a:cs typeface="Arial"/>
                  </a:rPr>
                  <a:t>Autoantikörper</a:t>
                </a:r>
              </a:p>
            </p:txBody>
          </p:sp>
          <p:sp>
            <p:nvSpPr>
              <p:cNvPr id="3949" name="Isosceles Triangle 1876">
                <a:extLst>
                  <a:ext uri="{FF2B5EF4-FFF2-40B4-BE49-F238E27FC236}">
                    <a16:creationId xmlns:a16="http://schemas.microsoft.com/office/drawing/2014/main" id="{0DEA29EF-8263-0189-9ECF-447FB8DF8FE9}"/>
                  </a:ext>
                </a:extLst>
              </p:cNvPr>
              <p:cNvSpPr/>
              <p:nvPr/>
            </p:nvSpPr>
            <p:spPr>
              <a:xfrm>
                <a:off x="687225" y="6117001"/>
                <a:ext cx="182880" cy="182881"/>
              </a:xfrm>
              <a:prstGeom prst="triangl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66">
                  <a:defRPr/>
                </a:pPr>
                <a:endParaRPr lang="en-US" sz="700">
                  <a:solidFill>
                    <a:srgbClr val="000000">
                      <a:lumMod val="75000"/>
                      <a:lumOff val="25000"/>
                    </a:srgbClr>
                  </a:solidFill>
                  <a:cs typeface="Arial" panose="020B0604020202020204" pitchFamily="34" charset="0"/>
                </a:endParaRPr>
              </a:p>
            </p:txBody>
          </p:sp>
          <p:pic>
            <p:nvPicPr>
              <p:cNvPr id="3950" name="Graphic 3949">
                <a:extLst>
                  <a:ext uri="{FF2B5EF4-FFF2-40B4-BE49-F238E27FC236}">
                    <a16:creationId xmlns:a16="http://schemas.microsoft.com/office/drawing/2014/main" id="{B9679154-756D-9686-FF78-6F6BC84C38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14873583">
                <a:off x="544706" y="6498867"/>
                <a:ext cx="133562" cy="145323"/>
              </a:xfrm>
              <a:prstGeom prst="rect">
                <a:avLst/>
              </a:prstGeom>
            </p:spPr>
          </p:pic>
          <p:pic>
            <p:nvPicPr>
              <p:cNvPr id="3951" name="Graphic 3950">
                <a:extLst>
                  <a:ext uri="{FF2B5EF4-FFF2-40B4-BE49-F238E27FC236}">
                    <a16:creationId xmlns:a16="http://schemas.microsoft.com/office/drawing/2014/main" id="{27DC0536-7705-F07C-DF32-1DFCC43E42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 rot="11423421">
                <a:off x="674709" y="6421306"/>
                <a:ext cx="145323" cy="133562"/>
              </a:xfrm>
              <a:prstGeom prst="rect">
                <a:avLst/>
              </a:prstGeom>
            </p:spPr>
          </p:pic>
          <p:pic>
            <p:nvPicPr>
              <p:cNvPr id="3952" name="Graphic 3951">
                <a:extLst>
                  <a:ext uri="{FF2B5EF4-FFF2-40B4-BE49-F238E27FC236}">
                    <a16:creationId xmlns:a16="http://schemas.microsoft.com/office/drawing/2014/main" id="{7877D2DE-5888-50BF-EB8F-0CBA7AF510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19745088">
                <a:off x="707037" y="6517932"/>
                <a:ext cx="145323" cy="133562"/>
              </a:xfrm>
              <a:prstGeom prst="rect">
                <a:avLst/>
              </a:prstGeom>
            </p:spPr>
          </p:pic>
        </p:grpSp>
        <p:grpSp>
          <p:nvGrpSpPr>
            <p:cNvPr id="3938" name="Group 3937">
              <a:extLst>
                <a:ext uri="{FF2B5EF4-FFF2-40B4-BE49-F238E27FC236}">
                  <a16:creationId xmlns:a16="http://schemas.microsoft.com/office/drawing/2014/main" id="{5B61588C-116B-2990-9BCB-071F920A253B}"/>
                </a:ext>
              </a:extLst>
            </p:cNvPr>
            <p:cNvGrpSpPr/>
            <p:nvPr/>
          </p:nvGrpSpPr>
          <p:grpSpPr>
            <a:xfrm>
              <a:off x="3199529" y="5513832"/>
              <a:ext cx="1750162" cy="569700"/>
              <a:chOff x="3315468" y="5513832"/>
              <a:chExt cx="1750162" cy="569700"/>
            </a:xfrm>
          </p:grpSpPr>
          <p:grpSp>
            <p:nvGrpSpPr>
              <p:cNvPr id="3939" name="Group 3938">
                <a:extLst>
                  <a:ext uri="{FF2B5EF4-FFF2-40B4-BE49-F238E27FC236}">
                    <a16:creationId xmlns:a16="http://schemas.microsoft.com/office/drawing/2014/main" id="{018D2B1E-C7B2-9778-7E76-E5C6EF8AD5CE}"/>
                  </a:ext>
                </a:extLst>
              </p:cNvPr>
              <p:cNvGrpSpPr/>
              <p:nvPr/>
            </p:nvGrpSpPr>
            <p:grpSpPr>
              <a:xfrm>
                <a:off x="3325921" y="5513832"/>
                <a:ext cx="1739709" cy="569700"/>
                <a:chOff x="639567" y="5773064"/>
                <a:chExt cx="1739709" cy="569700"/>
              </a:xfrm>
            </p:grpSpPr>
            <p:sp>
              <p:nvSpPr>
                <p:cNvPr id="3944" name="TextBox 3943">
                  <a:extLst>
                    <a:ext uri="{FF2B5EF4-FFF2-40B4-BE49-F238E27FC236}">
                      <a16:creationId xmlns:a16="http://schemas.microsoft.com/office/drawing/2014/main" id="{27684523-5473-202D-53DD-B3AD0E16D4C0}"/>
                    </a:ext>
                  </a:extLst>
                </p:cNvPr>
                <p:cNvSpPr txBox="1"/>
                <p:nvPr/>
              </p:nvSpPr>
              <p:spPr>
                <a:xfrm>
                  <a:off x="829279" y="5773064"/>
                  <a:ext cx="1549997" cy="26673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85766">
                    <a:defRPr/>
                  </a:pPr>
                  <a:r>
                    <a:rPr lang="de" sz="700">
                      <a:solidFill>
                        <a:srgbClr val="404040"/>
                      </a:solidFill>
                      <a:ea typeface="Arial"/>
                      <a:cs typeface="Arial"/>
                    </a:rPr>
                    <a:t>Beschädigte Betazelle</a:t>
                  </a:r>
                </a:p>
              </p:txBody>
            </p:sp>
            <p:pic>
              <p:nvPicPr>
                <p:cNvPr id="3945" name="T-Cells infiltrate 4">
                  <a:extLst>
                    <a:ext uri="{FF2B5EF4-FFF2-40B4-BE49-F238E27FC236}">
                      <a16:creationId xmlns:a16="http://schemas.microsoft.com/office/drawing/2014/main" id="{E0CA42BB-B775-5B88-EA2F-0E3B5EA2194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9567" y="6078197"/>
                  <a:ext cx="229737" cy="263363"/>
                </a:xfrm>
                <a:prstGeom prst="rect">
                  <a:avLst/>
                </a:prstGeom>
              </p:spPr>
            </p:pic>
            <p:sp>
              <p:nvSpPr>
                <p:cNvPr id="3946" name="TextBox 3945">
                  <a:extLst>
                    <a:ext uri="{FF2B5EF4-FFF2-40B4-BE49-F238E27FC236}">
                      <a16:creationId xmlns:a16="http://schemas.microsoft.com/office/drawing/2014/main" id="{569486DE-03BF-EDDF-C3E3-3BE719DD7233}"/>
                    </a:ext>
                  </a:extLst>
                </p:cNvPr>
                <p:cNvSpPr txBox="1"/>
                <p:nvPr/>
              </p:nvSpPr>
              <p:spPr>
                <a:xfrm>
                  <a:off x="826234" y="6076025"/>
                  <a:ext cx="1464503" cy="26673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85766">
                    <a:defRPr/>
                  </a:pPr>
                  <a:r>
                    <a:rPr lang="de" sz="700">
                      <a:solidFill>
                        <a:srgbClr val="404040"/>
                      </a:solidFill>
                      <a:ea typeface="Arial"/>
                      <a:cs typeface="Arial"/>
                    </a:rPr>
                    <a:t>Autoreaktive T-Zelle</a:t>
                  </a:r>
                </a:p>
              </p:txBody>
            </p:sp>
          </p:grpSp>
          <p:grpSp>
            <p:nvGrpSpPr>
              <p:cNvPr id="3940" name="Graphic 1949">
                <a:extLst>
                  <a:ext uri="{FF2B5EF4-FFF2-40B4-BE49-F238E27FC236}">
                    <a16:creationId xmlns:a16="http://schemas.microsoft.com/office/drawing/2014/main" id="{D28C6590-147C-8D7F-0EC9-DF9C1A8798D6}"/>
                  </a:ext>
                </a:extLst>
              </p:cNvPr>
              <p:cNvGrpSpPr/>
              <p:nvPr/>
            </p:nvGrpSpPr>
            <p:grpSpPr>
              <a:xfrm>
                <a:off x="3315468" y="5524094"/>
                <a:ext cx="202906" cy="219618"/>
                <a:chOff x="3315468" y="5524094"/>
                <a:chExt cx="202906" cy="219618"/>
              </a:xfrm>
            </p:grpSpPr>
            <p:sp>
              <p:nvSpPr>
                <p:cNvPr id="3941" name="Freeform 11">
                  <a:extLst>
                    <a:ext uri="{FF2B5EF4-FFF2-40B4-BE49-F238E27FC236}">
                      <a16:creationId xmlns:a16="http://schemas.microsoft.com/office/drawing/2014/main" id="{E2E83F05-0C41-3044-221F-C63A1285853D}"/>
                    </a:ext>
                  </a:extLst>
                </p:cNvPr>
                <p:cNvSpPr/>
                <p:nvPr/>
              </p:nvSpPr>
              <p:spPr>
                <a:xfrm>
                  <a:off x="3315468" y="5524094"/>
                  <a:ext cx="202906" cy="219618"/>
                </a:xfrm>
                <a:custGeom>
                  <a:avLst/>
                  <a:gdLst>
                    <a:gd name="connsiteX0" fmla="*/ 68288 w 202907"/>
                    <a:gd name="connsiteY0" fmla="*/ 10290 h 219618"/>
                    <a:gd name="connsiteX1" fmla="*/ 79756 w 202907"/>
                    <a:gd name="connsiteY1" fmla="*/ 2515 h 219618"/>
                    <a:gd name="connsiteX2" fmla="*/ 98140 w 202907"/>
                    <a:gd name="connsiteY2" fmla="*/ 251 h 219618"/>
                    <a:gd name="connsiteX3" fmla="*/ 157916 w 202907"/>
                    <a:gd name="connsiteY3" fmla="*/ 25610 h 219618"/>
                    <a:gd name="connsiteX4" fmla="*/ 187322 w 202907"/>
                    <a:gd name="connsiteY4" fmla="*/ 43644 h 219618"/>
                    <a:gd name="connsiteX5" fmla="*/ 199578 w 202907"/>
                    <a:gd name="connsiteY5" fmla="*/ 54455 h 219618"/>
                    <a:gd name="connsiteX6" fmla="*/ 202774 w 202907"/>
                    <a:gd name="connsiteY6" fmla="*/ 76066 h 219618"/>
                    <a:gd name="connsiteX7" fmla="*/ 200095 w 202907"/>
                    <a:gd name="connsiteY7" fmla="*/ 118558 h 219618"/>
                    <a:gd name="connsiteX8" fmla="*/ 191979 w 202907"/>
                    <a:gd name="connsiteY8" fmla="*/ 164646 h 219618"/>
                    <a:gd name="connsiteX9" fmla="*/ 166416 w 202907"/>
                    <a:gd name="connsiteY9" fmla="*/ 200385 h 219618"/>
                    <a:gd name="connsiteX10" fmla="*/ 137527 w 202907"/>
                    <a:gd name="connsiteY10" fmla="*/ 209672 h 219618"/>
                    <a:gd name="connsiteX11" fmla="*/ 102308 w 202907"/>
                    <a:gd name="connsiteY11" fmla="*/ 216265 h 219618"/>
                    <a:gd name="connsiteX12" fmla="*/ 51821 w 202907"/>
                    <a:gd name="connsiteY12" fmla="*/ 214942 h 219618"/>
                    <a:gd name="connsiteX13" fmla="*/ 20497 w 202907"/>
                    <a:gd name="connsiteY13" fmla="*/ 182550 h 219618"/>
                    <a:gd name="connsiteX14" fmla="*/ 161 w 202907"/>
                    <a:gd name="connsiteY14" fmla="*/ 126964 h 219618"/>
                    <a:gd name="connsiteX15" fmla="*/ 21416 w 202907"/>
                    <a:gd name="connsiteY15" fmla="*/ 68712 h 219618"/>
                    <a:gd name="connsiteX16" fmla="*/ 68288 w 202907"/>
                    <a:gd name="connsiteY16" fmla="*/ 10290 h 219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02907" h="219618">
                      <a:moveTo>
                        <a:pt x="68288" y="10290"/>
                      </a:moveTo>
                      <a:cubicBezTo>
                        <a:pt x="71784" y="7115"/>
                        <a:pt x="75643" y="4499"/>
                        <a:pt x="79756" y="2515"/>
                      </a:cubicBezTo>
                      <a:cubicBezTo>
                        <a:pt x="85551" y="-29"/>
                        <a:pt x="91933" y="-330"/>
                        <a:pt x="98140" y="251"/>
                      </a:cubicBezTo>
                      <a:cubicBezTo>
                        <a:pt x="119484" y="2255"/>
                        <a:pt x="139041" y="14048"/>
                        <a:pt x="157916" y="25610"/>
                      </a:cubicBezTo>
                      <a:lnTo>
                        <a:pt x="187322" y="43644"/>
                      </a:lnTo>
                      <a:cubicBezTo>
                        <a:pt x="191918" y="46460"/>
                        <a:pt x="196716" y="49475"/>
                        <a:pt x="199578" y="54455"/>
                      </a:cubicBezTo>
                      <a:cubicBezTo>
                        <a:pt x="203159" y="60657"/>
                        <a:pt x="203080" y="68642"/>
                        <a:pt x="202774" y="76066"/>
                      </a:cubicBezTo>
                      <a:cubicBezTo>
                        <a:pt x="202190" y="90254"/>
                        <a:pt x="201297" y="104418"/>
                        <a:pt x="200095" y="118558"/>
                      </a:cubicBezTo>
                      <a:cubicBezTo>
                        <a:pt x="198738" y="134198"/>
                        <a:pt x="196961" y="149988"/>
                        <a:pt x="191979" y="164646"/>
                      </a:cubicBezTo>
                      <a:cubicBezTo>
                        <a:pt x="186998" y="179304"/>
                        <a:pt x="178480" y="192880"/>
                        <a:pt x="166416" y="200385"/>
                      </a:cubicBezTo>
                      <a:cubicBezTo>
                        <a:pt x="157574" y="205885"/>
                        <a:pt x="147437" y="207819"/>
                        <a:pt x="137527" y="209672"/>
                      </a:cubicBezTo>
                      <a:lnTo>
                        <a:pt x="102308" y="216265"/>
                      </a:lnTo>
                      <a:cubicBezTo>
                        <a:pt x="85455" y="219421"/>
                        <a:pt x="67579" y="222427"/>
                        <a:pt x="51821" y="214942"/>
                      </a:cubicBezTo>
                      <a:cubicBezTo>
                        <a:pt x="38689" y="208701"/>
                        <a:pt x="28744" y="195906"/>
                        <a:pt x="20497" y="182550"/>
                      </a:cubicBezTo>
                      <a:cubicBezTo>
                        <a:pt x="10228" y="165959"/>
                        <a:pt x="1561" y="147283"/>
                        <a:pt x="161" y="126964"/>
                      </a:cubicBezTo>
                      <a:cubicBezTo>
                        <a:pt x="-1529" y="102277"/>
                        <a:pt x="10430" y="87699"/>
                        <a:pt x="21416" y="68712"/>
                      </a:cubicBezTo>
                      <a:cubicBezTo>
                        <a:pt x="34425" y="46229"/>
                        <a:pt x="49212" y="26471"/>
                        <a:pt x="68288" y="1029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5043" cap="flat">
                  <a:solidFill>
                    <a:srgbClr val="585863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66">
                    <a:defRPr/>
                  </a:pPr>
                  <a:endParaRPr lang="en-US" sz="700">
                    <a:solidFill>
                      <a:srgbClr val="000000">
                        <a:lumMod val="75000"/>
                        <a:lumOff val="25000"/>
                      </a:srgbClr>
                    </a:solidFill>
                  </a:endParaRPr>
                </a:p>
              </p:txBody>
            </p:sp>
            <p:sp>
              <p:nvSpPr>
                <p:cNvPr id="3942" name="Freeform 12">
                  <a:extLst>
                    <a:ext uri="{FF2B5EF4-FFF2-40B4-BE49-F238E27FC236}">
                      <a16:creationId xmlns:a16="http://schemas.microsoft.com/office/drawing/2014/main" id="{BFC52CB2-1B6D-D8DA-178E-61C70AE0D8E7}"/>
                    </a:ext>
                  </a:extLst>
                </p:cNvPr>
                <p:cNvSpPr/>
                <p:nvPr/>
              </p:nvSpPr>
              <p:spPr>
                <a:xfrm>
                  <a:off x="3385905" y="5594248"/>
                  <a:ext cx="86671" cy="110212"/>
                </a:xfrm>
                <a:custGeom>
                  <a:avLst/>
                  <a:gdLst>
                    <a:gd name="connsiteX0" fmla="*/ 86669 w 86669"/>
                    <a:gd name="connsiteY0" fmla="*/ 55106 h 110211"/>
                    <a:gd name="connsiteX1" fmla="*/ 43335 w 86669"/>
                    <a:gd name="connsiteY1" fmla="*/ 110211 h 110211"/>
                    <a:gd name="connsiteX2" fmla="*/ 0 w 86669"/>
                    <a:gd name="connsiteY2" fmla="*/ 55106 h 110211"/>
                    <a:gd name="connsiteX3" fmla="*/ 43335 w 86669"/>
                    <a:gd name="connsiteY3" fmla="*/ 0 h 110211"/>
                    <a:gd name="connsiteX4" fmla="*/ 86669 w 86669"/>
                    <a:gd name="connsiteY4" fmla="*/ 55106 h 110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669" h="110211">
                      <a:moveTo>
                        <a:pt x="86669" y="55106"/>
                      </a:moveTo>
                      <a:cubicBezTo>
                        <a:pt x="86669" y="85540"/>
                        <a:pt x="67268" y="110211"/>
                        <a:pt x="43335" y="110211"/>
                      </a:cubicBezTo>
                      <a:cubicBezTo>
                        <a:pt x="19402" y="110211"/>
                        <a:pt x="0" y="85540"/>
                        <a:pt x="0" y="55106"/>
                      </a:cubicBezTo>
                      <a:cubicBezTo>
                        <a:pt x="0" y="24672"/>
                        <a:pt x="19402" y="0"/>
                        <a:pt x="43335" y="0"/>
                      </a:cubicBezTo>
                      <a:cubicBezTo>
                        <a:pt x="67268" y="0"/>
                        <a:pt x="86669" y="24672"/>
                        <a:pt x="86669" y="55106"/>
                      </a:cubicBez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 w="84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66">
                    <a:defRPr/>
                  </a:pPr>
                  <a:endParaRPr lang="en-US" sz="700">
                    <a:solidFill>
                      <a:srgbClr val="000000">
                        <a:lumMod val="75000"/>
                        <a:lumOff val="25000"/>
                      </a:srgbClr>
                    </a:solidFill>
                  </a:endParaRPr>
                </a:p>
              </p:txBody>
            </p:sp>
            <p:sp>
              <p:nvSpPr>
                <p:cNvPr id="3943" name="Freeform 13">
                  <a:extLst>
                    <a:ext uri="{FF2B5EF4-FFF2-40B4-BE49-F238E27FC236}">
                      <a16:creationId xmlns:a16="http://schemas.microsoft.com/office/drawing/2014/main" id="{5CD59923-729B-DE4F-1186-A0917E4FE537}"/>
                    </a:ext>
                  </a:extLst>
                </p:cNvPr>
                <p:cNvSpPr/>
                <p:nvPr/>
              </p:nvSpPr>
              <p:spPr>
                <a:xfrm>
                  <a:off x="3369537" y="5558530"/>
                  <a:ext cx="50139" cy="96274"/>
                </a:xfrm>
                <a:custGeom>
                  <a:avLst/>
                  <a:gdLst>
                    <a:gd name="connsiteX0" fmla="*/ 38625 w 50139"/>
                    <a:gd name="connsiteY0" fmla="*/ 20229 h 96274"/>
                    <a:gd name="connsiteX1" fmla="*/ 48762 w 50139"/>
                    <a:gd name="connsiteY1" fmla="*/ 29617 h 96274"/>
                    <a:gd name="connsiteX2" fmla="*/ 49970 w 50139"/>
                    <a:gd name="connsiteY2" fmla="*/ 38404 h 96274"/>
                    <a:gd name="connsiteX3" fmla="*/ 45497 w 50139"/>
                    <a:gd name="connsiteY3" fmla="*/ 96275 h 96274"/>
                    <a:gd name="connsiteX4" fmla="*/ 40769 w 50139"/>
                    <a:gd name="connsiteY4" fmla="*/ 49565 h 96274"/>
                    <a:gd name="connsiteX5" fmla="*/ 21886 w 50139"/>
                    <a:gd name="connsiteY5" fmla="*/ 23976 h 96274"/>
                    <a:gd name="connsiteX6" fmla="*/ 0 w 50139"/>
                    <a:gd name="connsiteY6" fmla="*/ 0 h 96274"/>
                    <a:gd name="connsiteX7" fmla="*/ 38625 w 50139"/>
                    <a:gd name="connsiteY7" fmla="*/ 20229 h 96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139" h="96274">
                      <a:moveTo>
                        <a:pt x="38625" y="20229"/>
                      </a:moveTo>
                      <a:cubicBezTo>
                        <a:pt x="42625" y="22423"/>
                        <a:pt x="46924" y="24988"/>
                        <a:pt x="48762" y="29617"/>
                      </a:cubicBezTo>
                      <a:cubicBezTo>
                        <a:pt x="49839" y="32332"/>
                        <a:pt x="49918" y="35418"/>
                        <a:pt x="49970" y="38404"/>
                      </a:cubicBezTo>
                      <a:cubicBezTo>
                        <a:pt x="50321" y="57861"/>
                        <a:pt x="50618" y="77719"/>
                        <a:pt x="45497" y="96275"/>
                      </a:cubicBezTo>
                      <a:cubicBezTo>
                        <a:pt x="41120" y="81336"/>
                        <a:pt x="45497" y="64363"/>
                        <a:pt x="40769" y="49565"/>
                      </a:cubicBezTo>
                      <a:cubicBezTo>
                        <a:pt x="37303" y="38704"/>
                        <a:pt x="29564" y="30989"/>
                        <a:pt x="21886" y="23976"/>
                      </a:cubicBezTo>
                      <a:cubicBezTo>
                        <a:pt x="15154" y="17834"/>
                        <a:pt x="2626" y="9759"/>
                        <a:pt x="0" y="0"/>
                      </a:cubicBezTo>
                      <a:cubicBezTo>
                        <a:pt x="13009" y="3687"/>
                        <a:pt x="26473" y="13536"/>
                        <a:pt x="38625" y="2022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84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66">
                    <a:defRPr/>
                  </a:pPr>
                  <a:endParaRPr lang="en-US" sz="700">
                    <a:solidFill>
                      <a:srgbClr val="000000">
                        <a:lumMod val="75000"/>
                        <a:lumOff val="25000"/>
                      </a:srgbClr>
                    </a:solidFill>
                  </a:endParaRPr>
                </a:p>
              </p:txBody>
            </p:sp>
          </p:grpSp>
        </p:grpSp>
      </p:grpSp>
      <p:sp>
        <p:nvSpPr>
          <p:cNvPr id="3953" name="Title 32">
            <a:extLst>
              <a:ext uri="{FF2B5EF4-FFF2-40B4-BE49-F238E27FC236}">
                <a16:creationId xmlns:a16="http://schemas.microsoft.com/office/drawing/2014/main" id="{597FF062-778C-582A-AAC0-1E6CD14B3C80}"/>
              </a:ext>
            </a:extLst>
          </p:cNvPr>
          <p:cNvSpPr txBox="1"/>
          <p:nvPr/>
        </p:nvSpPr>
        <p:spPr>
          <a:xfrm>
            <a:off x="414800" y="1069070"/>
            <a:ext cx="2064806" cy="197428"/>
          </a:xfrm>
          <a:prstGeom prst="rect">
            <a:avLst/>
          </a:prstGeom>
        </p:spPr>
        <p:txBody>
          <a:bodyPr vert="horz" lIns="68580" tIns="34291" rIns="68580" bIns="34291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685766" fontAlgn="base">
              <a:spcAft>
                <a:spcPts val="900"/>
              </a:spcAft>
              <a:defRPr/>
            </a:pPr>
            <a:r>
              <a:rPr lang="de" sz="1400">
                <a:solidFill>
                  <a:schemeClr val="accent3"/>
                </a:solidFill>
                <a:latin typeface="+mn-lt"/>
                <a:ea typeface="Arial"/>
                <a:cs typeface="Arial"/>
              </a:rPr>
              <a:t>Typ-1-Diabetes</a:t>
            </a:r>
          </a:p>
        </p:txBody>
      </p:sp>
      <p:sp>
        <p:nvSpPr>
          <p:cNvPr id="3954" name="Rectangle 3953">
            <a:extLst>
              <a:ext uri="{FF2B5EF4-FFF2-40B4-BE49-F238E27FC236}">
                <a16:creationId xmlns:a16="http://schemas.microsoft.com/office/drawing/2014/main" id="{9466B9E6-9AB1-4DFC-0DF4-485FE7E8E2C3}"/>
              </a:ext>
            </a:extLst>
          </p:cNvPr>
          <p:cNvSpPr/>
          <p:nvPr/>
        </p:nvSpPr>
        <p:spPr>
          <a:xfrm>
            <a:off x="522294" y="1490892"/>
            <a:ext cx="224645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766">
              <a:defRPr/>
            </a:pPr>
            <a:r>
              <a:rPr lang="de" sz="1100" b="1">
                <a:solidFill>
                  <a:srgbClr val="7030A0"/>
                </a:solidFill>
                <a:ea typeface="Arial"/>
                <a:cs typeface="Arial"/>
              </a:rPr>
              <a:t>PANKREAS</a:t>
            </a:r>
            <a:r>
              <a:rPr lang="de" sz="1100" b="1" baseline="30000">
                <a:solidFill>
                  <a:srgbClr val="7030A0"/>
                </a:solidFill>
                <a:ea typeface="Arial"/>
                <a:cs typeface="Arial"/>
              </a:rPr>
              <a:t>2</a:t>
            </a:r>
          </a:p>
        </p:txBody>
      </p:sp>
      <p:sp>
        <p:nvSpPr>
          <p:cNvPr id="8" name="TextBox 28">
            <a:extLst>
              <a:ext uri="{FF2B5EF4-FFF2-40B4-BE49-F238E27FC236}">
                <a16:creationId xmlns:a16="http://schemas.microsoft.com/office/drawing/2014/main" id="{A4C194AD-2C56-E33B-2054-A45E9B9DBEC8}"/>
              </a:ext>
            </a:extLst>
          </p:cNvPr>
          <p:cNvSpPr txBox="1"/>
          <p:nvPr/>
        </p:nvSpPr>
        <p:spPr>
          <a:xfrm>
            <a:off x="387531" y="4422682"/>
            <a:ext cx="6600502" cy="46935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anchor="b">
            <a:spAutoFit/>
          </a:bodyPr>
          <a:lstStyle/>
          <a:p>
            <a:pPr defTabSz="514337">
              <a:spcAft>
                <a:spcPts val="338"/>
              </a:spcAft>
            </a:pPr>
            <a:r>
              <a:rPr lang="de" sz="700" dirty="0">
                <a:solidFill>
                  <a:srgbClr val="404040"/>
                </a:solidFill>
                <a:ea typeface="Arial"/>
                <a:cs typeface="Arial"/>
              </a:rPr>
              <a:t>* Stadium 3 T1D = klinische Manifestation des T1D mit entsprechender Symptomatik wie </a:t>
            </a:r>
            <a:r>
              <a:rPr lang="de" sz="7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404040"/>
                </a:solidFill>
                <a:ea typeface="Arial"/>
              </a:rPr>
              <a:t>Polydipsie, Polyurie, Hunger, starke Müdigkeit, verschwommenes Sehen und Gewichtsverlust</a:t>
            </a:r>
            <a:r>
              <a:rPr lang="de" sz="700" dirty="0">
                <a:solidFill>
                  <a:srgbClr val="404040"/>
                </a:solidFill>
                <a:ea typeface="Arial"/>
                <a:cs typeface="Arial"/>
              </a:rPr>
              <a:t>. T1D, Typ-1-Diabetes.</a:t>
            </a:r>
            <a:endParaRPr lang="de" sz="700" dirty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404040"/>
              </a:solidFill>
              <a:ea typeface="Arial"/>
            </a:endParaRPr>
          </a:p>
          <a:p>
            <a:pPr defTabSz="514337">
              <a:spcAft>
                <a:spcPts val="338"/>
              </a:spcAft>
            </a:pPr>
            <a:r>
              <a:rPr lang="de" sz="7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404040"/>
                </a:solidFill>
                <a:ea typeface="Arial"/>
              </a:rPr>
              <a:t>Hinweis: Abbildung ist ein Beispiel für Veranschaulichungszwecke.</a:t>
            </a:r>
          </a:p>
        </p:txBody>
      </p:sp>
    </p:spTree>
    <p:extLst>
      <p:ext uri="{BB962C8B-B14F-4D97-AF65-F5344CB8AC3E}">
        <p14:creationId xmlns:p14="http://schemas.microsoft.com/office/powerpoint/2010/main" val="256719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7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8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68" name="Title 3">
            <a:extLst>
              <a:ext uri="{FF2B5EF4-FFF2-40B4-BE49-F238E27FC236}">
                <a16:creationId xmlns:a16="http://schemas.microsoft.com/office/drawing/2014/main" id="{32BE9CE0-DFDA-C4B5-8004-4C1E006B5463}"/>
              </a:ext>
            </a:extLst>
          </p:cNvPr>
          <p:cNvSpPr txBox="1"/>
          <p:nvPr/>
        </p:nvSpPr>
        <p:spPr>
          <a:xfrm>
            <a:off x="361521" y="167947"/>
            <a:ext cx="8104610" cy="70635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51435" tIns="25718" rIns="51435" bIns="25718"/>
          <a:lstStyle>
            <a:defPPr>
              <a:defRPr lang="en-US"/>
            </a:defPPr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Calibri" pitchFamily="34" charset="0"/>
              </a:defRPr>
            </a:lvl1pPr>
            <a:lvl2pPr marL="45720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Calibri" pitchFamily="34" charset="0"/>
              </a:defRPr>
            </a:lvl2pPr>
            <a:lvl3pPr marL="91440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Calibri" pitchFamily="34" charset="0"/>
              </a:defRPr>
            </a:lvl3pPr>
            <a:lvl4pPr marL="137160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Calibri" pitchFamily="34" charset="0"/>
              </a:defRPr>
            </a:lvl4pPr>
            <a:lvl5pPr marL="182880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Calibri" pitchFamily="34" charset="0"/>
              </a:defRPr>
            </a:lvl5pPr>
          </a:lstStyle>
          <a:p>
            <a:pPr eaLnBrk="1" hangingPunct="1">
              <a:lnSpc>
                <a:spcPct val="90000"/>
              </a:lnSpc>
            </a:pPr>
            <a:r>
              <a:rPr lang="de" sz="2000" b="1" dirty="0">
                <a:solidFill>
                  <a:srgbClr val="7030A0"/>
                </a:solidFill>
                <a:latin typeface="+mj-lt"/>
                <a:ea typeface="Verdana" panose="020B0604030504040204" pitchFamily="34" charset="0"/>
              </a:rPr>
              <a:t>Ein unbekanntes Ereignis bewirkt die Freisetzung von Betazellantigenen</a:t>
            </a:r>
            <a:endParaRPr sz="2000" b="1" dirty="0">
              <a:solidFill>
                <a:srgbClr val="7030A0"/>
              </a:solidFill>
              <a:latin typeface="+mj-lt"/>
              <a:ea typeface="Arial" panose="020B0604020202020204" pitchFamily="34" charset="0"/>
            </a:endParaRPr>
          </a:p>
        </p:txBody>
      </p:sp>
      <p:pic>
        <p:nvPicPr>
          <p:cNvPr id="20482" name="Graphic 107">
            <a:extLst>
              <a:ext uri="{FF2B5EF4-FFF2-40B4-BE49-F238E27FC236}">
                <a16:creationId xmlns:a16="http://schemas.microsoft.com/office/drawing/2014/main" id="{A42CE59D-1D6D-D899-15FD-B9BF19F1C3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2206" y="2545557"/>
            <a:ext cx="26312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3" name="Graphic 108">
            <a:extLst>
              <a:ext uri="{FF2B5EF4-FFF2-40B4-BE49-F238E27FC236}">
                <a16:creationId xmlns:a16="http://schemas.microsoft.com/office/drawing/2014/main" id="{A956121C-6151-D64D-E060-209CCDCA9F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0807" y="2376488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4" name="Graphic 112">
            <a:extLst>
              <a:ext uri="{FF2B5EF4-FFF2-40B4-BE49-F238E27FC236}">
                <a16:creationId xmlns:a16="http://schemas.microsoft.com/office/drawing/2014/main" id="{06782881-A662-11B1-F7EB-870B82F817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573" y="2664619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Graphic 114">
            <a:extLst>
              <a:ext uri="{FF2B5EF4-FFF2-40B4-BE49-F238E27FC236}">
                <a16:creationId xmlns:a16="http://schemas.microsoft.com/office/drawing/2014/main" id="{A63C1CBB-8C9C-86B8-2D49-FBBAFDD708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0085" y="2112169"/>
            <a:ext cx="26431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6" name="Graphic 115">
            <a:extLst>
              <a:ext uri="{FF2B5EF4-FFF2-40B4-BE49-F238E27FC236}">
                <a16:creationId xmlns:a16="http://schemas.microsoft.com/office/drawing/2014/main" id="{8997068B-C40A-323F-35C7-5A89D24E33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5632" y="2203847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7" name="Graphic 121">
            <a:extLst>
              <a:ext uri="{FF2B5EF4-FFF2-40B4-BE49-F238E27FC236}">
                <a16:creationId xmlns:a16="http://schemas.microsoft.com/office/drawing/2014/main" id="{0ADC74EB-3F5C-7ED5-3BD3-920894056F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9888" y="2409826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8" name="Graphic 122">
            <a:extLst>
              <a:ext uri="{FF2B5EF4-FFF2-40B4-BE49-F238E27FC236}">
                <a16:creationId xmlns:a16="http://schemas.microsoft.com/office/drawing/2014/main" id="{A3ED6822-A42F-C5C2-228E-F2EAD5F9D8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2885" y="2607469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9" name="Graphic 123">
            <a:extLst>
              <a:ext uri="{FF2B5EF4-FFF2-40B4-BE49-F238E27FC236}">
                <a16:creationId xmlns:a16="http://schemas.microsoft.com/office/drawing/2014/main" id="{C388C82B-003A-E50D-E574-4FE6148570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3860" y="2813447"/>
            <a:ext cx="26431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0" name="Graphic 124">
            <a:extLst>
              <a:ext uri="{FF2B5EF4-FFF2-40B4-BE49-F238E27FC236}">
                <a16:creationId xmlns:a16="http://schemas.microsoft.com/office/drawing/2014/main" id="{9AD93777-AE88-01D4-357D-762B32BE6A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9604" y="2953941"/>
            <a:ext cx="26431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1" name="Graphic 125">
            <a:extLst>
              <a:ext uri="{FF2B5EF4-FFF2-40B4-BE49-F238E27FC236}">
                <a16:creationId xmlns:a16="http://schemas.microsoft.com/office/drawing/2014/main" id="{1B973851-FFC9-8FF8-6248-7B621E7BE5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4163" y="2915841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2" name="Graphic 126">
            <a:extLst>
              <a:ext uri="{FF2B5EF4-FFF2-40B4-BE49-F238E27FC236}">
                <a16:creationId xmlns:a16="http://schemas.microsoft.com/office/drawing/2014/main" id="{7ECD57ED-240B-8C6E-F374-A2BBCE5774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025" y="2146697"/>
            <a:ext cx="263129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3" name="Graphic 1855">
            <a:extLst>
              <a:ext uri="{FF2B5EF4-FFF2-40B4-BE49-F238E27FC236}">
                <a16:creationId xmlns:a16="http://schemas.microsoft.com/office/drawing/2014/main" id="{7D34624A-6A64-6592-062B-C363143C2F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7754" y="2671763"/>
            <a:ext cx="263128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4" name="Graphic 1856">
            <a:extLst>
              <a:ext uri="{FF2B5EF4-FFF2-40B4-BE49-F238E27FC236}">
                <a16:creationId xmlns:a16="http://schemas.microsoft.com/office/drawing/2014/main" id="{B5335615-0F45-60F6-A904-609F0F7969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8969" y="2463403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5" name="Graphic 1857">
            <a:extLst>
              <a:ext uri="{FF2B5EF4-FFF2-40B4-BE49-F238E27FC236}">
                <a16:creationId xmlns:a16="http://schemas.microsoft.com/office/drawing/2014/main" id="{29351787-4254-3570-AA41-06D4DE77FF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9912" y="2906316"/>
            <a:ext cx="26312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6" name="Graphic 1858">
            <a:extLst>
              <a:ext uri="{FF2B5EF4-FFF2-40B4-BE49-F238E27FC236}">
                <a16:creationId xmlns:a16="http://schemas.microsoft.com/office/drawing/2014/main" id="{7D7C50E9-F49F-7A78-13D2-78D3B6AD1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5044" y="3087291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7" name="Graphic 1860">
            <a:extLst>
              <a:ext uri="{FF2B5EF4-FFF2-40B4-BE49-F238E27FC236}">
                <a16:creationId xmlns:a16="http://schemas.microsoft.com/office/drawing/2014/main" id="{90140514-0A67-880C-49B3-B231F6B8E5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3563" y="2547938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8" name="Graphic 1861">
            <a:extLst>
              <a:ext uri="{FF2B5EF4-FFF2-40B4-BE49-F238E27FC236}">
                <a16:creationId xmlns:a16="http://schemas.microsoft.com/office/drawing/2014/main" id="{8132CC1B-1DC5-1D7B-AC59-99DEB74DB7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6957" y="2016919"/>
            <a:ext cx="264319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499" name="Group 1863">
            <a:extLst>
              <a:ext uri="{FF2B5EF4-FFF2-40B4-BE49-F238E27FC236}">
                <a16:creationId xmlns:a16="http://schemas.microsoft.com/office/drawing/2014/main" id="{64A4CA76-BEC5-2BAE-C63F-7F7FB0806332}"/>
              </a:ext>
            </a:extLst>
          </p:cNvPr>
          <p:cNvGrpSpPr>
            <a:grpSpLocks/>
          </p:cNvGrpSpPr>
          <p:nvPr/>
        </p:nvGrpSpPr>
        <p:grpSpPr bwMode="auto">
          <a:xfrm>
            <a:off x="2027635" y="2287191"/>
            <a:ext cx="571500" cy="845344"/>
            <a:chOff x="1572846" y="2923462"/>
            <a:chExt cx="1015371" cy="1501691"/>
          </a:xfrm>
        </p:grpSpPr>
        <p:pic>
          <p:nvPicPr>
            <p:cNvPr id="20500" name="Graphic 103">
              <a:extLst>
                <a:ext uri="{FF2B5EF4-FFF2-40B4-BE49-F238E27FC236}">
                  <a16:creationId xmlns:a16="http://schemas.microsoft.com/office/drawing/2014/main" id="{B80DAA84-8C28-50B5-F725-B5E4A179D7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8608" y="2923462"/>
              <a:ext cx="469609" cy="446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01" name="Graphic 1859">
              <a:extLst>
                <a:ext uri="{FF2B5EF4-FFF2-40B4-BE49-F238E27FC236}">
                  <a16:creationId xmlns:a16="http://schemas.microsoft.com/office/drawing/2014/main" id="{C4E882AA-FAF6-A271-4861-71717AF7C5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27845" y="3020755"/>
              <a:ext cx="469609" cy="446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02" name="Graphic 1862">
              <a:extLst>
                <a:ext uri="{FF2B5EF4-FFF2-40B4-BE49-F238E27FC236}">
                  <a16:creationId xmlns:a16="http://schemas.microsoft.com/office/drawing/2014/main" id="{6A06C103-8B95-56A4-A90A-3AD7FFA730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846" y="3978875"/>
              <a:ext cx="469609" cy="4462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505" name="damaged beta cells">
            <a:extLst>
              <a:ext uri="{FF2B5EF4-FFF2-40B4-BE49-F238E27FC236}">
                <a16:creationId xmlns:a16="http://schemas.microsoft.com/office/drawing/2014/main" id="{A7BBB8B7-F5D9-D811-6159-C536FBF30A5F}"/>
              </a:ext>
            </a:extLst>
          </p:cNvPr>
          <p:cNvGrpSpPr>
            <a:grpSpLocks/>
          </p:cNvGrpSpPr>
          <p:nvPr/>
        </p:nvGrpSpPr>
        <p:grpSpPr bwMode="auto">
          <a:xfrm>
            <a:off x="2030017" y="2290763"/>
            <a:ext cx="564356" cy="838200"/>
            <a:chOff x="5883325" y="1893112"/>
            <a:chExt cx="1287711" cy="1892793"/>
          </a:xfrm>
        </p:grpSpPr>
        <p:grpSp>
          <p:nvGrpSpPr>
            <p:cNvPr id="20506" name="Graphic 181">
              <a:extLst>
                <a:ext uri="{FF2B5EF4-FFF2-40B4-BE49-F238E27FC236}">
                  <a16:creationId xmlns:a16="http://schemas.microsoft.com/office/drawing/2014/main" id="{F2A8E16D-C321-1414-65FE-1B73DB80208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585051" y="1893112"/>
              <a:ext cx="585985" cy="553270"/>
              <a:chOff x="6585051" y="1893112"/>
              <a:chExt cx="585985" cy="553270"/>
            </a:xfrm>
          </p:grpSpPr>
          <p:sp>
            <p:nvSpPr>
              <p:cNvPr id="27743" name="Freeform 2">
                <a:extLst>
                  <a:ext uri="{FF2B5EF4-FFF2-40B4-BE49-F238E27FC236}">
                    <a16:creationId xmlns:a16="http://schemas.microsoft.com/office/drawing/2014/main" id="{4F928B2D-D4A4-8E9D-229F-0F592766D289}"/>
                  </a:ext>
                </a:extLst>
              </p:cNvPr>
              <p:cNvSpPr/>
              <p:nvPr/>
            </p:nvSpPr>
            <p:spPr>
              <a:xfrm>
                <a:off x="6584231" y="1893112"/>
                <a:ext cx="586805" cy="553858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27744" name="Freeform 3">
                <a:extLst>
                  <a:ext uri="{FF2B5EF4-FFF2-40B4-BE49-F238E27FC236}">
                    <a16:creationId xmlns:a16="http://schemas.microsoft.com/office/drawing/2014/main" id="{A2ADC28D-E81A-8504-4990-EA88D6928DD7}"/>
                  </a:ext>
                </a:extLst>
              </p:cNvPr>
              <p:cNvSpPr/>
              <p:nvPr/>
            </p:nvSpPr>
            <p:spPr>
              <a:xfrm>
                <a:off x="6760815" y="2070562"/>
                <a:ext cx="249935" cy="276930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27745" name="Freeform 8">
                <a:extLst>
                  <a:ext uri="{FF2B5EF4-FFF2-40B4-BE49-F238E27FC236}">
                    <a16:creationId xmlns:a16="http://schemas.microsoft.com/office/drawing/2014/main" id="{3F555140-ADB0-C922-A560-7D086A207F06}"/>
                  </a:ext>
                </a:extLst>
              </p:cNvPr>
              <p:cNvSpPr/>
              <p:nvPr/>
            </p:nvSpPr>
            <p:spPr>
              <a:xfrm>
                <a:off x="6978150" y="1979148"/>
                <a:ext cx="146701" cy="244666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0510" name="Graphic 182">
              <a:extLst>
                <a:ext uri="{FF2B5EF4-FFF2-40B4-BE49-F238E27FC236}">
                  <a16:creationId xmlns:a16="http://schemas.microsoft.com/office/drawing/2014/main" id="{FD4CC7A3-3FD1-076B-BF4D-3ED4DDAB99B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54148" y="2015806"/>
              <a:ext cx="585985" cy="553270"/>
              <a:chOff x="5954148" y="2015806"/>
              <a:chExt cx="585985" cy="553270"/>
            </a:xfrm>
          </p:grpSpPr>
          <p:sp>
            <p:nvSpPr>
              <p:cNvPr id="27740" name="Freeform 10">
                <a:extLst>
                  <a:ext uri="{FF2B5EF4-FFF2-40B4-BE49-F238E27FC236}">
                    <a16:creationId xmlns:a16="http://schemas.microsoft.com/office/drawing/2014/main" id="{6809D638-4503-E84B-86C1-69412C3E7E31}"/>
                  </a:ext>
                </a:extLst>
              </p:cNvPr>
              <p:cNvSpPr/>
              <p:nvPr/>
            </p:nvSpPr>
            <p:spPr>
              <a:xfrm>
                <a:off x="5953960" y="2016788"/>
                <a:ext cx="586805" cy="551170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27741" name="Freeform 11">
                <a:extLst>
                  <a:ext uri="{FF2B5EF4-FFF2-40B4-BE49-F238E27FC236}">
                    <a16:creationId xmlns:a16="http://schemas.microsoft.com/office/drawing/2014/main" id="{F162A9F7-5832-7683-44A8-D763A30B5A68}"/>
                  </a:ext>
                </a:extLst>
              </p:cNvPr>
              <p:cNvSpPr/>
              <p:nvPr/>
            </p:nvSpPr>
            <p:spPr>
              <a:xfrm>
                <a:off x="6130544" y="2191550"/>
                <a:ext cx="249935" cy="276928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27742" name="Freeform 12">
                <a:extLst>
                  <a:ext uri="{FF2B5EF4-FFF2-40B4-BE49-F238E27FC236}">
                    <a16:creationId xmlns:a16="http://schemas.microsoft.com/office/drawing/2014/main" id="{241B8B5E-A4F4-BA93-6C4E-459648CADE94}"/>
                  </a:ext>
                </a:extLst>
              </p:cNvPr>
              <p:cNvSpPr/>
              <p:nvPr/>
            </p:nvSpPr>
            <p:spPr>
              <a:xfrm>
                <a:off x="6347879" y="2102824"/>
                <a:ext cx="146701" cy="241977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  <p:grpSp>
          <p:nvGrpSpPr>
            <p:cNvPr id="20514" name="Graphic 183">
              <a:extLst>
                <a:ext uri="{FF2B5EF4-FFF2-40B4-BE49-F238E27FC236}">
                  <a16:creationId xmlns:a16="http://schemas.microsoft.com/office/drawing/2014/main" id="{BAF154F9-7B33-3ACE-E494-0C87DD91DA7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83325" y="3232635"/>
              <a:ext cx="585985" cy="553270"/>
              <a:chOff x="5883325" y="3232635"/>
              <a:chExt cx="585985" cy="553270"/>
            </a:xfrm>
          </p:grpSpPr>
          <p:sp>
            <p:nvSpPr>
              <p:cNvPr id="27737" name="Freeform 15">
                <a:extLst>
                  <a:ext uri="{FF2B5EF4-FFF2-40B4-BE49-F238E27FC236}">
                    <a16:creationId xmlns:a16="http://schemas.microsoft.com/office/drawing/2014/main" id="{ED45B14F-D15E-8EAC-AB7D-1F808B80D3DA}"/>
                  </a:ext>
                </a:extLst>
              </p:cNvPr>
              <p:cNvSpPr/>
              <p:nvPr/>
            </p:nvSpPr>
            <p:spPr>
              <a:xfrm>
                <a:off x="5883325" y="3232047"/>
                <a:ext cx="586805" cy="553858"/>
              </a:xfrm>
              <a:custGeom>
                <a:avLst/>
                <a:gdLst>
                  <a:gd name="connsiteX0" fmla="*/ 197211 w 585985"/>
                  <a:gd name="connsiteY0" fmla="*/ 25924 h 553270"/>
                  <a:gd name="connsiteX1" fmla="*/ 230331 w 585985"/>
                  <a:gd name="connsiteY1" fmla="*/ 6337 h 553270"/>
                  <a:gd name="connsiteX2" fmla="*/ 283424 w 585985"/>
                  <a:gd name="connsiteY2" fmla="*/ 633 h 553270"/>
                  <a:gd name="connsiteX3" fmla="*/ 456052 w 585985"/>
                  <a:gd name="connsiteY3" fmla="*/ 64517 h 553270"/>
                  <a:gd name="connsiteX4" fmla="*/ 540976 w 585985"/>
                  <a:gd name="connsiteY4" fmla="*/ 109950 h 553270"/>
                  <a:gd name="connsiteX5" fmla="*/ 576371 w 585985"/>
                  <a:gd name="connsiteY5" fmla="*/ 137185 h 553270"/>
                  <a:gd name="connsiteX6" fmla="*/ 585599 w 585985"/>
                  <a:gd name="connsiteY6" fmla="*/ 191629 h 553270"/>
                  <a:gd name="connsiteX7" fmla="*/ 577863 w 585985"/>
                  <a:gd name="connsiteY7" fmla="*/ 298675 h 553270"/>
                  <a:gd name="connsiteX8" fmla="*/ 554426 w 585985"/>
                  <a:gd name="connsiteY8" fmla="*/ 414783 h 553270"/>
                  <a:gd name="connsiteX9" fmla="*/ 480602 w 585985"/>
                  <a:gd name="connsiteY9" fmla="*/ 504817 h 553270"/>
                  <a:gd name="connsiteX10" fmla="*/ 397170 w 585985"/>
                  <a:gd name="connsiteY10" fmla="*/ 528215 h 553270"/>
                  <a:gd name="connsiteX11" fmla="*/ 295459 w 585985"/>
                  <a:gd name="connsiteY11" fmla="*/ 544823 h 553270"/>
                  <a:gd name="connsiteX12" fmla="*/ 149655 w 585985"/>
                  <a:gd name="connsiteY12" fmla="*/ 541491 h 553270"/>
                  <a:gd name="connsiteX13" fmla="*/ 59195 w 585985"/>
                  <a:gd name="connsiteY13" fmla="*/ 459888 h 553270"/>
                  <a:gd name="connsiteX14" fmla="*/ 464 w 585985"/>
                  <a:gd name="connsiteY14" fmla="*/ 319852 h 553270"/>
                  <a:gd name="connsiteX15" fmla="*/ 61849 w 585985"/>
                  <a:gd name="connsiteY15" fmla="*/ 173103 h 553270"/>
                  <a:gd name="connsiteX16" fmla="*/ 197211 w 585985"/>
                  <a:gd name="connsiteY16" fmla="*/ 25924 h 553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5985" h="553270">
                    <a:moveTo>
                      <a:pt x="197211" y="25924"/>
                    </a:moveTo>
                    <a:cubicBezTo>
                      <a:pt x="207309" y="17924"/>
                      <a:pt x="218452" y="11334"/>
                      <a:pt x="230331" y="6337"/>
                    </a:cubicBezTo>
                    <a:cubicBezTo>
                      <a:pt x="247068" y="-74"/>
                      <a:pt x="265499" y="-831"/>
                      <a:pt x="283424" y="633"/>
                    </a:cubicBezTo>
                    <a:cubicBezTo>
                      <a:pt x="345063" y="5681"/>
                      <a:pt x="401544" y="35389"/>
                      <a:pt x="456052" y="64517"/>
                    </a:cubicBezTo>
                    <a:lnTo>
                      <a:pt x="540976" y="109950"/>
                    </a:lnTo>
                    <a:cubicBezTo>
                      <a:pt x="554249" y="117043"/>
                      <a:pt x="568104" y="124640"/>
                      <a:pt x="576371" y="137185"/>
                    </a:cubicBezTo>
                    <a:cubicBezTo>
                      <a:pt x="586712" y="152809"/>
                      <a:pt x="586484" y="172926"/>
                      <a:pt x="585599" y="191629"/>
                    </a:cubicBezTo>
                    <a:cubicBezTo>
                      <a:pt x="583913" y="227370"/>
                      <a:pt x="581334" y="263053"/>
                      <a:pt x="577863" y="298675"/>
                    </a:cubicBezTo>
                    <a:cubicBezTo>
                      <a:pt x="573944" y="338076"/>
                      <a:pt x="568812" y="377856"/>
                      <a:pt x="554426" y="414783"/>
                    </a:cubicBezTo>
                    <a:cubicBezTo>
                      <a:pt x="540041" y="451710"/>
                      <a:pt x="515441" y="485911"/>
                      <a:pt x="480602" y="504817"/>
                    </a:cubicBezTo>
                    <a:cubicBezTo>
                      <a:pt x="455066" y="518674"/>
                      <a:pt x="425789" y="523545"/>
                      <a:pt x="397170" y="528215"/>
                    </a:cubicBezTo>
                    <a:lnTo>
                      <a:pt x="295459" y="544823"/>
                    </a:lnTo>
                    <a:cubicBezTo>
                      <a:pt x="246790" y="552774"/>
                      <a:pt x="195163" y="560346"/>
                      <a:pt x="149655" y="541491"/>
                    </a:cubicBezTo>
                    <a:cubicBezTo>
                      <a:pt x="111731" y="525766"/>
                      <a:pt x="83011" y="493534"/>
                      <a:pt x="59195" y="459888"/>
                    </a:cubicBezTo>
                    <a:cubicBezTo>
                      <a:pt x="29538" y="418089"/>
                      <a:pt x="4509" y="371041"/>
                      <a:pt x="464" y="319852"/>
                    </a:cubicBezTo>
                    <a:cubicBezTo>
                      <a:pt x="-4416" y="257659"/>
                      <a:pt x="30120" y="220934"/>
                      <a:pt x="61849" y="173103"/>
                    </a:cubicBezTo>
                    <a:cubicBezTo>
                      <a:pt x="99419" y="116462"/>
                      <a:pt x="142121" y="66688"/>
                      <a:pt x="197211" y="25924"/>
                    </a:cubicBezTo>
                    <a:close/>
                  </a:path>
                </a:pathLst>
              </a:custGeom>
              <a:solidFill>
                <a:schemeClr val="tx2"/>
              </a:solidFill>
              <a:ln w="11766" cap="flat">
                <a:solidFill>
                  <a:srgbClr val="585863"/>
                </a:solidFill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27738" name="Freeform 16">
                <a:extLst>
                  <a:ext uri="{FF2B5EF4-FFF2-40B4-BE49-F238E27FC236}">
                    <a16:creationId xmlns:a16="http://schemas.microsoft.com/office/drawing/2014/main" id="{A1416A8C-CCB7-6204-A305-D930EE181CA8}"/>
                  </a:ext>
                </a:extLst>
              </p:cNvPr>
              <p:cNvSpPr/>
              <p:nvPr/>
            </p:nvSpPr>
            <p:spPr>
              <a:xfrm>
                <a:off x="6059909" y="3409497"/>
                <a:ext cx="249935" cy="276930"/>
              </a:xfrm>
              <a:custGeom>
                <a:avLst/>
                <a:gdLst>
                  <a:gd name="connsiteX0" fmla="*/ 250296 w 250295"/>
                  <a:gd name="connsiteY0" fmla="*/ 138824 h 277648"/>
                  <a:gd name="connsiteX1" fmla="*/ 125148 w 250295"/>
                  <a:gd name="connsiteY1" fmla="*/ 277648 h 277648"/>
                  <a:gd name="connsiteX2" fmla="*/ 0 w 250295"/>
                  <a:gd name="connsiteY2" fmla="*/ 138824 h 277648"/>
                  <a:gd name="connsiteX3" fmla="*/ 125148 w 250295"/>
                  <a:gd name="connsiteY3" fmla="*/ 0 h 277648"/>
                  <a:gd name="connsiteX4" fmla="*/ 250296 w 250295"/>
                  <a:gd name="connsiteY4" fmla="*/ 138824 h 27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295" h="277648">
                    <a:moveTo>
                      <a:pt x="250296" y="138824"/>
                    </a:moveTo>
                    <a:cubicBezTo>
                      <a:pt x="250296" y="215495"/>
                      <a:pt x="194265" y="277648"/>
                      <a:pt x="125148" y="277648"/>
                    </a:cubicBezTo>
                    <a:cubicBezTo>
                      <a:pt x="56031" y="277648"/>
                      <a:pt x="0" y="215495"/>
                      <a:pt x="0" y="138824"/>
                    </a:cubicBezTo>
                    <a:cubicBezTo>
                      <a:pt x="0" y="62154"/>
                      <a:pt x="56031" y="0"/>
                      <a:pt x="125148" y="0"/>
                    </a:cubicBezTo>
                    <a:cubicBezTo>
                      <a:pt x="194265" y="0"/>
                      <a:pt x="250296" y="62154"/>
                      <a:pt x="250296" y="138824"/>
                    </a:cubicBezTo>
                    <a:close/>
                  </a:path>
                </a:pathLst>
              </a:custGeom>
              <a:solidFill>
                <a:srgbClr val="E3E7F7">
                  <a:alpha val="48000"/>
                </a:srgbClr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  <p:sp>
            <p:nvSpPr>
              <p:cNvPr id="27739" name="Freeform 17">
                <a:extLst>
                  <a:ext uri="{FF2B5EF4-FFF2-40B4-BE49-F238E27FC236}">
                    <a16:creationId xmlns:a16="http://schemas.microsoft.com/office/drawing/2014/main" id="{EDAA52E3-976E-9F61-8F0E-D98A000EB9BF}"/>
                  </a:ext>
                </a:extLst>
              </p:cNvPr>
              <p:cNvSpPr/>
              <p:nvPr/>
            </p:nvSpPr>
            <p:spPr>
              <a:xfrm>
                <a:off x="6277244" y="3318083"/>
                <a:ext cx="146701" cy="244666"/>
              </a:xfrm>
              <a:custGeom>
                <a:avLst/>
                <a:gdLst>
                  <a:gd name="connsiteX0" fmla="*/ 111546 w 144799"/>
                  <a:gd name="connsiteY0" fmla="*/ 50961 h 242538"/>
                  <a:gd name="connsiteX1" fmla="*/ 140823 w 144799"/>
                  <a:gd name="connsiteY1" fmla="*/ 74612 h 242538"/>
                  <a:gd name="connsiteX2" fmla="*/ 144312 w 144799"/>
                  <a:gd name="connsiteY2" fmla="*/ 96748 h 242538"/>
                  <a:gd name="connsiteX3" fmla="*/ 131393 w 144799"/>
                  <a:gd name="connsiteY3" fmla="*/ 242538 h 242538"/>
                  <a:gd name="connsiteX4" fmla="*/ 117740 w 144799"/>
                  <a:gd name="connsiteY4" fmla="*/ 124866 h 242538"/>
                  <a:gd name="connsiteX5" fmla="*/ 63206 w 144799"/>
                  <a:gd name="connsiteY5" fmla="*/ 60401 h 242538"/>
                  <a:gd name="connsiteX6" fmla="*/ 0 w 144799"/>
                  <a:gd name="connsiteY6" fmla="*/ 0 h 242538"/>
                  <a:gd name="connsiteX7" fmla="*/ 111546 w 144799"/>
                  <a:gd name="connsiteY7" fmla="*/ 50961 h 24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99" h="242538">
                    <a:moveTo>
                      <a:pt x="111546" y="50961"/>
                    </a:moveTo>
                    <a:cubicBezTo>
                      <a:pt x="123100" y="56489"/>
                      <a:pt x="135514" y="62950"/>
                      <a:pt x="140823" y="74612"/>
                    </a:cubicBezTo>
                    <a:cubicBezTo>
                      <a:pt x="143933" y="81452"/>
                      <a:pt x="144160" y="89226"/>
                      <a:pt x="144312" y="96748"/>
                    </a:cubicBezTo>
                    <a:cubicBezTo>
                      <a:pt x="145323" y="145765"/>
                      <a:pt x="146183" y="195793"/>
                      <a:pt x="131393" y="242538"/>
                    </a:cubicBezTo>
                    <a:cubicBezTo>
                      <a:pt x="118751" y="204904"/>
                      <a:pt x="131393" y="162147"/>
                      <a:pt x="117740" y="124866"/>
                    </a:cubicBezTo>
                    <a:cubicBezTo>
                      <a:pt x="107728" y="97505"/>
                      <a:pt x="85379" y="78070"/>
                      <a:pt x="63206" y="60401"/>
                    </a:cubicBezTo>
                    <a:cubicBezTo>
                      <a:pt x="43764" y="44929"/>
                      <a:pt x="7585" y="24585"/>
                      <a:pt x="0" y="0"/>
                    </a:cubicBezTo>
                    <a:cubicBezTo>
                      <a:pt x="37570" y="9289"/>
                      <a:pt x="76454" y="34100"/>
                      <a:pt x="111546" y="50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61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fontAlgn="auto">
                  <a:buSzTx/>
                </a:pPr>
                <a:endParaRPr lang="en-US" sz="1013"/>
              </a:p>
            </p:txBody>
          </p:sp>
        </p:grpSp>
      </p:grpSp>
      <p:sp>
        <p:nvSpPr>
          <p:cNvPr id="20518" name="Isosceles Triangle 113">
            <a:extLst>
              <a:ext uri="{FF2B5EF4-FFF2-40B4-BE49-F238E27FC236}">
                <a16:creationId xmlns:a16="http://schemas.microsoft.com/office/drawing/2014/main" id="{0108A26C-1644-D793-32DB-73730647DC08}"/>
              </a:ext>
            </a:extLst>
          </p:cNvPr>
          <p:cNvSpPr>
            <a:spLocks noChangeArrowheads="1"/>
          </p:cNvSpPr>
          <p:nvPr/>
        </p:nvSpPr>
        <p:spPr bwMode="auto">
          <a:xfrm rot="4500000">
            <a:off x="2112764" y="2971205"/>
            <a:ext cx="60722" cy="5238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0519" name="Isosceles Triangle 115">
            <a:extLst>
              <a:ext uri="{FF2B5EF4-FFF2-40B4-BE49-F238E27FC236}">
                <a16:creationId xmlns:a16="http://schemas.microsoft.com/office/drawing/2014/main" id="{7D7B70BE-CDBA-9871-C4C1-B49E3DA9A2EA}"/>
              </a:ext>
            </a:extLst>
          </p:cNvPr>
          <p:cNvSpPr>
            <a:spLocks noChangeArrowheads="1"/>
          </p:cNvSpPr>
          <p:nvPr/>
        </p:nvSpPr>
        <p:spPr bwMode="auto">
          <a:xfrm rot="20700000">
            <a:off x="2474119" y="2412206"/>
            <a:ext cx="60722" cy="52388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0520" name="Isosceles Triangle 99">
            <a:extLst>
              <a:ext uri="{FF2B5EF4-FFF2-40B4-BE49-F238E27FC236}">
                <a16:creationId xmlns:a16="http://schemas.microsoft.com/office/drawing/2014/main" id="{8B64B967-E465-8ADA-1EAD-76B254375915}"/>
              </a:ext>
            </a:extLst>
          </p:cNvPr>
          <p:cNvSpPr>
            <a:spLocks noChangeArrowheads="1"/>
          </p:cNvSpPr>
          <p:nvPr/>
        </p:nvSpPr>
        <p:spPr bwMode="auto">
          <a:xfrm rot="18900000">
            <a:off x="2149078" y="2428875"/>
            <a:ext cx="61913" cy="53579"/>
          </a:xfrm>
          <a:prstGeom prst="triangle">
            <a:avLst>
              <a:gd name="adj" fmla="val 50000"/>
            </a:avLst>
          </a:prstGeom>
          <a:solidFill>
            <a:srgbClr val="70AD47"/>
          </a:solidFill>
          <a:ln w="12700" cap="flat" algn="ctr">
            <a:solidFill>
              <a:srgbClr val="70AD47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defTabSz="684213"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defTabSz="684213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en-US" altLang="de-DE" sz="975">
              <a:solidFill>
                <a:srgbClr val="FFFFFF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grpSp>
        <p:nvGrpSpPr>
          <p:cNvPr id="20521" name="Group 1864">
            <a:extLst>
              <a:ext uri="{FF2B5EF4-FFF2-40B4-BE49-F238E27FC236}">
                <a16:creationId xmlns:a16="http://schemas.microsoft.com/office/drawing/2014/main" id="{582955F6-4CD4-0464-E7DC-5E72CC137483}"/>
              </a:ext>
            </a:extLst>
          </p:cNvPr>
          <p:cNvGrpSpPr>
            <a:grpSpLocks/>
          </p:cNvGrpSpPr>
          <p:nvPr/>
        </p:nvGrpSpPr>
        <p:grpSpPr bwMode="auto">
          <a:xfrm>
            <a:off x="3265885" y="1885950"/>
            <a:ext cx="2074069" cy="1749298"/>
            <a:chOff x="3804339" y="2210007"/>
            <a:chExt cx="3688249" cy="3109377"/>
          </a:xfrm>
        </p:grpSpPr>
        <p:sp>
          <p:nvSpPr>
            <p:cNvPr id="27697" name="insulin production text">
              <a:extLst>
                <a:ext uri="{FF2B5EF4-FFF2-40B4-BE49-F238E27FC236}">
                  <a16:creationId xmlns:a16="http://schemas.microsoft.com/office/drawing/2014/main" id="{BBC0A839-A2EC-DE7D-FAED-8CAE05C6A78D}"/>
                </a:ext>
              </a:extLst>
            </p:cNvPr>
            <p:cNvSpPr txBox="1"/>
            <p:nvPr/>
          </p:nvSpPr>
          <p:spPr>
            <a:xfrm>
              <a:off x="5089482" y="4724215"/>
              <a:ext cx="1990267" cy="59516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none">
              <a:spAutoFit/>
            </a:bodyPr>
            <a:lstStyle/>
            <a:p>
              <a:pPr algn="ctr" defTabSz="514337"/>
              <a:r>
                <a:rPr lang="de" sz="788" b="1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Normale</a:t>
              </a:r>
              <a:br>
                <a:rPr sz="788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a typeface="Arial"/>
                  <a:sym typeface="Wingdings"/>
                </a:rPr>
              </a:br>
              <a:r>
                <a:rPr lang="de" sz="788" b="1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rPr>
                <a:t>Insulinsekretion</a:t>
              </a:r>
            </a:p>
          </p:txBody>
        </p:sp>
        <p:sp>
          <p:nvSpPr>
            <p:cNvPr id="27698" name="Freeform 102">
              <a:extLst>
                <a:ext uri="{FF2B5EF4-FFF2-40B4-BE49-F238E27FC236}">
                  <a16:creationId xmlns:a16="http://schemas.microsoft.com/office/drawing/2014/main" id="{3162C095-C54F-E0CD-6636-BB744A67F947}"/>
                </a:ext>
              </a:extLst>
            </p:cNvPr>
            <p:cNvSpPr>
              <a:spLocks/>
            </p:cNvSpPr>
            <p:nvPr/>
          </p:nvSpPr>
          <p:spPr bwMode="auto">
            <a:xfrm rot="21240000">
              <a:off x="3804339" y="2535923"/>
              <a:ext cx="1765786" cy="1015841"/>
            </a:xfrm>
            <a:custGeom>
              <a:avLst/>
              <a:gdLst>
                <a:gd name="T0" fmla="*/ 0 w 2336800"/>
                <a:gd name="T1" fmla="*/ 474133 h 1210733"/>
                <a:gd name="T2" fmla="*/ 2336800 w 2336800"/>
                <a:gd name="T3" fmla="*/ 0 h 1210733"/>
                <a:gd name="T4" fmla="*/ 2336800 w 2336800"/>
                <a:gd name="T5" fmla="*/ 1210733 h 1210733"/>
                <a:gd name="T6" fmla="*/ 0 w 2336800"/>
                <a:gd name="T7" fmla="*/ 474133 h 1210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36800" h="1210733">
                  <a:moveTo>
                    <a:pt x="0" y="474133"/>
                  </a:moveTo>
                  <a:lnTo>
                    <a:pt x="2336800" y="0"/>
                  </a:lnTo>
                  <a:lnTo>
                    <a:pt x="2336800" y="1210733"/>
                  </a:lnTo>
                  <a:lnTo>
                    <a:pt x="0" y="474133"/>
                  </a:lnTo>
                  <a:close/>
                </a:path>
              </a:pathLst>
            </a:custGeom>
            <a:gradFill rotWithShape="1">
              <a:gsLst>
                <a:gs pos="0">
                  <a:srgbClr val="E4E1F2">
                    <a:alpha val="25098"/>
                  </a:srgbClr>
                </a:gs>
                <a:gs pos="100000">
                  <a:srgbClr val="D1D7EE">
                    <a:alpha val="50195"/>
                  </a:srgbClr>
                </a:gs>
                <a:gs pos="65999">
                  <a:srgbClr val="D1D7EE">
                    <a:alpha val="41662"/>
                  </a:srgbClr>
                </a:gs>
                <a:gs pos="100000">
                  <a:srgbClr val="D1D7EE">
                    <a:alpha val="50195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 algn="ctr">
                  <a:solidFill>
                    <a:srgbClr val="00000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anchor="ctr"/>
            <a:lstStyle/>
            <a:p>
              <a:pPr algn="ctr" defTabSz="514337"/>
              <a:endParaRPr lang="en-US" sz="1013">
                <a:solidFill>
                  <a:srgbClr val="FFFFFF"/>
                </a:solidFill>
              </a:endParaRPr>
            </a:p>
          </p:txBody>
        </p:sp>
        <p:pic>
          <p:nvPicPr>
            <p:cNvPr id="20524" name="Graphic 104">
              <a:extLst>
                <a:ext uri="{FF2B5EF4-FFF2-40B4-BE49-F238E27FC236}">
                  <a16:creationId xmlns:a16="http://schemas.microsoft.com/office/drawing/2014/main" id="{2B0A75F8-534B-A1C4-760A-31E2D7074D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6805" y="2210007"/>
              <a:ext cx="1581586" cy="12444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0525" name="Group 5">
              <a:extLst>
                <a:ext uri="{FF2B5EF4-FFF2-40B4-BE49-F238E27FC236}">
                  <a16:creationId xmlns:a16="http://schemas.microsoft.com/office/drawing/2014/main" id="{D0554D95-590B-4E00-55F7-C7477B6403B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20560" y="2763871"/>
              <a:ext cx="2372028" cy="1971105"/>
              <a:chOff x="5120560" y="2928900"/>
              <a:chExt cx="2372028" cy="1971105"/>
            </a:xfrm>
          </p:grpSpPr>
          <p:grpSp>
            <p:nvGrpSpPr>
              <p:cNvPr id="20526" name="Group 13">
                <a:extLst>
                  <a:ext uri="{FF2B5EF4-FFF2-40B4-BE49-F238E27FC236}">
                    <a16:creationId xmlns:a16="http://schemas.microsoft.com/office/drawing/2014/main" id="{E6D5A153-6A15-C957-810C-5DF3B142F8B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578033" y="3486579"/>
                <a:ext cx="1598549" cy="1413426"/>
                <a:chOff x="7144804" y="3637722"/>
                <a:chExt cx="1598549" cy="1413426"/>
              </a:xfrm>
            </p:grpSpPr>
            <p:grpSp>
              <p:nvGrpSpPr>
                <p:cNvPr id="20527" name="insulin disappears">
                  <a:extLst>
                    <a:ext uri="{FF2B5EF4-FFF2-40B4-BE49-F238E27FC236}">
                      <a16:creationId xmlns:a16="http://schemas.microsoft.com/office/drawing/2014/main" id="{EA625326-65F4-4DB4-B243-CAE6D54C2BCA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7583070" y="3637722"/>
                  <a:ext cx="1160283" cy="788034"/>
                  <a:chOff x="10578555" y="2109917"/>
                  <a:chExt cx="1160283" cy="788034"/>
                </a:xfrm>
              </p:grpSpPr>
              <p:pic>
                <p:nvPicPr>
                  <p:cNvPr id="20528" name="Graphic 1899">
                    <a:extLst>
                      <a:ext uri="{FF2B5EF4-FFF2-40B4-BE49-F238E27FC236}">
                        <a16:creationId xmlns:a16="http://schemas.microsoft.com/office/drawing/2014/main" id="{1A722774-00AE-79BA-F4BC-B3B87C5C55F6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6300000">
                    <a:off x="10803502" y="2348537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29" name="Graphic 1900">
                    <a:extLst>
                      <a:ext uri="{FF2B5EF4-FFF2-40B4-BE49-F238E27FC236}">
                        <a16:creationId xmlns:a16="http://schemas.microsoft.com/office/drawing/2014/main" id="{8EFE0124-5A7E-C558-4593-3502CF5060E0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3740000">
                    <a:off x="10536264" y="2152208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30" name="Graphic 1901">
                    <a:extLst>
                      <a:ext uri="{FF2B5EF4-FFF2-40B4-BE49-F238E27FC236}">
                        <a16:creationId xmlns:a16="http://schemas.microsoft.com/office/drawing/2014/main" id="{14A7C311-C1BA-59CE-6B13-16E806A4088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3740000">
                    <a:off x="11415369" y="2287567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31" name="Graphic 1902">
                    <a:extLst>
                      <a:ext uri="{FF2B5EF4-FFF2-40B4-BE49-F238E27FC236}">
                        <a16:creationId xmlns:a16="http://schemas.microsoft.com/office/drawing/2014/main" id="{8EB22BEF-9C94-1D78-DC3E-35C46F38E48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3740000">
                    <a:off x="11383255" y="2574482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grpSp>
              <p:nvGrpSpPr>
                <p:cNvPr id="20532" name="insulin group">
                  <a:extLst>
                    <a:ext uri="{FF2B5EF4-FFF2-40B4-BE49-F238E27FC236}">
                      <a16:creationId xmlns:a16="http://schemas.microsoft.com/office/drawing/2014/main" id="{5FD6A7D3-C938-14F9-8928-8CF4EBBBD1EC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7144804" y="3753486"/>
                  <a:ext cx="1492796" cy="1297662"/>
                  <a:chOff x="10140289" y="2225681"/>
                  <a:chExt cx="1492796" cy="1297662"/>
                </a:xfrm>
              </p:grpSpPr>
              <p:pic>
                <p:nvPicPr>
                  <p:cNvPr id="20533" name="Graphic 1905">
                    <a:extLst>
                      <a:ext uri="{FF2B5EF4-FFF2-40B4-BE49-F238E27FC236}">
                        <a16:creationId xmlns:a16="http://schemas.microsoft.com/office/drawing/2014/main" id="{1C3F8B66-3B1C-9B7C-4B1D-17E8B539D71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9800000">
                    <a:off x="10140289" y="2969214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34" name="Graphic 1906">
                    <a:extLst>
                      <a:ext uri="{FF2B5EF4-FFF2-40B4-BE49-F238E27FC236}">
                        <a16:creationId xmlns:a16="http://schemas.microsoft.com/office/drawing/2014/main" id="{0402FC4B-E432-604E-5D91-BE7A8E290A57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440000">
                    <a:off x="10375675" y="2774418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35" name="Graphic 1907">
                    <a:extLst>
                      <a:ext uri="{FF2B5EF4-FFF2-40B4-BE49-F238E27FC236}">
                        <a16:creationId xmlns:a16="http://schemas.microsoft.com/office/drawing/2014/main" id="{FA6F9C8C-891B-DA87-E35D-CC689B82C3B7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6180000">
                    <a:off x="10404505" y="3072802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36" name="Graphic 1908">
                    <a:extLst>
                      <a:ext uri="{FF2B5EF4-FFF2-40B4-BE49-F238E27FC236}">
                        <a16:creationId xmlns:a16="http://schemas.microsoft.com/office/drawing/2014/main" id="{6ED5A6BA-6741-B4B7-6B73-43E59F01CE1B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020000">
                    <a:off x="10680289" y="3026767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37" name="Graphic 1910">
                    <a:extLst>
                      <a:ext uri="{FF2B5EF4-FFF2-40B4-BE49-F238E27FC236}">
                        <a16:creationId xmlns:a16="http://schemas.microsoft.com/office/drawing/2014/main" id="{152DBDAC-EAC3-C6F4-10A4-E653B0080C02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9440000">
                    <a:off x="10627571" y="2672137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38" name="Graphic 1911">
                    <a:extLst>
                      <a:ext uri="{FF2B5EF4-FFF2-40B4-BE49-F238E27FC236}">
                        <a16:creationId xmlns:a16="http://schemas.microsoft.com/office/drawing/2014/main" id="{8D5D2303-3A8B-273D-35EF-F141A398428A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0506253" y="2469597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39" name="Graphic 1912">
                    <a:extLst>
                      <a:ext uri="{FF2B5EF4-FFF2-40B4-BE49-F238E27FC236}">
                        <a16:creationId xmlns:a16="http://schemas.microsoft.com/office/drawing/2014/main" id="{402019EE-AA42-C4CD-329E-A77EAB6E27A8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0939176" y="2595126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40" name="Graphic 1913">
                    <a:extLst>
                      <a:ext uri="{FF2B5EF4-FFF2-40B4-BE49-F238E27FC236}">
                        <a16:creationId xmlns:a16="http://schemas.microsoft.com/office/drawing/2014/main" id="{C89E327F-DD61-9E92-5DB0-4CBBE1353A45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9720000">
                    <a:off x="10852637" y="2859216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41" name="Graphic 1914">
                    <a:extLst>
                      <a:ext uri="{FF2B5EF4-FFF2-40B4-BE49-F238E27FC236}">
                        <a16:creationId xmlns:a16="http://schemas.microsoft.com/office/drawing/2014/main" id="{3F37CB6F-B837-C08A-A9B8-6DD7A1B98BE6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080000">
                    <a:off x="10871343" y="3242165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42" name="Graphic 1917">
                    <a:extLst>
                      <a:ext uri="{FF2B5EF4-FFF2-40B4-BE49-F238E27FC236}">
                        <a16:creationId xmlns:a16="http://schemas.microsoft.com/office/drawing/2014/main" id="{6BDD4B35-CD8F-9B0F-ECF3-FA2B8F6D1852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1193464" y="2715641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43" name="Graphic 1918">
                    <a:extLst>
                      <a:ext uri="{FF2B5EF4-FFF2-40B4-BE49-F238E27FC236}">
                        <a16:creationId xmlns:a16="http://schemas.microsoft.com/office/drawing/2014/main" id="{12D067A8-8B0A-815E-BBE7-B50728EA3F5E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2100000">
                    <a:off x="11029679" y="3059833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44" name="Graphic 1919">
                    <a:extLst>
                      <a:ext uri="{FF2B5EF4-FFF2-40B4-BE49-F238E27FC236}">
                        <a16:creationId xmlns:a16="http://schemas.microsoft.com/office/drawing/2014/main" id="{7BBA56DB-579A-CB0F-4D0B-2DD2FAC30A80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1280000">
                    <a:off x="11267325" y="2957579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45" name="Graphic 1920">
                    <a:extLst>
                      <a:ext uri="{FF2B5EF4-FFF2-40B4-BE49-F238E27FC236}">
                        <a16:creationId xmlns:a16="http://schemas.microsoft.com/office/drawing/2014/main" id="{14C8E82E-7C98-7DE8-B840-64D06321807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8480000">
                    <a:off x="10142957" y="2554358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46" name="Graphic 1921">
                    <a:extLst>
                      <a:ext uri="{FF2B5EF4-FFF2-40B4-BE49-F238E27FC236}">
                        <a16:creationId xmlns:a16="http://schemas.microsoft.com/office/drawing/2014/main" id="{644CCEC4-1107-B49B-C0AD-E5FE59C8C61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9380000">
                    <a:off x="11139000" y="2388272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47" name="Graphic 1922">
                    <a:extLst>
                      <a:ext uri="{FF2B5EF4-FFF2-40B4-BE49-F238E27FC236}">
                        <a16:creationId xmlns:a16="http://schemas.microsoft.com/office/drawing/2014/main" id="{407E54CE-5512-632F-62AA-3C184B4AA95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3740000">
                    <a:off x="10224491" y="2267972"/>
                    <a:ext cx="365760" cy="2811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</p:grpSp>
          <p:grpSp>
            <p:nvGrpSpPr>
              <p:cNvPr id="20548" name="Group 105">
                <a:extLst>
                  <a:ext uri="{FF2B5EF4-FFF2-40B4-BE49-F238E27FC236}">
                    <a16:creationId xmlns:a16="http://schemas.microsoft.com/office/drawing/2014/main" id="{ADC5937F-9DE0-D650-223F-4983684A370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20560" y="2928900"/>
                <a:ext cx="2372028" cy="943116"/>
                <a:chOff x="5463239" y="2204556"/>
                <a:chExt cx="2509535" cy="997788"/>
              </a:xfrm>
            </p:grpSpPr>
            <p:grpSp>
              <p:nvGrpSpPr>
                <p:cNvPr id="20549" name="Group 113">
                  <a:extLst>
                    <a:ext uri="{FF2B5EF4-FFF2-40B4-BE49-F238E27FC236}">
                      <a16:creationId xmlns:a16="http://schemas.microsoft.com/office/drawing/2014/main" id="{2DB9BEEF-7F74-D34C-43C0-89FE4FCF7EBB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463239" y="2204556"/>
                  <a:ext cx="1813880" cy="939006"/>
                  <a:chOff x="7789815" y="2098273"/>
                  <a:chExt cx="1813880" cy="939006"/>
                </a:xfrm>
              </p:grpSpPr>
              <p:pic>
                <p:nvPicPr>
                  <p:cNvPr id="20550" name="Graphic 116">
                    <a:extLst>
                      <a:ext uri="{FF2B5EF4-FFF2-40B4-BE49-F238E27FC236}">
                        <a16:creationId xmlns:a16="http://schemas.microsoft.com/office/drawing/2014/main" id="{1FC421AC-1AC4-4112-971B-166C4DBE9A48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21120000">
                    <a:off x="9216732" y="2739801"/>
                    <a:ext cx="386963" cy="2974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51" name="Graphic 117">
                    <a:extLst>
                      <a:ext uri="{FF2B5EF4-FFF2-40B4-BE49-F238E27FC236}">
                        <a16:creationId xmlns:a16="http://schemas.microsoft.com/office/drawing/2014/main" id="{8FEEE5A0-5D99-3224-89C3-6E7F339F67FA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440000">
                    <a:off x="7886081" y="2331831"/>
                    <a:ext cx="386963" cy="2974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52" name="Graphic 118">
                    <a:extLst>
                      <a:ext uri="{FF2B5EF4-FFF2-40B4-BE49-F238E27FC236}">
                        <a16:creationId xmlns:a16="http://schemas.microsoft.com/office/drawing/2014/main" id="{2BEE2FC5-F71B-2580-3E97-4951AA751830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440000">
                    <a:off x="8902796" y="2485648"/>
                    <a:ext cx="386963" cy="2974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53" name="Graphic 119">
                    <a:extLst>
                      <a:ext uri="{FF2B5EF4-FFF2-40B4-BE49-F238E27FC236}">
                        <a16:creationId xmlns:a16="http://schemas.microsoft.com/office/drawing/2014/main" id="{8A4DC093-2777-B521-32FB-382157DA63FA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0800000">
                    <a:off x="8104137" y="2575709"/>
                    <a:ext cx="386963" cy="2974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0554" name="Graphic 120">
                    <a:extLst>
                      <a:ext uri="{FF2B5EF4-FFF2-40B4-BE49-F238E27FC236}">
                        <a16:creationId xmlns:a16="http://schemas.microsoft.com/office/drawing/2014/main" id="{F22FDF53-2288-C8DF-69C0-BDBE199BBA1B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12600000">
                    <a:off x="7789815" y="2098273"/>
                    <a:ext cx="386963" cy="29747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pic>
              <p:nvPicPr>
                <p:cNvPr id="20555" name="Graphic 109">
                  <a:extLst>
                    <a:ext uri="{FF2B5EF4-FFF2-40B4-BE49-F238E27FC236}">
                      <a16:creationId xmlns:a16="http://schemas.microsoft.com/office/drawing/2014/main" id="{6821D9A8-804A-FD0D-9A04-4CA7FA2A966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480000">
                  <a:off x="7585811" y="2648010"/>
                  <a:ext cx="386963" cy="2974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0556" name="Graphic 110">
                  <a:extLst>
                    <a:ext uri="{FF2B5EF4-FFF2-40B4-BE49-F238E27FC236}">
                      <a16:creationId xmlns:a16="http://schemas.microsoft.com/office/drawing/2014/main" id="{38A713AB-8A35-C69D-DA54-65C3A43E375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1440000">
                  <a:off x="7585811" y="2904866"/>
                  <a:ext cx="386963" cy="2974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0557" name="Graphic 111">
                  <a:extLst>
                    <a:ext uri="{FF2B5EF4-FFF2-40B4-BE49-F238E27FC236}">
                      <a16:creationId xmlns:a16="http://schemas.microsoft.com/office/drawing/2014/main" id="{24E76685-7BAC-501E-7821-38B6554610B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4140000">
                  <a:off x="7159363" y="2708283"/>
                  <a:ext cx="386963" cy="2974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20558" name="Graphic 106">
                <a:extLst>
                  <a:ext uri="{FF2B5EF4-FFF2-40B4-BE49-F238E27FC236}">
                    <a16:creationId xmlns:a16="http://schemas.microsoft.com/office/drawing/2014/main" id="{71661464-FCC6-AFBD-FE4E-E07CE957235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0800000">
                <a:off x="5754264" y="3374625"/>
                <a:ext cx="365760" cy="281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7675" name="TextBox 28">
            <a:extLst>
              <a:ext uri="{FF2B5EF4-FFF2-40B4-BE49-F238E27FC236}">
                <a16:creationId xmlns:a16="http://schemas.microsoft.com/office/drawing/2014/main" id="{0C124C2E-2317-9730-A90D-54FC9F483630}"/>
              </a:ext>
            </a:extLst>
          </p:cNvPr>
          <p:cNvSpPr txBox="1"/>
          <p:nvPr/>
        </p:nvSpPr>
        <p:spPr>
          <a:xfrm>
            <a:off x="361522" y="4499074"/>
            <a:ext cx="6488192" cy="2000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anchor="b">
            <a:spAutoFit/>
          </a:bodyPr>
          <a:lstStyle/>
          <a:p>
            <a:pPr defTabSz="514337">
              <a:spcAft>
                <a:spcPts val="338"/>
              </a:spcAft>
            </a:pPr>
            <a:r>
              <a:rPr lang="de" sz="7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404040"/>
                </a:solidFill>
                <a:ea typeface="Arial"/>
              </a:rPr>
              <a:t>Hinweis: Abbildung ist ein Beispiel für Veranschaulichungszwecke.</a:t>
            </a:r>
          </a:p>
        </p:txBody>
      </p:sp>
      <p:grpSp>
        <p:nvGrpSpPr>
          <p:cNvPr id="20560" name="Group 50">
            <a:extLst>
              <a:ext uri="{FF2B5EF4-FFF2-40B4-BE49-F238E27FC236}">
                <a16:creationId xmlns:a16="http://schemas.microsoft.com/office/drawing/2014/main" id="{C1D968C3-D6C8-5080-C0D4-2E559AB2B83E}"/>
              </a:ext>
            </a:extLst>
          </p:cNvPr>
          <p:cNvGrpSpPr>
            <a:grpSpLocks/>
          </p:cNvGrpSpPr>
          <p:nvPr/>
        </p:nvGrpSpPr>
        <p:grpSpPr bwMode="auto">
          <a:xfrm>
            <a:off x="1584722" y="3446860"/>
            <a:ext cx="2381478" cy="412902"/>
            <a:chOff x="784860" y="5160765"/>
            <a:chExt cx="4233855" cy="734901"/>
          </a:xfrm>
        </p:grpSpPr>
        <p:grpSp>
          <p:nvGrpSpPr>
            <p:cNvPr id="20561" name="Group 51">
              <a:extLst>
                <a:ext uri="{FF2B5EF4-FFF2-40B4-BE49-F238E27FC236}">
                  <a16:creationId xmlns:a16="http://schemas.microsoft.com/office/drawing/2014/main" id="{E50892EC-C57B-640E-3D01-D76891F2C65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74130" y="5546446"/>
              <a:ext cx="1744585" cy="349220"/>
              <a:chOff x="5602652" y="5622879"/>
              <a:chExt cx="1744585" cy="349220"/>
            </a:xfrm>
          </p:grpSpPr>
          <p:sp>
            <p:nvSpPr>
              <p:cNvPr id="20562" name="Isosceles Triangle 64">
                <a:extLst>
                  <a:ext uri="{FF2B5EF4-FFF2-40B4-BE49-F238E27FC236}">
                    <a16:creationId xmlns:a16="http://schemas.microsoft.com/office/drawing/2014/main" id="{7C47AD6F-5E23-4A57-72EF-D717B718C9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9900000">
                <a:off x="5602652" y="5692810"/>
                <a:ext cx="156638" cy="135624"/>
              </a:xfrm>
              <a:prstGeom prst="triangle">
                <a:avLst>
                  <a:gd name="adj" fmla="val 50000"/>
                </a:avLst>
              </a:prstGeom>
              <a:solidFill>
                <a:srgbClr val="70A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1pPr>
                <a:lvl2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2pPr>
                <a:lvl3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3pPr>
                <a:lvl4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4pPr>
                <a:lvl5pPr defTabSz="684213" eaLnBrk="0" hangingPunct="0"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5pPr>
                <a:lvl6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6pPr>
                <a:lvl7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7pPr>
                <a:lvl8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8pPr>
                <a:lvl9pPr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100000"/>
                  <a:defRPr>
                    <a:solidFill>
                      <a:srgbClr val="000000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/>
                <a:endParaRPr lang="de-DE" altLang="de-DE" sz="975">
                  <a:solidFill>
                    <a:srgbClr val="FFFFFF"/>
                  </a:solidFill>
                  <a:latin typeface="+mn-lt"/>
                </a:endParaRPr>
              </a:p>
            </p:txBody>
          </p:sp>
          <p:sp>
            <p:nvSpPr>
              <p:cNvPr id="27696" name="TextBox 65">
                <a:extLst>
                  <a:ext uri="{FF2B5EF4-FFF2-40B4-BE49-F238E27FC236}">
                    <a16:creationId xmlns:a16="http://schemas.microsoft.com/office/drawing/2014/main" id="{60621393-2FCD-CEB7-F215-43949B85619B}"/>
                  </a:ext>
                </a:extLst>
              </p:cNvPr>
              <p:cNvSpPr txBox="1"/>
              <p:nvPr/>
            </p:nvSpPr>
            <p:spPr>
              <a:xfrm>
                <a:off x="5699446" y="5622879"/>
                <a:ext cx="1647791" cy="349220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  <p:txBody>
              <a:bodyPr wrap="none">
                <a:spAutoFit/>
              </a:bodyPr>
              <a:lstStyle>
                <a:lvl1pPr marL="169863" indent="-169863" algn="l" defTabSz="684213" rtl="0" eaLnBrk="0" fontAlgn="base" hangingPunct="0">
                  <a:lnSpc>
                    <a:spcPct val="90000"/>
                  </a:lnSpc>
                  <a:spcBef>
                    <a:spcPts val="750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5127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8556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11985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15414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1885903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795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686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77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None/>
                </a:pPr>
                <a:r>
                  <a:rPr lang="de" sz="675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000000"/>
                    </a:solidFill>
                    <a:latin typeface="+mn-lt"/>
                    <a:ea typeface="Arial"/>
                    <a:cs typeface="Arial"/>
                  </a:rPr>
                  <a:t>Betazell-Antigen </a:t>
                </a:r>
                <a:endParaRPr sz="675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grpSp>
          <p:nvGrpSpPr>
            <p:cNvPr id="20564" name="Group 52">
              <a:extLst>
                <a:ext uri="{FF2B5EF4-FFF2-40B4-BE49-F238E27FC236}">
                  <a16:creationId xmlns:a16="http://schemas.microsoft.com/office/drawing/2014/main" id="{0FB5FDF2-A6F7-2FD1-C841-6C7B53F92C7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5078" y="5160765"/>
              <a:ext cx="2392679" cy="717949"/>
              <a:chOff x="1068126" y="5622206"/>
              <a:chExt cx="2392679" cy="717949"/>
            </a:xfrm>
          </p:grpSpPr>
          <p:grpSp>
            <p:nvGrpSpPr>
              <p:cNvPr id="20565" name="Group 54">
                <a:extLst>
                  <a:ext uri="{FF2B5EF4-FFF2-40B4-BE49-F238E27FC236}">
                    <a16:creationId xmlns:a16="http://schemas.microsoft.com/office/drawing/2014/main" id="{EF2F0230-AABB-7A19-03B3-5D6C7CEFE0D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68126" y="5990935"/>
                <a:ext cx="1110961" cy="349220"/>
                <a:chOff x="2337783" y="5622028"/>
                <a:chExt cx="1110961" cy="349220"/>
              </a:xfrm>
            </p:grpSpPr>
            <p:pic>
              <p:nvPicPr>
                <p:cNvPr id="20566" name="Graphic 62">
                  <a:extLst>
                    <a:ext uri="{FF2B5EF4-FFF2-40B4-BE49-F238E27FC236}">
                      <a16:creationId xmlns:a16="http://schemas.microsoft.com/office/drawing/2014/main" id="{E2B46699-4B69-BFAC-1D4D-1EB62670952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337783" y="5624146"/>
                  <a:ext cx="289992" cy="2733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7694" name="TextBox 63">
                  <a:extLst>
                    <a:ext uri="{FF2B5EF4-FFF2-40B4-BE49-F238E27FC236}">
                      <a16:creationId xmlns:a16="http://schemas.microsoft.com/office/drawing/2014/main" id="{D8D7268D-16FD-F502-8F9F-C47C6C6EFB45}"/>
                    </a:ext>
                  </a:extLst>
                </p:cNvPr>
                <p:cNvSpPr txBox="1"/>
                <p:nvPr/>
              </p:nvSpPr>
              <p:spPr>
                <a:xfrm>
                  <a:off x="2539067" y="5622028"/>
                  <a:ext cx="909677" cy="349220"/>
                </a:xfrm>
                <a:prstGeom prst="rect">
                  <a:avLst/>
                </a:prstGeom>
                <a:noFill/>
                <a:ln>
                  <a:noFill/>
                  <a:miter lim="800000"/>
                </a:ln>
              </p:spPr>
              <p:txBody>
                <a:bodyPr wrap="none">
                  <a:spAutoFit/>
                </a:bodyPr>
                <a:lstStyle>
                  <a:lvl1pPr marL="169863" indent="-169863" algn="l" defTabSz="684213" rtl="0" eaLnBrk="0" fontAlgn="base" hangingPunct="0">
                    <a:lnSpc>
                      <a:spcPct val="90000"/>
                    </a:lnSpc>
                    <a:spcBef>
                      <a:spcPts val="750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1pPr>
                  <a:lvl2pPr marL="512763" indent="-169863" algn="l" defTabSz="684213" rtl="0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2pPr>
                  <a:lvl3pPr marL="855663" indent="-169863" algn="l" defTabSz="684213" rtl="0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3pPr>
                  <a:lvl4pPr marL="1198563" indent="-169863" algn="l" defTabSz="684213" rtl="0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4pPr>
                  <a:lvl5pPr marL="1541463" indent="-169863" algn="l" defTabSz="684213" rtl="0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5pPr>
                  <a:lvl6pPr marL="1885903" indent="-171446" algn="l" defTabSz="6857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itchFamily="34" charset="0"/>
                    <a:buChar char="•"/>
                    <a:defRPr lang="en-US" altLang="en-US"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228795" indent="-171446" algn="l" defTabSz="6857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itchFamily="34" charset="0"/>
                    <a:buChar char="•"/>
                    <a:defRPr lang="en-US" altLang="en-US"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571686" indent="-171446" algn="l" defTabSz="6857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itchFamily="34" charset="0"/>
                    <a:buChar char="•"/>
                    <a:defRPr lang="en-US" altLang="en-US"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914577" indent="-171446" algn="l" defTabSz="6857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itchFamily="34" charset="0"/>
                    <a:buChar char="•"/>
                    <a:defRPr lang="en-US" altLang="en-US"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  <a:buNone/>
                  </a:pPr>
                  <a:r>
                    <a:rPr lang="de" sz="675">
                      <a:ln w="952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latin typeface="+mn-lt"/>
                      <a:ea typeface="Arial"/>
                      <a:cs typeface="Arial"/>
                    </a:rPr>
                    <a:t>Gesund</a:t>
                  </a:r>
                  <a:endParaRPr sz="675">
                    <a:latin typeface="+mn-lt"/>
                  </a:endParaRPr>
                </a:p>
              </p:txBody>
            </p:sp>
          </p:grpSp>
          <p:grpSp>
            <p:nvGrpSpPr>
              <p:cNvPr id="20568" name="Group 55">
                <a:extLst>
                  <a:ext uri="{FF2B5EF4-FFF2-40B4-BE49-F238E27FC236}">
                    <a16:creationId xmlns:a16="http://schemas.microsoft.com/office/drawing/2014/main" id="{CA0A7967-B323-14B3-1DF3-E8DBAF78656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092783" y="5990935"/>
                <a:ext cx="1368022" cy="349220"/>
                <a:chOff x="2342461" y="5981960"/>
                <a:chExt cx="1368022" cy="349220"/>
              </a:xfrm>
            </p:grpSpPr>
            <p:sp>
              <p:nvSpPr>
                <p:cNvPr id="27688" name="TextBox 57">
                  <a:extLst>
                    <a:ext uri="{FF2B5EF4-FFF2-40B4-BE49-F238E27FC236}">
                      <a16:creationId xmlns:a16="http://schemas.microsoft.com/office/drawing/2014/main" id="{4522AC2E-3B62-E671-DAC6-EC452E9490AB}"/>
                    </a:ext>
                  </a:extLst>
                </p:cNvPr>
                <p:cNvSpPr txBox="1"/>
                <p:nvPr/>
              </p:nvSpPr>
              <p:spPr>
                <a:xfrm>
                  <a:off x="2541468" y="5981960"/>
                  <a:ext cx="1169015" cy="349220"/>
                </a:xfrm>
                <a:prstGeom prst="rect">
                  <a:avLst/>
                </a:prstGeom>
                <a:noFill/>
                <a:ln>
                  <a:noFill/>
                  <a:miter lim="800000"/>
                </a:ln>
              </p:spPr>
              <p:txBody>
                <a:bodyPr wrap="none">
                  <a:spAutoFit/>
                </a:bodyPr>
                <a:lstStyle>
                  <a:lvl1pPr marL="169863" indent="-169863" algn="l" defTabSz="684213" rtl="0" eaLnBrk="0" fontAlgn="base" hangingPunct="0">
                    <a:lnSpc>
                      <a:spcPct val="90000"/>
                    </a:lnSpc>
                    <a:spcBef>
                      <a:spcPts val="750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1pPr>
                  <a:lvl2pPr marL="512763" indent="-169863" algn="l" defTabSz="684213" rtl="0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2pPr>
                  <a:lvl3pPr marL="855663" indent="-169863" algn="l" defTabSz="684213" rtl="0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3pPr>
                  <a:lvl4pPr marL="1198563" indent="-169863" algn="l" defTabSz="684213" rtl="0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4pPr>
                  <a:lvl5pPr marL="1541463" indent="-169863" algn="l" defTabSz="684213" rtl="0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Clr>
                      <a:schemeClr val="tx2"/>
                    </a:buClr>
                    <a:buSzTx/>
                    <a:buFont typeface="Arial" pitchFamily="34" charset="0"/>
                    <a:buChar char="•"/>
                    <a:defRPr kumimoji="0" lang="en-US" altLang="en-US" sz="1400" b="0" i="0" u="none" kern="1200" baseline="0">
                      <a:solidFill>
                        <a:srgbClr val="404040"/>
                      </a:solidFill>
                      <a:effectLst/>
                      <a:latin typeface="Arial" pitchFamily="34" charset="0"/>
                      <a:ea typeface="+mn-ea"/>
                      <a:cs typeface="Arial" pitchFamily="34" charset="0"/>
                    </a:defRPr>
                  </a:lvl5pPr>
                  <a:lvl6pPr marL="1885903" indent="-171446" algn="l" defTabSz="6857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itchFamily="34" charset="0"/>
                    <a:buChar char="•"/>
                    <a:defRPr lang="en-US" altLang="en-US"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228795" indent="-171446" algn="l" defTabSz="6857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itchFamily="34" charset="0"/>
                    <a:buChar char="•"/>
                    <a:defRPr lang="en-US" altLang="en-US"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571686" indent="-171446" algn="l" defTabSz="6857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itchFamily="34" charset="0"/>
                    <a:buChar char="•"/>
                    <a:defRPr lang="en-US" altLang="en-US"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914577" indent="-171446" algn="l" defTabSz="685783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itchFamily="34" charset="0"/>
                    <a:buChar char="•"/>
                    <a:defRPr lang="en-US" altLang="en-US"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  <a:buNone/>
                  </a:pPr>
                  <a:r>
                    <a:rPr lang="de" sz="675">
                      <a:ln w="952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latin typeface="+mn-lt"/>
                      <a:ea typeface="Arial"/>
                      <a:cs typeface="Arial"/>
                    </a:rPr>
                    <a:t>Beschädigt</a:t>
                  </a:r>
                  <a:endParaRPr sz="675">
                    <a:latin typeface="+mn-lt"/>
                  </a:endParaRPr>
                </a:p>
              </p:txBody>
            </p:sp>
            <p:grpSp>
              <p:nvGrpSpPr>
                <p:cNvPr id="20570" name="Graphic 95">
                  <a:extLst>
                    <a:ext uri="{FF2B5EF4-FFF2-40B4-BE49-F238E27FC236}">
                      <a16:creationId xmlns:a16="http://schemas.microsoft.com/office/drawing/2014/main" id="{88F58F12-8147-A08F-96A4-EF99E3D6CA4B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342461" y="5985964"/>
                  <a:ext cx="283048" cy="267245"/>
                  <a:chOff x="2342461" y="5985964"/>
                  <a:chExt cx="283048" cy="267245"/>
                </a:xfrm>
              </p:grpSpPr>
              <p:sp>
                <p:nvSpPr>
                  <p:cNvPr id="27690" name="Freeform 19">
                    <a:extLst>
                      <a:ext uri="{FF2B5EF4-FFF2-40B4-BE49-F238E27FC236}">
                        <a16:creationId xmlns:a16="http://schemas.microsoft.com/office/drawing/2014/main" id="{3DC2D2AD-8FC0-30CF-D728-944A2F62DD95}"/>
                      </a:ext>
                    </a:extLst>
                  </p:cNvPr>
                  <p:cNvSpPr/>
                  <p:nvPr/>
                </p:nvSpPr>
                <p:spPr>
                  <a:xfrm>
                    <a:off x="2342300" y="5986198"/>
                    <a:ext cx="283641" cy="267010"/>
                  </a:xfrm>
                  <a:custGeom>
                    <a:avLst/>
                    <a:gdLst>
                      <a:gd name="connsiteX0" fmla="*/ 95259 w 283048"/>
                      <a:gd name="connsiteY0" fmla="*/ 12522 h 267245"/>
                      <a:gd name="connsiteX1" fmla="*/ 111257 w 283048"/>
                      <a:gd name="connsiteY1" fmla="*/ 3061 h 267245"/>
                      <a:gd name="connsiteX2" fmla="*/ 136902 w 283048"/>
                      <a:gd name="connsiteY2" fmla="*/ 306 h 267245"/>
                      <a:gd name="connsiteX3" fmla="*/ 220287 w 283048"/>
                      <a:gd name="connsiteY3" fmla="*/ 31163 h 267245"/>
                      <a:gd name="connsiteX4" fmla="*/ 261307 w 283048"/>
                      <a:gd name="connsiteY4" fmla="*/ 53109 h 267245"/>
                      <a:gd name="connsiteX5" fmla="*/ 278404 w 283048"/>
                      <a:gd name="connsiteY5" fmla="*/ 66264 h 267245"/>
                      <a:gd name="connsiteX6" fmla="*/ 282862 w 283048"/>
                      <a:gd name="connsiteY6" fmla="*/ 92562 h 267245"/>
                      <a:gd name="connsiteX7" fmla="*/ 279125 w 283048"/>
                      <a:gd name="connsiteY7" fmla="*/ 144269 h 267245"/>
                      <a:gd name="connsiteX8" fmla="*/ 267804 w 283048"/>
                      <a:gd name="connsiteY8" fmla="*/ 200352 h 267245"/>
                      <a:gd name="connsiteX9" fmla="*/ 232145 w 283048"/>
                      <a:gd name="connsiteY9" fmla="*/ 243841 h 267245"/>
                      <a:gd name="connsiteX10" fmla="*/ 191845 w 283048"/>
                      <a:gd name="connsiteY10" fmla="*/ 255143 h 267245"/>
                      <a:gd name="connsiteX11" fmla="*/ 142715 w 283048"/>
                      <a:gd name="connsiteY11" fmla="*/ 263165 h 267245"/>
                      <a:gd name="connsiteX12" fmla="*/ 72288 w 283048"/>
                      <a:gd name="connsiteY12" fmla="*/ 261556 h 267245"/>
                      <a:gd name="connsiteX13" fmla="*/ 28593 w 283048"/>
                      <a:gd name="connsiteY13" fmla="*/ 222139 h 267245"/>
                      <a:gd name="connsiteX14" fmla="*/ 224 w 283048"/>
                      <a:gd name="connsiteY14" fmla="*/ 154498 h 267245"/>
                      <a:gd name="connsiteX15" fmla="*/ 29875 w 283048"/>
                      <a:gd name="connsiteY15" fmla="*/ 83613 h 267245"/>
                      <a:gd name="connsiteX16" fmla="*/ 95259 w 283048"/>
                      <a:gd name="connsiteY16" fmla="*/ 12522 h 2672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283048" h="267245">
                        <a:moveTo>
                          <a:pt x="95259" y="12522"/>
                        </a:moveTo>
                        <a:cubicBezTo>
                          <a:pt x="100136" y="8658"/>
                          <a:pt x="105519" y="5475"/>
                          <a:pt x="111257" y="3061"/>
                        </a:cubicBezTo>
                        <a:cubicBezTo>
                          <a:pt x="119341" y="-36"/>
                          <a:pt x="128244" y="-402"/>
                          <a:pt x="136902" y="306"/>
                        </a:cubicBezTo>
                        <a:cubicBezTo>
                          <a:pt x="166675" y="2744"/>
                          <a:pt x="193957" y="17094"/>
                          <a:pt x="220287" y="31163"/>
                        </a:cubicBezTo>
                        <a:lnTo>
                          <a:pt x="261307" y="53109"/>
                        </a:lnTo>
                        <a:cubicBezTo>
                          <a:pt x="267719" y="56535"/>
                          <a:pt x="274411" y="60205"/>
                          <a:pt x="278404" y="66264"/>
                        </a:cubicBezTo>
                        <a:cubicBezTo>
                          <a:pt x="283399" y="73811"/>
                          <a:pt x="283289" y="83528"/>
                          <a:pt x="282862" y="92562"/>
                        </a:cubicBezTo>
                        <a:cubicBezTo>
                          <a:pt x="282047" y="109826"/>
                          <a:pt x="280802" y="127062"/>
                          <a:pt x="279125" y="144269"/>
                        </a:cubicBezTo>
                        <a:cubicBezTo>
                          <a:pt x="277232" y="163300"/>
                          <a:pt x="274753" y="182515"/>
                          <a:pt x="267804" y="200352"/>
                        </a:cubicBezTo>
                        <a:cubicBezTo>
                          <a:pt x="260856" y="218189"/>
                          <a:pt x="248973" y="234709"/>
                          <a:pt x="232145" y="243841"/>
                        </a:cubicBezTo>
                        <a:cubicBezTo>
                          <a:pt x="219810" y="250534"/>
                          <a:pt x="205669" y="252887"/>
                          <a:pt x="191845" y="255143"/>
                        </a:cubicBezTo>
                        <a:lnTo>
                          <a:pt x="142715" y="263165"/>
                        </a:lnTo>
                        <a:cubicBezTo>
                          <a:pt x="119207" y="267006"/>
                          <a:pt x="94270" y="270663"/>
                          <a:pt x="72288" y="261556"/>
                        </a:cubicBezTo>
                        <a:cubicBezTo>
                          <a:pt x="53970" y="253960"/>
                          <a:pt x="40097" y="238391"/>
                          <a:pt x="28593" y="222139"/>
                        </a:cubicBezTo>
                        <a:cubicBezTo>
                          <a:pt x="14268" y="201949"/>
                          <a:pt x="2178" y="179223"/>
                          <a:pt x="224" y="154498"/>
                        </a:cubicBezTo>
                        <a:cubicBezTo>
                          <a:pt x="-2133" y="124457"/>
                          <a:pt x="14549" y="106717"/>
                          <a:pt x="29875" y="83613"/>
                        </a:cubicBezTo>
                        <a:cubicBezTo>
                          <a:pt x="48022" y="56255"/>
                          <a:pt x="68649" y="32212"/>
                          <a:pt x="95259" y="12522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 w="7204" cap="flat">
                    <a:solidFill>
                      <a:srgbClr val="585863"/>
                    </a:solidFill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/>
                  </a:p>
                </p:txBody>
              </p:sp>
              <p:sp>
                <p:nvSpPr>
                  <p:cNvPr id="27691" name="Freeform 20">
                    <a:extLst>
                      <a:ext uri="{FF2B5EF4-FFF2-40B4-BE49-F238E27FC236}">
                        <a16:creationId xmlns:a16="http://schemas.microsoft.com/office/drawing/2014/main" id="{5328CA4B-2C09-392F-2280-B5E7CF356D7B}"/>
                      </a:ext>
                    </a:extLst>
                  </p:cNvPr>
                  <p:cNvSpPr/>
                  <p:nvPr/>
                </p:nvSpPr>
                <p:spPr>
                  <a:xfrm>
                    <a:off x="2426969" y="6070963"/>
                    <a:ext cx="122770" cy="133504"/>
                  </a:xfrm>
                  <a:custGeom>
                    <a:avLst/>
                    <a:gdLst>
                      <a:gd name="connsiteX0" fmla="*/ 120900 w 120900"/>
                      <a:gd name="connsiteY0" fmla="*/ 67056 h 134112"/>
                      <a:gd name="connsiteX1" fmla="*/ 60450 w 120900"/>
                      <a:gd name="connsiteY1" fmla="*/ 134112 h 134112"/>
                      <a:gd name="connsiteX2" fmla="*/ 0 w 120900"/>
                      <a:gd name="connsiteY2" fmla="*/ 67056 h 134112"/>
                      <a:gd name="connsiteX3" fmla="*/ 60450 w 120900"/>
                      <a:gd name="connsiteY3" fmla="*/ 0 h 134112"/>
                      <a:gd name="connsiteX4" fmla="*/ 120900 w 120900"/>
                      <a:gd name="connsiteY4" fmla="*/ 67056 h 1341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900" h="134112">
                        <a:moveTo>
                          <a:pt x="120900" y="67056"/>
                        </a:moveTo>
                        <a:cubicBezTo>
                          <a:pt x="120900" y="104090"/>
                          <a:pt x="93836" y="134112"/>
                          <a:pt x="60450" y="134112"/>
                        </a:cubicBezTo>
                        <a:cubicBezTo>
                          <a:pt x="27064" y="134112"/>
                          <a:pt x="0" y="104090"/>
                          <a:pt x="0" y="67056"/>
                        </a:cubicBezTo>
                        <a:cubicBezTo>
                          <a:pt x="0" y="30022"/>
                          <a:pt x="27064" y="0"/>
                          <a:pt x="60450" y="0"/>
                        </a:cubicBezTo>
                        <a:cubicBezTo>
                          <a:pt x="93836" y="0"/>
                          <a:pt x="120900" y="30022"/>
                          <a:pt x="120900" y="67056"/>
                        </a:cubicBezTo>
                        <a:close/>
                      </a:path>
                    </a:pathLst>
                  </a:custGeom>
                  <a:solidFill>
                    <a:srgbClr val="E3E7F7">
                      <a:alpha val="48000"/>
                    </a:srgbClr>
                  </a:solidFill>
                  <a:ln w="1201" cap="flat">
                    <a:noFill/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/>
                  </a:p>
                </p:txBody>
              </p:sp>
              <p:sp>
                <p:nvSpPr>
                  <p:cNvPr id="27692" name="Freeform 21">
                    <a:extLst>
                      <a:ext uri="{FF2B5EF4-FFF2-40B4-BE49-F238E27FC236}">
                        <a16:creationId xmlns:a16="http://schemas.microsoft.com/office/drawing/2014/main" id="{B66FE8D8-AA9B-73D6-E80A-1D8C85A48A46}"/>
                      </a:ext>
                    </a:extLst>
                  </p:cNvPr>
                  <p:cNvSpPr/>
                  <p:nvPr/>
                </p:nvSpPr>
                <p:spPr>
                  <a:xfrm>
                    <a:off x="2532805" y="6028580"/>
                    <a:ext cx="69853" cy="116551"/>
                  </a:xfrm>
                  <a:custGeom>
                    <a:avLst/>
                    <a:gdLst>
                      <a:gd name="connsiteX0" fmla="*/ 53880 w 69942"/>
                      <a:gd name="connsiteY0" fmla="*/ 24616 h 117152"/>
                      <a:gd name="connsiteX1" fmla="*/ 68022 w 69942"/>
                      <a:gd name="connsiteY1" fmla="*/ 36040 h 117152"/>
                      <a:gd name="connsiteX2" fmla="*/ 69707 w 69942"/>
                      <a:gd name="connsiteY2" fmla="*/ 46732 h 117152"/>
                      <a:gd name="connsiteX3" fmla="*/ 63467 w 69942"/>
                      <a:gd name="connsiteY3" fmla="*/ 117153 h 117152"/>
                      <a:gd name="connsiteX4" fmla="*/ 56872 w 69942"/>
                      <a:gd name="connsiteY4" fmla="*/ 60314 h 117152"/>
                      <a:gd name="connsiteX5" fmla="*/ 30530 w 69942"/>
                      <a:gd name="connsiteY5" fmla="*/ 29175 h 117152"/>
                      <a:gd name="connsiteX6" fmla="*/ 0 w 69942"/>
                      <a:gd name="connsiteY6" fmla="*/ 0 h 117152"/>
                      <a:gd name="connsiteX7" fmla="*/ 53880 w 69942"/>
                      <a:gd name="connsiteY7" fmla="*/ 24616 h 1171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9942" h="117152">
                        <a:moveTo>
                          <a:pt x="53880" y="24616"/>
                        </a:moveTo>
                        <a:cubicBezTo>
                          <a:pt x="59461" y="27286"/>
                          <a:pt x="65457" y="30407"/>
                          <a:pt x="68022" y="36040"/>
                        </a:cubicBezTo>
                        <a:cubicBezTo>
                          <a:pt x="69524" y="39344"/>
                          <a:pt x="69634" y="43099"/>
                          <a:pt x="69707" y="46732"/>
                        </a:cubicBezTo>
                        <a:cubicBezTo>
                          <a:pt x="70195" y="70409"/>
                          <a:pt x="70611" y="94573"/>
                          <a:pt x="63467" y="117153"/>
                        </a:cubicBezTo>
                        <a:cubicBezTo>
                          <a:pt x="57360" y="98975"/>
                          <a:pt x="63467" y="78321"/>
                          <a:pt x="56872" y="60314"/>
                        </a:cubicBezTo>
                        <a:cubicBezTo>
                          <a:pt x="52036" y="47098"/>
                          <a:pt x="41240" y="37710"/>
                          <a:pt x="30530" y="29175"/>
                        </a:cubicBezTo>
                        <a:cubicBezTo>
                          <a:pt x="21139" y="21702"/>
                          <a:pt x="3664" y="11875"/>
                          <a:pt x="0" y="0"/>
                        </a:cubicBezTo>
                        <a:cubicBezTo>
                          <a:pt x="18147" y="4487"/>
                          <a:pt x="36930" y="16471"/>
                          <a:pt x="53880" y="246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201" cap="flat">
                    <a:noFill/>
                    <a:prstDash val="solid"/>
                    <a:miter/>
                  </a:ln>
                </p:spPr>
                <p:txBody>
                  <a:bodyPr anchor="ctr"/>
                  <a:lstStyle/>
                  <a:p>
                    <a:pPr fontAlgn="auto">
                      <a:buSzTx/>
                    </a:pPr>
                    <a:endParaRPr lang="en-US" sz="1013"/>
                  </a:p>
                </p:txBody>
              </p:sp>
            </p:grpSp>
          </p:grpSp>
          <p:sp>
            <p:nvSpPr>
              <p:cNvPr id="27687" name="TextBox 56">
                <a:extLst>
                  <a:ext uri="{FF2B5EF4-FFF2-40B4-BE49-F238E27FC236}">
                    <a16:creationId xmlns:a16="http://schemas.microsoft.com/office/drawing/2014/main" id="{227EAC03-6509-78A3-4C71-73817D48FBB1}"/>
                  </a:ext>
                </a:extLst>
              </p:cNvPr>
              <p:cNvSpPr txBox="1"/>
              <p:nvPr/>
            </p:nvSpPr>
            <p:spPr>
              <a:xfrm>
                <a:off x="1720078" y="5622206"/>
                <a:ext cx="1228860" cy="349219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  <p:txBody>
              <a:bodyPr wrap="none">
                <a:spAutoFit/>
              </a:bodyPr>
              <a:lstStyle>
                <a:lvl1pPr marL="169863" indent="-169863" algn="l" defTabSz="684213" rtl="0" eaLnBrk="0" fontAlgn="base" hangingPunct="0">
                  <a:lnSpc>
                    <a:spcPct val="90000"/>
                  </a:lnSpc>
                  <a:spcBef>
                    <a:spcPts val="750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5127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8556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11985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1541463" indent="-169863" algn="l" defTabSz="684213" rtl="0" eaLnBrk="0" fontAlgn="base" hangingPunct="0">
                  <a:lnSpc>
                    <a:spcPct val="90000"/>
                  </a:lnSpc>
                  <a:spcBef>
                    <a:spcPts val="375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Char char="•"/>
                  <a:defRPr kumimoji="0" lang="en-US" altLang="en-US" sz="1400" b="0" i="0" u="none" kern="1200" baseline="0">
                    <a:solidFill>
                      <a:srgbClr val="404040"/>
                    </a:solidFill>
                    <a:effectLst/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1885903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795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686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77" indent="-171446" algn="l" defTabSz="6857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itchFamily="34" charset="0"/>
                  <a:buChar char="•"/>
                  <a:defRPr lang="en-US" altLang="en-US"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None/>
                </a:pPr>
                <a:r>
                  <a:rPr lang="de" sz="675" b="1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latin typeface="+mn-lt"/>
                    <a:ea typeface="Arial"/>
                    <a:cs typeface="Arial"/>
                  </a:rPr>
                  <a:t>Betazellen</a:t>
                </a:r>
                <a:endParaRPr sz="675" b="1">
                  <a:latin typeface="+mn-lt"/>
                </a:endParaRPr>
              </a:p>
            </p:txBody>
          </p:sp>
        </p:grpSp>
        <p:sp>
          <p:nvSpPr>
            <p:cNvPr id="27684" name="Freeform 193">
              <a:extLst>
                <a:ext uri="{FF2B5EF4-FFF2-40B4-BE49-F238E27FC236}">
                  <a16:creationId xmlns:a16="http://schemas.microsoft.com/office/drawing/2014/main" id="{55C73526-644A-1ABF-D890-D9D6264EE362}"/>
                </a:ext>
              </a:extLst>
            </p:cNvPr>
            <p:cNvSpPr/>
            <p:nvPr/>
          </p:nvSpPr>
          <p:spPr>
            <a:xfrm rot="5400000">
              <a:off x="1844243" y="4366273"/>
              <a:ext cx="65694" cy="2184460"/>
            </a:xfrm>
            <a:custGeom>
              <a:avLst/>
              <a:gdLst>
                <a:gd name="connsiteX0" fmla="*/ 185980 w 185980"/>
                <a:gd name="connsiteY0" fmla="*/ 0 h 1015139"/>
                <a:gd name="connsiteX1" fmla="*/ 0 w 185980"/>
                <a:gd name="connsiteY1" fmla="*/ 0 h 1015139"/>
                <a:gd name="connsiteX2" fmla="*/ 0 w 185980"/>
                <a:gd name="connsiteY2" fmla="*/ 1015139 h 1015139"/>
                <a:gd name="connsiteX3" fmla="*/ 185980 w 185980"/>
                <a:gd name="connsiteY3" fmla="*/ 1015139 h 1015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980" h="1015139">
                  <a:moveTo>
                    <a:pt x="185980" y="0"/>
                  </a:moveTo>
                  <a:lnTo>
                    <a:pt x="0" y="0"/>
                  </a:lnTo>
                  <a:lnTo>
                    <a:pt x="0" y="1015139"/>
                  </a:lnTo>
                  <a:lnTo>
                    <a:pt x="185980" y="1015139"/>
                  </a:lnTo>
                </a:path>
              </a:pathLst>
            </a:custGeom>
            <a:noFill/>
            <a:ln w="9525" cap="flat" cmpd="sng" algn="ctr">
              <a:solidFill>
                <a:srgbClr val="BFBFB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 defTabSz="514337"/>
              <a:endParaRPr lang="en-US" sz="1013">
                <a:solidFill>
                  <a:srgbClr val="FFFFFF"/>
                </a:solidFill>
              </a:endParaRPr>
            </a:p>
          </p:txBody>
        </p:sp>
      </p:grpSp>
      <p:grpSp>
        <p:nvGrpSpPr>
          <p:cNvPr id="20576" name="Group 1865">
            <a:extLst>
              <a:ext uri="{FF2B5EF4-FFF2-40B4-BE49-F238E27FC236}">
                <a16:creationId xmlns:a16="http://schemas.microsoft.com/office/drawing/2014/main" id="{97263606-6697-810D-DF01-F3028BFCC4FA}"/>
              </a:ext>
            </a:extLst>
          </p:cNvPr>
          <p:cNvGrpSpPr>
            <a:grpSpLocks/>
          </p:cNvGrpSpPr>
          <p:nvPr/>
        </p:nvGrpSpPr>
        <p:grpSpPr bwMode="auto">
          <a:xfrm>
            <a:off x="5645944" y="1858567"/>
            <a:ext cx="1983581" cy="1714132"/>
            <a:chOff x="8004951" y="2161883"/>
            <a:chExt cx="3526603" cy="3046492"/>
          </a:xfrm>
        </p:grpSpPr>
        <p:grpSp>
          <p:nvGrpSpPr>
            <p:cNvPr id="20577" name="Group 7">
              <a:extLst>
                <a:ext uri="{FF2B5EF4-FFF2-40B4-BE49-F238E27FC236}">
                  <a16:creationId xmlns:a16="http://schemas.microsoft.com/office/drawing/2014/main" id="{F03C29D8-39CB-5AF0-8325-BB54927DEBD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557438" y="2254990"/>
              <a:ext cx="2974116" cy="2953385"/>
              <a:chOff x="8012509" y="2379025"/>
              <a:chExt cx="2974116" cy="2953385"/>
            </a:xfrm>
          </p:grpSpPr>
          <p:sp>
            <p:nvSpPr>
              <p:cNvPr id="27680" name="TextBox 1929">
                <a:extLst>
                  <a:ext uri="{FF2B5EF4-FFF2-40B4-BE49-F238E27FC236}">
                    <a16:creationId xmlns:a16="http://schemas.microsoft.com/office/drawing/2014/main" id="{E914CF17-E7E2-2F92-FA44-FB88C91992E3}"/>
                  </a:ext>
                </a:extLst>
              </p:cNvPr>
              <p:cNvSpPr txBox="1"/>
              <p:nvPr/>
            </p:nvSpPr>
            <p:spPr>
              <a:xfrm>
                <a:off x="8012509" y="3384160"/>
                <a:ext cx="2974116" cy="194825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>
                <a:spAutoFit/>
              </a:bodyPr>
              <a:lstStyle/>
              <a:p>
                <a:pPr algn="ctr" defTabSz="514337"/>
                <a:r>
                  <a:rPr lang="de" sz="900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004F72"/>
                    </a:solidFill>
                    <a:ea typeface="Arial"/>
                  </a:rPr>
                  <a:t>Schädigung von</a:t>
                </a:r>
                <a:br>
                  <a:rPr sz="900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a typeface="Arial"/>
                    <a:sym typeface="Wingdings"/>
                  </a:rPr>
                </a:br>
                <a:r>
                  <a:rPr lang="de" sz="900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004F72"/>
                    </a:solidFill>
                    <a:ea typeface="Arial"/>
                  </a:rPr>
                  <a:t>Betazellen</a:t>
                </a:r>
                <a:br>
                  <a:rPr sz="900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a typeface="Arial"/>
                    <a:sym typeface="Wingdings"/>
                  </a:rPr>
                </a:br>
                <a:r>
                  <a:rPr lang="de" sz="731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404040"/>
                    </a:solidFill>
                    <a:ea typeface="Arial"/>
                  </a:rPr>
                  <a:t>(z. B. durch Infektion,</a:t>
                </a:r>
                <a:br>
                  <a:rPr sz="731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a typeface="Arial"/>
                    <a:sym typeface="Wingdings"/>
                  </a:rPr>
                </a:br>
                <a:r>
                  <a:rPr lang="de" sz="731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404040"/>
                    </a:solidFill>
                    <a:ea typeface="Arial"/>
                  </a:rPr>
                  <a:t>Medikamente, Stoffwechselfaktoren</a:t>
                </a:r>
                <a:br>
                  <a:rPr sz="731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a typeface="Arial"/>
                    <a:sym typeface="Wingdings"/>
                  </a:rPr>
                </a:br>
                <a:r>
                  <a:rPr lang="de" sz="731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404040"/>
                    </a:solidFill>
                    <a:ea typeface="Arial"/>
                  </a:rPr>
                  <a:t>oder Umwelttoxine)</a:t>
                </a:r>
                <a:br>
                  <a:rPr sz="788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a typeface="Arial"/>
                    <a:sym typeface="Wingdings"/>
                  </a:rPr>
                </a:br>
                <a:r>
                  <a:rPr lang="de" sz="900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004F72"/>
                    </a:solidFill>
                    <a:ea typeface="Arial"/>
                  </a:rPr>
                  <a:t>induziert die Freisetzung</a:t>
                </a:r>
                <a:br>
                  <a:rPr sz="900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a typeface="Arial"/>
                    <a:sym typeface="Wingdings"/>
                  </a:rPr>
                </a:br>
                <a:r>
                  <a:rPr lang="de" sz="900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004F72"/>
                    </a:solidFill>
                    <a:ea typeface="Arial"/>
                  </a:rPr>
                  <a:t>von Betazellantigenen</a:t>
                </a:r>
                <a:r>
                  <a:rPr lang="de" sz="900" baseline="30000"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solidFill>
                      <a:srgbClr val="004F72"/>
                    </a:solidFill>
                    <a:ea typeface="Arial"/>
                  </a:rPr>
                  <a:t>1,2</a:t>
                </a:r>
                <a:endParaRPr lang="de" sz="1013" baseline="30000"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solidFill>
                    <a:srgbClr val="004F72"/>
                  </a:solidFill>
                  <a:ea typeface="Arial"/>
                </a:endParaRPr>
              </a:p>
            </p:txBody>
          </p:sp>
          <p:pic>
            <p:nvPicPr>
              <p:cNvPr id="20579" name="Graphic 4">
                <a:extLst>
                  <a:ext uri="{FF2B5EF4-FFF2-40B4-BE49-F238E27FC236}">
                    <a16:creationId xmlns:a16="http://schemas.microsoft.com/office/drawing/2014/main" id="{6AAEF88A-E0B7-A084-BE25-790CE9DF28F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053979" y="2379025"/>
                <a:ext cx="891176" cy="89298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7679" name="Freeform 96">
              <a:extLst>
                <a:ext uri="{FF2B5EF4-FFF2-40B4-BE49-F238E27FC236}">
                  <a16:creationId xmlns:a16="http://schemas.microsoft.com/office/drawing/2014/main" id="{5B510D4A-795E-CC89-968D-1EB9D115D35F}"/>
                </a:ext>
              </a:extLst>
            </p:cNvPr>
            <p:cNvSpPr/>
            <p:nvPr/>
          </p:nvSpPr>
          <p:spPr>
            <a:xfrm rot="10800000">
              <a:off x="8004951" y="2161883"/>
              <a:ext cx="237083" cy="3017520"/>
            </a:xfrm>
            <a:custGeom>
              <a:avLst/>
              <a:gdLst>
                <a:gd name="connsiteX0" fmla="*/ 185980 w 185980"/>
                <a:gd name="connsiteY0" fmla="*/ 0 h 1015139"/>
                <a:gd name="connsiteX1" fmla="*/ 0 w 185980"/>
                <a:gd name="connsiteY1" fmla="*/ 0 h 1015139"/>
                <a:gd name="connsiteX2" fmla="*/ 0 w 185980"/>
                <a:gd name="connsiteY2" fmla="*/ 1015139 h 1015139"/>
                <a:gd name="connsiteX3" fmla="*/ 185980 w 185980"/>
                <a:gd name="connsiteY3" fmla="*/ 1015139 h 1015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980" h="1015139">
                  <a:moveTo>
                    <a:pt x="185980" y="0"/>
                  </a:moveTo>
                  <a:lnTo>
                    <a:pt x="0" y="0"/>
                  </a:lnTo>
                  <a:lnTo>
                    <a:pt x="0" y="1015139"/>
                  </a:lnTo>
                  <a:lnTo>
                    <a:pt x="185980" y="1015139"/>
                  </a:lnTo>
                </a:path>
              </a:pathLst>
            </a:custGeom>
            <a:noFill/>
            <a:ln w="9525" cap="flat" cmpd="sng" algn="ctr">
              <a:solidFill>
                <a:srgbClr val="BFBFB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 defTabSz="514337"/>
              <a:endParaRPr lang="en-US" sz="1013">
                <a:solidFill>
                  <a:srgbClr val="FFFFFF"/>
                </a:solidFill>
              </a:endParaRPr>
            </a:p>
          </p:txBody>
        </p:sp>
      </p:grpSp>
      <p:sp>
        <p:nvSpPr>
          <p:cNvPr id="5" name="TextBox 3037">
            <a:extLst>
              <a:ext uri="{FF2B5EF4-FFF2-40B4-BE49-F238E27FC236}">
                <a16:creationId xmlns:a16="http://schemas.microsoft.com/office/drawing/2014/main" id="{395C1D6E-A3EA-D664-CAFB-F491078EF0FD}"/>
              </a:ext>
            </a:extLst>
          </p:cNvPr>
          <p:cNvSpPr txBox="1"/>
          <p:nvPr/>
        </p:nvSpPr>
        <p:spPr>
          <a:xfrm>
            <a:off x="361521" y="4921145"/>
            <a:ext cx="6912813" cy="18466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685766">
              <a:buClr>
                <a:srgbClr val="2F4B95"/>
              </a:buClr>
              <a:defRPr/>
            </a:pP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1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van Belle TL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et al. Physiole Rev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2011; 91: 79–118. </a:t>
            </a:r>
            <a:r>
              <a:rPr lang="de" sz="600" b="1" dirty="0">
                <a:solidFill>
                  <a:srgbClr val="404040"/>
                </a:solidFill>
                <a:ea typeface="Arial"/>
                <a:cs typeface="Arial"/>
              </a:rPr>
              <a:t>2.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Tosur M </a:t>
            </a:r>
            <a:r>
              <a:rPr lang="de" sz="600" i="1" dirty="0">
                <a:solidFill>
                  <a:srgbClr val="404040"/>
                </a:solidFill>
                <a:ea typeface="Arial"/>
                <a:cs typeface="Arial"/>
              </a:rPr>
              <a:t>et al. BMJ Open Diabetes Res Care</a:t>
            </a:r>
            <a:r>
              <a:rPr lang="de" sz="600" dirty="0">
                <a:solidFill>
                  <a:srgbClr val="404040"/>
                </a:solidFill>
                <a:ea typeface="Arial"/>
                <a:cs typeface="Arial"/>
              </a:rPr>
              <a:t> 2020; 8: e000801.</a:t>
            </a:r>
            <a:endParaRPr lang="en-US" sz="600" dirty="0">
              <a:solidFill>
                <a:srgbClr val="40404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05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1001"/>
                            </p:stCondLst>
                            <p:childTnLst>
                              <p:par>
                                <p:cTn id="12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06 2.22222E-06 L 0.01732 -0.00023">
                                      <p:cBhvr>
                                        <p:cTn id="13" dur="2000" fill="hold"/>
                                        <p:tgtEl>
                                          <p:spTgt spid="205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06 2.59259E-06 L -0.01719 -0.02385">
                                      <p:cBhvr>
                                        <p:cTn id="17" dur="2000" fill="hold"/>
                                        <p:tgtEl>
                                          <p:spTgt spid="205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06 4.81481E-06 L -0.0125 -0.02385">
                                      <p:cBhvr>
                                        <p:cTn id="21" dur="2000" fill="hold"/>
                                        <p:tgtEl>
                                          <p:spTgt spid="205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3001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05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 nodeType="afterGroup">
                            <p:stCondLst>
                              <p:cond delay="4001"/>
                            </p:stCondLst>
                            <p:childTnLst>
                              <p:par>
                                <p:cTn id="2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11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_Sanofi">
  <a:themeElements>
    <a:clrScheme name="00. Sanofi">
      <a:dk1>
        <a:sysClr val="windowText" lastClr="000000"/>
      </a:dk1>
      <a:lt1>
        <a:sysClr val="window" lastClr="FFFFFF"/>
      </a:lt1>
      <a:dk2>
        <a:srgbClr val="F4F2F6"/>
      </a:dk2>
      <a:lt2>
        <a:srgbClr val="F5F5F5"/>
      </a:lt2>
      <a:accent1>
        <a:srgbClr val="23004C"/>
      </a:accent1>
      <a:accent2>
        <a:srgbClr val="7A00E6"/>
      </a:accent2>
      <a:accent3>
        <a:srgbClr val="ED6C4E"/>
      </a:accent3>
      <a:accent4>
        <a:srgbClr val="62D488"/>
      </a:accent4>
      <a:accent5>
        <a:srgbClr val="F6C243"/>
      </a:accent5>
      <a:accent6>
        <a:srgbClr val="CA99F5"/>
      </a:accent6>
      <a:hlink>
        <a:srgbClr val="62D488"/>
      </a:hlink>
      <a:folHlink>
        <a:srgbClr val="23004C"/>
      </a:folHlink>
    </a:clrScheme>
    <a:fontScheme name="00. Sanofi System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 anchor="ctr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ealth Advances T1D Disease Area Strategy Project Kickoff 2022Mar28" id="{0D32C651-818E-402E-AA5A-61F395FF9DF8}" vid="{C76B6EF9-A230-4530-8B31-9DCE04BCDF59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86ecb80-ad1a-440b-9fcc-98153c4be8a6">
      <UserInfo>
        <DisplayName>SharingLinks.3569bd7c-0c17-4182-bc39-fb14c936d300.Flexible.3473dd33-4246-48eb-b3f3-b3b143f00f37</DisplayName>
        <AccountId>95</AccountId>
        <AccountType/>
      </UserInfo>
      <UserInfo>
        <DisplayName>Kulpa, Konstanze /DE</DisplayName>
        <AccountId>84</AccountId>
        <AccountType/>
      </UserInfo>
      <UserInfo>
        <DisplayName>Stein, Alina /DE</DisplayName>
        <AccountId>107</AccountId>
        <AccountType/>
      </UserInfo>
      <UserInfo>
        <DisplayName>Omar, Helan /DE</DisplayName>
        <AccountId>198</AccountId>
        <AccountType/>
      </UserInfo>
      <UserInfo>
        <DisplayName>Nauendorf, Aaron /DE</DisplayName>
        <AccountId>148</AccountId>
        <AccountType/>
      </UserInfo>
      <UserInfo>
        <DisplayName>Paar, Dieter /DE</DisplayName>
        <AccountId>34</AccountId>
        <AccountType/>
      </UserInfo>
    </SharedWithUsers>
    <lcf76f155ced4ddcb4097134ff3c332f xmlns="c6cd59a3-ce70-4c25-b5e0-f54afc204a1d">
      <Terms xmlns="http://schemas.microsoft.com/office/infopath/2007/PartnerControls"/>
    </lcf76f155ced4ddcb4097134ff3c332f>
    <TaxCatchAll xmlns="786ecb80-ad1a-440b-9fcc-98153c4be8a6" xsi:nil="true"/>
    <TranslatedLang xmlns="c6cd59a3-ce70-4c25-b5e0-f54afc204a1d" xsi:nil="true"/>
    <Noitz xmlns="c6cd59a3-ce70-4c25-b5e0-f54afc204a1d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91D800CDDFD446A813E3ACC6535C63" ma:contentTypeVersion="18" ma:contentTypeDescription="Create a new document." ma:contentTypeScope="" ma:versionID="dbe93f5cacfac3ac782e46b8ded3ef86">
  <xsd:schema xmlns:xsd="http://www.w3.org/2001/XMLSchema" xmlns:xs="http://www.w3.org/2001/XMLSchema" xmlns:p="http://schemas.microsoft.com/office/2006/metadata/properties" xmlns:ns2="c6cd59a3-ce70-4c25-b5e0-f54afc204a1d" xmlns:ns3="786ecb80-ad1a-440b-9fcc-98153c4be8a6" targetNamespace="http://schemas.microsoft.com/office/2006/metadata/properties" ma:root="true" ma:fieldsID="69c3b0515eaab7d6953342d02d47d9de" ns2:_="" ns3:_="">
    <xsd:import namespace="c6cd59a3-ce70-4c25-b5e0-f54afc204a1d"/>
    <xsd:import namespace="786ecb80-ad1a-440b-9fcc-98153c4be8a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SearchProperties" minOccurs="0"/>
                <xsd:element ref="ns2:MediaServiceLocation" minOccurs="0"/>
                <xsd:element ref="ns2:TranslatedLang" minOccurs="0"/>
                <xsd:element ref="ns2:MediaServiceBillingMetadata" minOccurs="0"/>
                <xsd:element ref="ns2:Noitz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cd59a3-ce70-4c25-b5e0-f54afc204a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4fb0b088-da3c-47ed-872c-fc1360427a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TranslatedLang" ma:index="23" nillable="true" ma:displayName="Translated Language" ma:internalName="TranslatedLang">
      <xsd:simpleType>
        <xsd:restriction base="dms:Text"/>
      </xsd:simpleType>
    </xsd:element>
    <xsd:element name="MediaServiceBillingMetadata" ma:index="24" nillable="true" ma:displayName="MediaServiceBillingMetadata" ma:hidden="true" ma:internalName="MediaServiceBillingMetadata" ma:readOnly="true">
      <xsd:simpleType>
        <xsd:restriction base="dms:Note"/>
      </xsd:simpleType>
    </xsd:element>
    <xsd:element name="Noitz" ma:index="25" nillable="true" ma:displayName="Noitz" ma:description="nicht für den Versand! Quellenverzeichnis muss noch angespasst werden" ma:format="Dropdown" ma:internalName="Noitz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6ecb80-ad1a-440b-9fcc-98153c4be8a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9f114b2d-daeb-4d31-ace5-a0845961c278}" ma:internalName="TaxCatchAll" ma:showField="CatchAllData" ma:web="786ecb80-ad1a-440b-9fcc-98153c4be8a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37B58BE-5C3A-4840-A409-4EB32649CC53}">
  <ds:schemaRefs>
    <ds:schemaRef ds:uri="http://purl.org/dc/elements/1.1/"/>
    <ds:schemaRef ds:uri="http://www.w3.org/XML/1998/namespace"/>
    <ds:schemaRef ds:uri="http://schemas.microsoft.com/office/2006/documentManagement/types"/>
    <ds:schemaRef ds:uri="c6cd59a3-ce70-4c25-b5e0-f54afc204a1d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786ecb80-ad1a-440b-9fcc-98153c4be8a6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498FA230-CA40-4AA9-BD25-67F49381C9F4}"/>
</file>

<file path=customXml/itemProps3.xml><?xml version="1.0" encoding="utf-8"?>
<ds:datastoreItem xmlns:ds="http://schemas.openxmlformats.org/officeDocument/2006/customXml" ds:itemID="{68D289C8-FCBD-47D6-A28B-8CD4E8BB355D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9088468-0951-4aef-9cc3-0a346e475ddc}" enabled="1" method="Privileged" siteId="{aca3c8d6-aa71-4e1a-a10e-03572fc58c0b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580</Words>
  <Application>Microsoft Office PowerPoint</Application>
  <PresentationFormat>Bildschirmpräsentation (16:9)</PresentationFormat>
  <Paragraphs>357</Paragraphs>
  <Slides>18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7" baseType="lpstr">
      <vt:lpstr>Arial</vt:lpstr>
      <vt:lpstr>Calibri</vt:lpstr>
      <vt:lpstr>Georgia</vt:lpstr>
      <vt:lpstr>Raleway</vt:lpstr>
      <vt:lpstr>Sanofi Sans 3 Regular</vt:lpstr>
      <vt:lpstr>Verdana</vt:lpstr>
      <vt:lpstr>Wingdings</vt:lpstr>
      <vt:lpstr>20_Sanofi</vt:lpstr>
      <vt:lpstr>Diapositive think-cell</vt:lpstr>
      <vt:lpstr>PowerPoint-Präsentation</vt:lpstr>
      <vt:lpstr>PowerPoint-Präsentation</vt:lpstr>
      <vt:lpstr>PowerPoint-Präsentation</vt:lpstr>
      <vt:lpstr>Fokuswechsel von einer metabolischen Störung zu einer Autoimmunerkrankung</vt:lpstr>
      <vt:lpstr>PowerPoint-Präsentation</vt:lpstr>
      <vt:lpstr>PowerPoint-Präsentation</vt:lpstr>
      <vt:lpstr>PowerPoint-Präsentation</vt:lpstr>
      <vt:lpstr>Autoimmunität führt zu Betazelldysfunktion und  -zerstörung und dem Bedarf an exogenem Insulin1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oeckel, Christian /DE</dc:creator>
  <cp:lastModifiedBy>Pegelow, Katrin /DE</cp:lastModifiedBy>
  <cp:revision>7</cp:revision>
  <cp:lastPrinted>2023-11-01T13:52:52Z</cp:lastPrinted>
  <dcterms:created xsi:type="dcterms:W3CDTF">2022-02-06T10:02:02Z</dcterms:created>
  <dcterms:modified xsi:type="dcterms:W3CDTF">2026-01-14T16:1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91D800CDDFD446A813E3ACC6535C63</vt:lpwstr>
  </property>
  <property fmtid="{D5CDD505-2E9C-101B-9397-08002B2CF9AE}" pid="3" name="MediaServiceImageTags">
    <vt:lpwstr/>
  </property>
  <property fmtid="{D5CDD505-2E9C-101B-9397-08002B2CF9AE}" pid="4" name="ClassificationContentMarkingHeaderLocations">
    <vt:lpwstr>SanofiCHCT Grid 16\:9:5\1_Sanofi:8\1_Pulse Theme:6\Sanofi:8\2_Sanofi:8\5_Sanofi:8\10_Sanofi:8\11_Sanofi:8\6_Sanofi:8\3_Sanofi:8\18_Sanofi:8\12_Sanofi:8\23_Sanofi:8\14_Sanofi:8\4_Sanofi:8\27_Sanofi:8\26_Sanofi:8\7_Sanofi:8\17_Sanofi:8</vt:lpwstr>
  </property>
  <property fmtid="{D5CDD505-2E9C-101B-9397-08002B2CF9AE}" pid="5" name="ClassificationContentMarkingHeaderText">
    <vt:lpwstr>Internal</vt:lpwstr>
  </property>
  <property fmtid="{D5CDD505-2E9C-101B-9397-08002B2CF9AE}" pid="6" name="MSIP_Label_d9088468-0951-4aef-9cc3-0a346e475ddc_Enabled">
    <vt:lpwstr>true</vt:lpwstr>
  </property>
  <property fmtid="{D5CDD505-2E9C-101B-9397-08002B2CF9AE}" pid="7" name="MSIP_Label_d9088468-0951-4aef-9cc3-0a346e475ddc_SetDate">
    <vt:lpwstr>2024-02-12T11:56:34Z</vt:lpwstr>
  </property>
  <property fmtid="{D5CDD505-2E9C-101B-9397-08002B2CF9AE}" pid="8" name="MSIP_Label_d9088468-0951-4aef-9cc3-0a346e475ddc_Method">
    <vt:lpwstr>Privileged</vt:lpwstr>
  </property>
  <property fmtid="{D5CDD505-2E9C-101B-9397-08002B2CF9AE}" pid="9" name="MSIP_Label_d9088468-0951-4aef-9cc3-0a346e475ddc_Name">
    <vt:lpwstr>Public</vt:lpwstr>
  </property>
  <property fmtid="{D5CDD505-2E9C-101B-9397-08002B2CF9AE}" pid="10" name="MSIP_Label_d9088468-0951-4aef-9cc3-0a346e475ddc_SiteId">
    <vt:lpwstr>aca3c8d6-aa71-4e1a-a10e-03572fc58c0b</vt:lpwstr>
  </property>
  <property fmtid="{D5CDD505-2E9C-101B-9397-08002B2CF9AE}" pid="11" name="MSIP_Label_d9088468-0951-4aef-9cc3-0a346e475ddc_ActionId">
    <vt:lpwstr>616bc5e8-c01b-4f9b-8974-73fe934db89d</vt:lpwstr>
  </property>
  <property fmtid="{D5CDD505-2E9C-101B-9397-08002B2CF9AE}" pid="12" name="MSIP_Label_d9088468-0951-4aef-9cc3-0a346e475ddc_ContentBits">
    <vt:lpwstr>0</vt:lpwstr>
  </property>
</Properties>
</file>